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4"/>
  </p:notesMasterIdLst>
  <p:sldIdLst>
    <p:sldId id="256" r:id="rId3"/>
    <p:sldId id="257" r:id="rId4"/>
    <p:sldId id="258" r:id="rId5"/>
    <p:sldId id="262" r:id="rId6"/>
    <p:sldId id="272" r:id="rId7"/>
    <p:sldId id="261" r:id="rId8"/>
    <p:sldId id="263" r:id="rId9"/>
    <p:sldId id="269" r:id="rId10"/>
    <p:sldId id="265" r:id="rId11"/>
    <p:sldId id="266" r:id="rId12"/>
    <p:sldId id="267" r:id="rId13"/>
    <p:sldId id="270" r:id="rId14"/>
    <p:sldId id="259" r:id="rId15"/>
    <p:sldId id="268" r:id="rId16"/>
    <p:sldId id="271" r:id="rId17"/>
    <p:sldId id="273" r:id="rId18"/>
    <p:sldId id="264" r:id="rId19"/>
    <p:sldId id="278" r:id="rId20"/>
    <p:sldId id="279" r:id="rId21"/>
    <p:sldId id="280" r:id="rId22"/>
    <p:sldId id="281" r:id="rId23"/>
    <p:sldId id="282" r:id="rId24"/>
    <p:sldId id="283" r:id="rId25"/>
    <p:sldId id="284" r:id="rId26"/>
    <p:sldId id="260" r:id="rId27"/>
    <p:sldId id="285" r:id="rId28"/>
    <p:sldId id="286" r:id="rId29"/>
    <p:sldId id="287" r:id="rId30"/>
    <p:sldId id="288" r:id="rId31"/>
    <p:sldId id="289" r:id="rId32"/>
    <p:sldId id="29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0000"/>
    <a:srgbClr val="F6443B"/>
    <a:srgbClr val="B0F7F4"/>
    <a:srgbClr val="125680"/>
    <a:srgbClr val="0C152C"/>
    <a:srgbClr val="070C1E"/>
    <a:srgbClr val="122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99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80F79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619F-416C-9D1D-7C67DF9FF8D6}"/>
              </c:ext>
            </c:extLst>
          </c:dPt>
          <c:dPt>
            <c:idx val="1"/>
            <c:bubble3D val="0"/>
            <c:spPr>
              <a:solidFill>
                <a:srgbClr val="0C344C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619F-416C-9D1D-7C67DF9FF8D6}"/>
              </c:ext>
            </c:extLst>
          </c:dPt>
          <c:dPt>
            <c:idx val="2"/>
            <c:bubble3D val="0"/>
            <c:spPr>
              <a:solidFill>
                <a:srgbClr val="19627F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619F-416C-9D1D-7C67DF9FF8D6}"/>
              </c:ext>
            </c:extLst>
          </c:dPt>
          <c:dPt>
            <c:idx val="3"/>
            <c:bubble3D val="0"/>
            <c:spPr>
              <a:solidFill>
                <a:srgbClr val="6F878C"/>
              </a:solid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619F-416C-9D1D-7C67DF9FF8D6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</c:v>
                </c:pt>
                <c:pt idx="1">
                  <c:v>0.2</c:v>
                </c:pt>
                <c:pt idx="2">
                  <c:v>0.1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19F-416C-9D1D-7C67DF9FF8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593687945455019E-2"/>
          <c:y val="4.5914339497690533E-2"/>
          <c:w val="0.97111732069432122"/>
          <c:h val="0.746224511171850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duct 1</c:v>
                </c:pt>
              </c:strCache>
            </c:strRef>
          </c:tx>
          <c:spPr>
            <a:solidFill>
              <a:srgbClr val="0C34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9-41E6-AF26-B0D6F34F117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duct 2</c:v>
                </c:pt>
              </c:strCache>
            </c:strRef>
          </c:tx>
          <c:spPr>
            <a:solidFill>
              <a:srgbClr val="D80F7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9-41E6-AF26-B0D6F34F117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-27"/>
        <c:axId val="496864632"/>
        <c:axId val="496859928"/>
      </c:barChart>
      <c:catAx>
        <c:axId val="496864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C344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6859928"/>
        <c:crosses val="autoZero"/>
        <c:auto val="1"/>
        <c:lblAlgn val="ctr"/>
        <c:lblOffset val="100"/>
        <c:noMultiLvlLbl val="0"/>
      </c:catAx>
      <c:valAx>
        <c:axId val="49685992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C344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6864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6F878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6F878C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35700487756155219"/>
          <c:y val="0.89752259299641346"/>
          <c:w val="0.28419113572748439"/>
          <c:h val="0.100477171370657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6F878C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1453784510567017E-2"/>
          <c:w val="0.95119957522321741"/>
          <c:h val="0.877092430978866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F87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A2-4C25-9BD4-6D91086064B1}"/>
              </c:ext>
            </c:extLst>
          </c:dPt>
          <c:dPt>
            <c:idx val="1"/>
            <c:invertIfNegative val="0"/>
            <c:bubble3D val="0"/>
            <c:spPr>
              <a:solidFill>
                <a:srgbClr val="1962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A2-4C25-9BD4-6D91086064B1}"/>
              </c:ext>
            </c:extLst>
          </c:dPt>
          <c:dPt>
            <c:idx val="2"/>
            <c:invertIfNegative val="0"/>
            <c:bubble3D val="0"/>
            <c:spPr>
              <a:solidFill>
                <a:srgbClr val="0C344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A2-4C25-9BD4-6D91086064B1}"/>
              </c:ext>
            </c:extLst>
          </c:dPt>
          <c:dPt>
            <c:idx val="3"/>
            <c:invertIfNegative val="0"/>
            <c:bubble3D val="0"/>
            <c:spPr>
              <a:solidFill>
                <a:srgbClr val="D80F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2A2-4C25-9BD4-6D91086064B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C344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2A2-4C25-9BD4-6D9108606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01433424"/>
        <c:axId val="501434600"/>
      </c:barChart>
      <c:catAx>
        <c:axId val="5014334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434600"/>
        <c:crosses val="autoZero"/>
        <c:auto val="1"/>
        <c:lblAlgn val="ctr"/>
        <c:lblOffset val="100"/>
        <c:noMultiLvlLbl val="0"/>
      </c:catAx>
      <c:valAx>
        <c:axId val="5014346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1433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1453784510567017E-2"/>
          <c:w val="1"/>
          <c:h val="0.877092430978866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F878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18B-4349-BA5A-58699169BC9B}"/>
              </c:ext>
            </c:extLst>
          </c:dPt>
          <c:dPt>
            <c:idx val="1"/>
            <c:invertIfNegative val="0"/>
            <c:bubble3D val="0"/>
            <c:spPr>
              <a:solidFill>
                <a:srgbClr val="1962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8B-4349-BA5A-58699169BC9B}"/>
              </c:ext>
            </c:extLst>
          </c:dPt>
          <c:dPt>
            <c:idx val="2"/>
            <c:invertIfNegative val="0"/>
            <c:bubble3D val="0"/>
            <c:spPr>
              <a:solidFill>
                <a:srgbClr val="0C344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18B-4349-BA5A-58699169BC9B}"/>
              </c:ext>
            </c:extLst>
          </c:dPt>
          <c:dPt>
            <c:idx val="3"/>
            <c:invertIfNegative val="0"/>
            <c:bubble3D val="0"/>
            <c:spPr>
              <a:solidFill>
                <a:srgbClr val="D80F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18B-4349-BA5A-58699169BC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C344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18B-4349-BA5A-58699169BC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06839784"/>
        <c:axId val="506838216"/>
      </c:barChart>
      <c:dateAx>
        <c:axId val="506839784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506838216"/>
        <c:crosses val="autoZero"/>
        <c:auto val="0"/>
        <c:lblOffset val="100"/>
        <c:baseTimeUnit val="days"/>
      </c:dateAx>
      <c:valAx>
        <c:axId val="506838216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extTo"/>
        <c:crossAx val="506839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281222440545579E-2"/>
          <c:y val="5.8771762897151483E-2"/>
          <c:w val="0.95871877755945445"/>
          <c:h val="0.8041179421722016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6F878C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8</c:v>
                </c:pt>
                <c:pt idx="2">
                  <c:v>5.2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4E-41FE-9370-FD370D876C6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BFBEBE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4E-41FE-9370-FD370D876C6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D80F79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.5</c:v>
                </c:pt>
                <c:pt idx="2">
                  <c:v>4</c:v>
                </c:pt>
                <c:pt idx="3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4E-41FE-9370-FD370D876C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6837040"/>
        <c:axId val="506836256"/>
      </c:lineChart>
      <c:catAx>
        <c:axId val="506837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836256"/>
        <c:crosses val="autoZero"/>
        <c:auto val="1"/>
        <c:lblAlgn val="ctr"/>
        <c:lblOffset val="100"/>
        <c:noMultiLvlLbl val="0"/>
      </c:catAx>
      <c:valAx>
        <c:axId val="506836256"/>
        <c:scaling>
          <c:orientation val="minMax"/>
          <c:max val="8"/>
        </c:scaling>
        <c:delete val="0"/>
        <c:axPos val="l"/>
        <c:majorGridlines>
          <c:spPr>
            <a:ln w="6350" cap="flat" cmpd="sng" algn="ctr">
              <a:solidFill>
                <a:srgbClr val="19627F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837040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6909-83F1-4324-83D2-287D668823ED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29122-58DF-4E14-BE8A-E1ABE85C6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08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610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895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27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52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0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89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21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97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545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3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681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88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43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3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3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41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15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2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23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19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06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74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AB65F-E1CD-4DF5-869D-309059F8B1B3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9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266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3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hyperlink" Target="https://24slides.com/discount" TargetMode="External"/><Relationship Id="rId5" Type="http://schemas.openxmlformats.org/officeDocument/2006/relationships/image" Target="../media/image6.emf"/><Relationship Id="rId10" Type="http://schemas.openxmlformats.org/officeDocument/2006/relationships/image" Target="../media/image11.emf"/><Relationship Id="rId4" Type="http://schemas.openxmlformats.org/officeDocument/2006/relationships/image" Target="../media/image1.emf"/><Relationship Id="rId9" Type="http://schemas.openxmlformats.org/officeDocument/2006/relationships/image" Target="../media/image10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12188891" cy="564604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Oval 57"/>
          <p:cNvSpPr>
            <a:spLocks noChangeArrowheads="1"/>
          </p:cNvSpPr>
          <p:nvPr/>
        </p:nvSpPr>
        <p:spPr bwMode="auto">
          <a:xfrm>
            <a:off x="7664344" y="1374182"/>
            <a:ext cx="2558678" cy="2560023"/>
          </a:xfrm>
          <a:prstGeom prst="ellipse">
            <a:avLst/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-200025" y="4682838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851965" y="4156843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276988" y="5063546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227057" y="4513336"/>
            <a:ext cx="2280210" cy="1132706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8928885" y="1643904"/>
            <a:ext cx="4818708" cy="1997706"/>
          </a:xfrm>
          <a:custGeom>
            <a:avLst/>
            <a:gdLst>
              <a:gd name="T0" fmla="*/ 0 w 3582"/>
              <a:gd name="T1" fmla="*/ 743 h 1485"/>
              <a:gd name="T2" fmla="*/ 3582 w 3582"/>
              <a:gd name="T3" fmla="*/ 0 h 1485"/>
              <a:gd name="T4" fmla="*/ 3582 w 3582"/>
              <a:gd name="T5" fmla="*/ 1485 h 1485"/>
              <a:gd name="T6" fmla="*/ 0 w 3582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2" h="1485">
                <a:moveTo>
                  <a:pt x="0" y="743"/>
                </a:moveTo>
                <a:lnTo>
                  <a:pt x="3582" y="0"/>
                </a:lnTo>
                <a:lnTo>
                  <a:pt x="3582" y="1485"/>
                </a:lnTo>
                <a:lnTo>
                  <a:pt x="0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4111522" y="1643904"/>
            <a:ext cx="4817363" cy="1997706"/>
          </a:xfrm>
          <a:custGeom>
            <a:avLst/>
            <a:gdLst>
              <a:gd name="T0" fmla="*/ 3581 w 3581"/>
              <a:gd name="T1" fmla="*/ 743 h 1485"/>
              <a:gd name="T2" fmla="*/ 0 w 3581"/>
              <a:gd name="T3" fmla="*/ 0 h 1485"/>
              <a:gd name="T4" fmla="*/ 0 w 3581"/>
              <a:gd name="T5" fmla="*/ 1485 h 1485"/>
              <a:gd name="T6" fmla="*/ 3581 w 3581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1" h="1485">
                <a:moveTo>
                  <a:pt x="3581" y="743"/>
                </a:moveTo>
                <a:lnTo>
                  <a:pt x="0" y="0"/>
                </a:lnTo>
                <a:lnTo>
                  <a:pt x="0" y="1485"/>
                </a:lnTo>
                <a:lnTo>
                  <a:pt x="3581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8277781" y="3921423"/>
            <a:ext cx="3472107" cy="1724619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3847851" y="5312418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2194531" y="5391789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2006195" y="5480575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225076" y="5442908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3176568" y="5140226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1113581" y="4793149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>
            <a:off x="8525308" y="2818313"/>
            <a:ext cx="235420" cy="207169"/>
          </a:xfrm>
          <a:custGeom>
            <a:avLst/>
            <a:gdLst>
              <a:gd name="T0" fmla="*/ 175 w 175"/>
              <a:gd name="T1" fmla="*/ 154 h 154"/>
              <a:gd name="T2" fmla="*/ 36 w 175"/>
              <a:gd name="T3" fmla="*/ 154 h 154"/>
              <a:gd name="T4" fmla="*/ 0 w 175"/>
              <a:gd name="T5" fmla="*/ 0 h 154"/>
              <a:gd name="T6" fmla="*/ 142 w 175"/>
              <a:gd name="T7" fmla="*/ 0 h 154"/>
              <a:gd name="T8" fmla="*/ 175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175" y="154"/>
                </a:moveTo>
                <a:lnTo>
                  <a:pt x="36" y="154"/>
                </a:lnTo>
                <a:lnTo>
                  <a:pt x="0" y="0"/>
                </a:lnTo>
                <a:lnTo>
                  <a:pt x="142" y="0"/>
                </a:lnTo>
                <a:lnTo>
                  <a:pt x="175" y="154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8413652" y="4828126"/>
            <a:ext cx="248872" cy="391470"/>
          </a:xfrm>
          <a:custGeom>
            <a:avLst/>
            <a:gdLst>
              <a:gd name="T0" fmla="*/ 22 w 185"/>
              <a:gd name="T1" fmla="*/ 0 h 291"/>
              <a:gd name="T2" fmla="*/ 185 w 185"/>
              <a:gd name="T3" fmla="*/ 0 h 291"/>
              <a:gd name="T4" fmla="*/ 171 w 185"/>
              <a:gd name="T5" fmla="*/ 291 h 291"/>
              <a:gd name="T6" fmla="*/ 0 w 185"/>
              <a:gd name="T7" fmla="*/ 291 h 291"/>
              <a:gd name="T8" fmla="*/ 22 w 185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91">
                <a:moveTo>
                  <a:pt x="22" y="0"/>
                </a:moveTo>
                <a:lnTo>
                  <a:pt x="185" y="0"/>
                </a:lnTo>
                <a:lnTo>
                  <a:pt x="171" y="291"/>
                </a:lnTo>
                <a:lnTo>
                  <a:pt x="0" y="291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8483605" y="3855506"/>
            <a:ext cx="232729" cy="417029"/>
          </a:xfrm>
          <a:custGeom>
            <a:avLst/>
            <a:gdLst>
              <a:gd name="T0" fmla="*/ 22 w 173"/>
              <a:gd name="T1" fmla="*/ 0 h 310"/>
              <a:gd name="T2" fmla="*/ 173 w 173"/>
              <a:gd name="T3" fmla="*/ 0 h 310"/>
              <a:gd name="T4" fmla="*/ 156 w 173"/>
              <a:gd name="T5" fmla="*/ 310 h 310"/>
              <a:gd name="T6" fmla="*/ 0 w 173"/>
              <a:gd name="T7" fmla="*/ 310 h 310"/>
              <a:gd name="T8" fmla="*/ 22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22" y="0"/>
                </a:moveTo>
                <a:lnTo>
                  <a:pt x="173" y="0"/>
                </a:lnTo>
                <a:lnTo>
                  <a:pt x="156" y="310"/>
                </a:lnTo>
                <a:lnTo>
                  <a:pt x="0" y="310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3"/>
          <p:cNvSpPr>
            <a:spLocks/>
          </p:cNvSpPr>
          <p:nvPr/>
        </p:nvSpPr>
        <p:spPr bwMode="auto">
          <a:xfrm>
            <a:off x="8553558" y="3025483"/>
            <a:ext cx="207169" cy="273087"/>
          </a:xfrm>
          <a:custGeom>
            <a:avLst/>
            <a:gdLst>
              <a:gd name="T0" fmla="*/ 154 w 154"/>
              <a:gd name="T1" fmla="*/ 0 h 203"/>
              <a:gd name="T2" fmla="*/ 142 w 154"/>
              <a:gd name="T3" fmla="*/ 203 h 203"/>
              <a:gd name="T4" fmla="*/ 0 w 154"/>
              <a:gd name="T5" fmla="*/ 203 h 203"/>
              <a:gd name="T6" fmla="*/ 15 w 154"/>
              <a:gd name="T7" fmla="*/ 0 h 203"/>
              <a:gd name="T8" fmla="*/ 154 w 154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203">
                <a:moveTo>
                  <a:pt x="154" y="0"/>
                </a:moveTo>
                <a:lnTo>
                  <a:pt x="142" y="203"/>
                </a:lnTo>
                <a:lnTo>
                  <a:pt x="0" y="203"/>
                </a:lnTo>
                <a:lnTo>
                  <a:pt x="15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8693465" y="3855506"/>
            <a:ext cx="474875" cy="417029"/>
          </a:xfrm>
          <a:custGeom>
            <a:avLst/>
            <a:gdLst>
              <a:gd name="T0" fmla="*/ 353 w 353"/>
              <a:gd name="T1" fmla="*/ 310 h 310"/>
              <a:gd name="T2" fmla="*/ 0 w 353"/>
              <a:gd name="T3" fmla="*/ 310 h 310"/>
              <a:gd name="T4" fmla="*/ 17 w 353"/>
              <a:gd name="T5" fmla="*/ 0 h 310"/>
              <a:gd name="T6" fmla="*/ 336 w 353"/>
              <a:gd name="T7" fmla="*/ 0 h 310"/>
              <a:gd name="T8" fmla="*/ 353 w 353"/>
              <a:gd name="T9" fmla="*/ 31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" h="310">
                <a:moveTo>
                  <a:pt x="353" y="310"/>
                </a:moveTo>
                <a:lnTo>
                  <a:pt x="0" y="310"/>
                </a:lnTo>
                <a:lnTo>
                  <a:pt x="17" y="0"/>
                </a:lnTo>
                <a:lnTo>
                  <a:pt x="336" y="0"/>
                </a:lnTo>
                <a:lnTo>
                  <a:pt x="353" y="31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8643690" y="4828126"/>
            <a:ext cx="574424" cy="391470"/>
          </a:xfrm>
          <a:custGeom>
            <a:avLst/>
            <a:gdLst>
              <a:gd name="T0" fmla="*/ 427 w 427"/>
              <a:gd name="T1" fmla="*/ 291 h 291"/>
              <a:gd name="T2" fmla="*/ 0 w 427"/>
              <a:gd name="T3" fmla="*/ 291 h 291"/>
              <a:gd name="T4" fmla="*/ 14 w 427"/>
              <a:gd name="T5" fmla="*/ 0 h 291"/>
              <a:gd name="T6" fmla="*/ 411 w 427"/>
              <a:gd name="T7" fmla="*/ 0 h 291"/>
              <a:gd name="T8" fmla="*/ 427 w 427"/>
              <a:gd name="T9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7" h="291">
                <a:moveTo>
                  <a:pt x="427" y="291"/>
                </a:moveTo>
                <a:lnTo>
                  <a:pt x="0" y="291"/>
                </a:lnTo>
                <a:lnTo>
                  <a:pt x="14" y="0"/>
                </a:lnTo>
                <a:lnTo>
                  <a:pt x="411" y="0"/>
                </a:lnTo>
                <a:lnTo>
                  <a:pt x="427" y="291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8614095" y="2716074"/>
            <a:ext cx="629580" cy="4170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8739204" y="2570786"/>
            <a:ext cx="380708" cy="145288"/>
          </a:xfrm>
          <a:prstGeom prst="rect">
            <a:avLst/>
          </a:pr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8513200" y="3298570"/>
            <a:ext cx="231384" cy="556936"/>
          </a:xfrm>
          <a:custGeom>
            <a:avLst/>
            <a:gdLst>
              <a:gd name="T0" fmla="*/ 172 w 172"/>
              <a:gd name="T1" fmla="*/ 0 h 414"/>
              <a:gd name="T2" fmla="*/ 151 w 172"/>
              <a:gd name="T3" fmla="*/ 414 h 414"/>
              <a:gd name="T4" fmla="*/ 0 w 172"/>
              <a:gd name="T5" fmla="*/ 414 h 414"/>
              <a:gd name="T6" fmla="*/ 30 w 172"/>
              <a:gd name="T7" fmla="*/ 0 h 414"/>
              <a:gd name="T8" fmla="*/ 172 w 172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414">
                <a:moveTo>
                  <a:pt x="172" y="0"/>
                </a:moveTo>
                <a:lnTo>
                  <a:pt x="151" y="414"/>
                </a:lnTo>
                <a:lnTo>
                  <a:pt x="0" y="414"/>
                </a:lnTo>
                <a:lnTo>
                  <a:pt x="30" y="0"/>
                </a:lnTo>
                <a:lnTo>
                  <a:pt x="172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4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29"/>
          <p:cNvSpPr>
            <a:spLocks/>
          </p:cNvSpPr>
          <p:nvPr/>
        </p:nvSpPr>
        <p:spPr bwMode="auto">
          <a:xfrm>
            <a:off x="8662524" y="4272535"/>
            <a:ext cx="534067" cy="555591"/>
          </a:xfrm>
          <a:custGeom>
            <a:avLst/>
            <a:gdLst>
              <a:gd name="T0" fmla="*/ 397 w 397"/>
              <a:gd name="T1" fmla="*/ 413 h 413"/>
              <a:gd name="T2" fmla="*/ 0 w 397"/>
              <a:gd name="T3" fmla="*/ 413 h 413"/>
              <a:gd name="T4" fmla="*/ 23 w 397"/>
              <a:gd name="T5" fmla="*/ 0 h 413"/>
              <a:gd name="T6" fmla="*/ 376 w 397"/>
              <a:gd name="T7" fmla="*/ 0 h 413"/>
              <a:gd name="T8" fmla="*/ 397 w 397"/>
              <a:gd name="T9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413">
                <a:moveTo>
                  <a:pt x="397" y="413"/>
                </a:moveTo>
                <a:lnTo>
                  <a:pt x="0" y="413"/>
                </a:lnTo>
                <a:lnTo>
                  <a:pt x="23" y="0"/>
                </a:lnTo>
                <a:lnTo>
                  <a:pt x="376" y="0"/>
                </a:lnTo>
                <a:lnTo>
                  <a:pt x="397" y="41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0"/>
          <p:cNvSpPr>
            <a:spLocks/>
          </p:cNvSpPr>
          <p:nvPr/>
        </p:nvSpPr>
        <p:spPr bwMode="auto">
          <a:xfrm>
            <a:off x="8443247" y="4272535"/>
            <a:ext cx="250218" cy="555591"/>
          </a:xfrm>
          <a:custGeom>
            <a:avLst/>
            <a:gdLst>
              <a:gd name="T0" fmla="*/ 186 w 186"/>
              <a:gd name="T1" fmla="*/ 0 h 413"/>
              <a:gd name="T2" fmla="*/ 163 w 186"/>
              <a:gd name="T3" fmla="*/ 413 h 413"/>
              <a:gd name="T4" fmla="*/ 0 w 186"/>
              <a:gd name="T5" fmla="*/ 413 h 413"/>
              <a:gd name="T6" fmla="*/ 30 w 186"/>
              <a:gd name="T7" fmla="*/ 0 h 413"/>
              <a:gd name="T8" fmla="*/ 186 w 186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6" h="413">
                <a:moveTo>
                  <a:pt x="186" y="0"/>
                </a:moveTo>
                <a:lnTo>
                  <a:pt x="163" y="413"/>
                </a:lnTo>
                <a:lnTo>
                  <a:pt x="0" y="413"/>
                </a:lnTo>
                <a:lnTo>
                  <a:pt x="30" y="0"/>
                </a:lnTo>
                <a:lnTo>
                  <a:pt x="186" y="0"/>
                </a:lnTo>
                <a:close/>
              </a:path>
            </a:pathLst>
          </a:custGeom>
          <a:gradFill flip="none" rotWithShape="1">
            <a:gsLst>
              <a:gs pos="83000">
                <a:srgbClr val="F8716A"/>
              </a:gs>
              <a:gs pos="13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/>
          <p:cNvSpPr>
            <a:spLocks/>
          </p:cNvSpPr>
          <p:nvPr/>
        </p:nvSpPr>
        <p:spPr bwMode="auto">
          <a:xfrm>
            <a:off x="9098387" y="2818313"/>
            <a:ext cx="235420" cy="207169"/>
          </a:xfrm>
          <a:custGeom>
            <a:avLst/>
            <a:gdLst>
              <a:gd name="T0" fmla="*/ 0 w 175"/>
              <a:gd name="T1" fmla="*/ 154 h 154"/>
              <a:gd name="T2" fmla="*/ 141 w 175"/>
              <a:gd name="T3" fmla="*/ 154 h 154"/>
              <a:gd name="T4" fmla="*/ 175 w 175"/>
              <a:gd name="T5" fmla="*/ 0 h 154"/>
              <a:gd name="T6" fmla="*/ 35 w 175"/>
              <a:gd name="T7" fmla="*/ 0 h 154"/>
              <a:gd name="T8" fmla="*/ 0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0" y="154"/>
                </a:moveTo>
                <a:lnTo>
                  <a:pt x="141" y="154"/>
                </a:lnTo>
                <a:lnTo>
                  <a:pt x="175" y="0"/>
                </a:lnTo>
                <a:lnTo>
                  <a:pt x="35" y="0"/>
                </a:lnTo>
                <a:lnTo>
                  <a:pt x="0" y="154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/>
          <p:cNvSpPr>
            <a:spLocks/>
          </p:cNvSpPr>
          <p:nvPr/>
        </p:nvSpPr>
        <p:spPr bwMode="auto">
          <a:xfrm>
            <a:off x="9196591" y="4828126"/>
            <a:ext cx="247527" cy="391470"/>
          </a:xfrm>
          <a:custGeom>
            <a:avLst/>
            <a:gdLst>
              <a:gd name="T0" fmla="*/ 163 w 184"/>
              <a:gd name="T1" fmla="*/ 0 h 291"/>
              <a:gd name="T2" fmla="*/ 0 w 184"/>
              <a:gd name="T3" fmla="*/ 0 h 291"/>
              <a:gd name="T4" fmla="*/ 16 w 184"/>
              <a:gd name="T5" fmla="*/ 291 h 291"/>
              <a:gd name="T6" fmla="*/ 184 w 184"/>
              <a:gd name="T7" fmla="*/ 291 h 291"/>
              <a:gd name="T8" fmla="*/ 163 w 184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291">
                <a:moveTo>
                  <a:pt x="163" y="0"/>
                </a:moveTo>
                <a:lnTo>
                  <a:pt x="0" y="0"/>
                </a:lnTo>
                <a:lnTo>
                  <a:pt x="16" y="291"/>
                </a:lnTo>
                <a:lnTo>
                  <a:pt x="184" y="291"/>
                </a:lnTo>
                <a:lnTo>
                  <a:pt x="163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/>
          <p:cNvSpPr>
            <a:spLocks/>
          </p:cNvSpPr>
          <p:nvPr/>
        </p:nvSpPr>
        <p:spPr bwMode="auto">
          <a:xfrm>
            <a:off x="9145471" y="3855506"/>
            <a:ext cx="232729" cy="417029"/>
          </a:xfrm>
          <a:custGeom>
            <a:avLst/>
            <a:gdLst>
              <a:gd name="T0" fmla="*/ 149 w 173"/>
              <a:gd name="T1" fmla="*/ 0 h 310"/>
              <a:gd name="T2" fmla="*/ 0 w 173"/>
              <a:gd name="T3" fmla="*/ 0 h 310"/>
              <a:gd name="T4" fmla="*/ 17 w 173"/>
              <a:gd name="T5" fmla="*/ 310 h 310"/>
              <a:gd name="T6" fmla="*/ 173 w 173"/>
              <a:gd name="T7" fmla="*/ 310 h 310"/>
              <a:gd name="T8" fmla="*/ 149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149" y="0"/>
                </a:moveTo>
                <a:lnTo>
                  <a:pt x="0" y="0"/>
                </a:lnTo>
                <a:lnTo>
                  <a:pt x="17" y="310"/>
                </a:lnTo>
                <a:lnTo>
                  <a:pt x="173" y="310"/>
                </a:lnTo>
                <a:lnTo>
                  <a:pt x="149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4"/>
          <p:cNvSpPr>
            <a:spLocks/>
          </p:cNvSpPr>
          <p:nvPr/>
        </p:nvSpPr>
        <p:spPr bwMode="auto">
          <a:xfrm>
            <a:off x="9098387" y="3025483"/>
            <a:ext cx="209860" cy="273087"/>
          </a:xfrm>
          <a:custGeom>
            <a:avLst/>
            <a:gdLst>
              <a:gd name="T0" fmla="*/ 0 w 156"/>
              <a:gd name="T1" fmla="*/ 0 h 203"/>
              <a:gd name="T2" fmla="*/ 11 w 156"/>
              <a:gd name="T3" fmla="*/ 203 h 203"/>
              <a:gd name="T4" fmla="*/ 156 w 156"/>
              <a:gd name="T5" fmla="*/ 203 h 203"/>
              <a:gd name="T6" fmla="*/ 141 w 156"/>
              <a:gd name="T7" fmla="*/ 0 h 203"/>
              <a:gd name="T8" fmla="*/ 0 w 156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" h="203">
                <a:moveTo>
                  <a:pt x="0" y="0"/>
                </a:moveTo>
                <a:lnTo>
                  <a:pt x="11" y="203"/>
                </a:lnTo>
                <a:lnTo>
                  <a:pt x="156" y="203"/>
                </a:lnTo>
                <a:lnTo>
                  <a:pt x="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35"/>
          <p:cNvSpPr>
            <a:spLocks/>
          </p:cNvSpPr>
          <p:nvPr/>
        </p:nvSpPr>
        <p:spPr bwMode="auto">
          <a:xfrm>
            <a:off x="8716334" y="2818313"/>
            <a:ext cx="429137" cy="207169"/>
          </a:xfrm>
          <a:custGeom>
            <a:avLst/>
            <a:gdLst>
              <a:gd name="T0" fmla="*/ 158 w 319"/>
              <a:gd name="T1" fmla="*/ 0 h 154"/>
              <a:gd name="T2" fmla="*/ 0 w 319"/>
              <a:gd name="T3" fmla="*/ 0 h 154"/>
              <a:gd name="T4" fmla="*/ 33 w 319"/>
              <a:gd name="T5" fmla="*/ 154 h 154"/>
              <a:gd name="T6" fmla="*/ 158 w 319"/>
              <a:gd name="T7" fmla="*/ 154 h 154"/>
              <a:gd name="T8" fmla="*/ 284 w 319"/>
              <a:gd name="T9" fmla="*/ 154 h 154"/>
              <a:gd name="T10" fmla="*/ 319 w 319"/>
              <a:gd name="T11" fmla="*/ 0 h 154"/>
              <a:gd name="T12" fmla="*/ 158 w 319"/>
              <a:gd name="T13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154">
                <a:moveTo>
                  <a:pt x="158" y="0"/>
                </a:moveTo>
                <a:lnTo>
                  <a:pt x="0" y="0"/>
                </a:lnTo>
                <a:lnTo>
                  <a:pt x="33" y="154"/>
                </a:lnTo>
                <a:lnTo>
                  <a:pt x="158" y="154"/>
                </a:lnTo>
                <a:lnTo>
                  <a:pt x="284" y="154"/>
                </a:lnTo>
                <a:lnTo>
                  <a:pt x="319" y="0"/>
                </a:lnTo>
                <a:lnTo>
                  <a:pt x="158" y="0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36"/>
          <p:cNvSpPr>
            <a:spLocks/>
          </p:cNvSpPr>
          <p:nvPr/>
        </p:nvSpPr>
        <p:spPr bwMode="auto">
          <a:xfrm>
            <a:off x="8744585" y="3025483"/>
            <a:ext cx="368600" cy="273087"/>
          </a:xfrm>
          <a:custGeom>
            <a:avLst/>
            <a:gdLst>
              <a:gd name="T0" fmla="*/ 263 w 274"/>
              <a:gd name="T1" fmla="*/ 0 h 203"/>
              <a:gd name="T2" fmla="*/ 137 w 274"/>
              <a:gd name="T3" fmla="*/ 0 h 203"/>
              <a:gd name="T4" fmla="*/ 12 w 274"/>
              <a:gd name="T5" fmla="*/ 0 h 203"/>
              <a:gd name="T6" fmla="*/ 0 w 274"/>
              <a:gd name="T7" fmla="*/ 203 h 203"/>
              <a:gd name="T8" fmla="*/ 137 w 274"/>
              <a:gd name="T9" fmla="*/ 203 h 203"/>
              <a:gd name="T10" fmla="*/ 274 w 274"/>
              <a:gd name="T11" fmla="*/ 203 h 203"/>
              <a:gd name="T12" fmla="*/ 263 w 274"/>
              <a:gd name="T13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4" h="203">
                <a:moveTo>
                  <a:pt x="263" y="0"/>
                </a:moveTo>
                <a:lnTo>
                  <a:pt x="137" y="0"/>
                </a:lnTo>
                <a:lnTo>
                  <a:pt x="12" y="0"/>
                </a:lnTo>
                <a:lnTo>
                  <a:pt x="0" y="203"/>
                </a:lnTo>
                <a:lnTo>
                  <a:pt x="137" y="203"/>
                </a:lnTo>
                <a:lnTo>
                  <a:pt x="274" y="203"/>
                </a:lnTo>
                <a:lnTo>
                  <a:pt x="263" y="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37"/>
          <p:cNvSpPr>
            <a:spLocks/>
          </p:cNvSpPr>
          <p:nvPr/>
        </p:nvSpPr>
        <p:spPr bwMode="auto">
          <a:xfrm>
            <a:off x="8525308" y="2757777"/>
            <a:ext cx="808499" cy="60537"/>
          </a:xfrm>
          <a:custGeom>
            <a:avLst/>
            <a:gdLst>
              <a:gd name="T0" fmla="*/ 300 w 601"/>
              <a:gd name="T1" fmla="*/ 0 h 45"/>
              <a:gd name="T2" fmla="*/ 0 w 601"/>
              <a:gd name="T3" fmla="*/ 0 h 45"/>
              <a:gd name="T4" fmla="*/ 0 w 601"/>
              <a:gd name="T5" fmla="*/ 45 h 45"/>
              <a:gd name="T6" fmla="*/ 300 w 601"/>
              <a:gd name="T7" fmla="*/ 45 h 45"/>
              <a:gd name="T8" fmla="*/ 601 w 601"/>
              <a:gd name="T9" fmla="*/ 45 h 45"/>
              <a:gd name="T10" fmla="*/ 601 w 601"/>
              <a:gd name="T11" fmla="*/ 0 h 45"/>
              <a:gd name="T12" fmla="*/ 300 w 601"/>
              <a:gd name="T13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1" h="45">
                <a:moveTo>
                  <a:pt x="300" y="0"/>
                </a:moveTo>
                <a:lnTo>
                  <a:pt x="0" y="0"/>
                </a:lnTo>
                <a:lnTo>
                  <a:pt x="0" y="45"/>
                </a:lnTo>
                <a:lnTo>
                  <a:pt x="300" y="45"/>
                </a:lnTo>
                <a:lnTo>
                  <a:pt x="601" y="45"/>
                </a:lnTo>
                <a:lnTo>
                  <a:pt x="601" y="0"/>
                </a:lnTo>
                <a:lnTo>
                  <a:pt x="300" y="0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auto">
          <a:xfrm>
            <a:off x="8658488" y="2449713"/>
            <a:ext cx="347076" cy="12107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>
            <a:off x="8658488" y="2179316"/>
            <a:ext cx="347076" cy="270397"/>
          </a:xfrm>
          <a:custGeom>
            <a:avLst/>
            <a:gdLst>
              <a:gd name="T0" fmla="*/ 109 w 109"/>
              <a:gd name="T1" fmla="*/ 85 h 85"/>
              <a:gd name="T2" fmla="*/ 0 w 109"/>
              <a:gd name="T3" fmla="*/ 85 h 85"/>
              <a:gd name="T4" fmla="*/ 69 w 109"/>
              <a:gd name="T5" fmla="*/ 44 h 85"/>
              <a:gd name="T6" fmla="*/ 69 w 109"/>
              <a:gd name="T7" fmla="*/ 11 h 85"/>
              <a:gd name="T8" fmla="*/ 76 w 109"/>
              <a:gd name="T9" fmla="*/ 0 h 85"/>
              <a:gd name="T10" fmla="*/ 85 w 109"/>
              <a:gd name="T11" fmla="*/ 0 h 85"/>
              <a:gd name="T12" fmla="*/ 85 w 109"/>
              <a:gd name="T13" fmla="*/ 52 h 85"/>
              <a:gd name="T14" fmla="*/ 109 w 109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9" h="85">
                <a:moveTo>
                  <a:pt x="109" y="85"/>
                </a:moveTo>
                <a:cubicBezTo>
                  <a:pt x="0" y="85"/>
                  <a:pt x="0" y="85"/>
                  <a:pt x="0" y="85"/>
                </a:cubicBezTo>
                <a:cubicBezTo>
                  <a:pt x="69" y="44"/>
                  <a:pt x="69" y="44"/>
                  <a:pt x="69" y="44"/>
                </a:cubicBezTo>
                <a:cubicBezTo>
                  <a:pt x="69" y="44"/>
                  <a:pt x="69" y="19"/>
                  <a:pt x="69" y="11"/>
                </a:cubicBezTo>
                <a:cubicBezTo>
                  <a:pt x="69" y="3"/>
                  <a:pt x="72" y="0"/>
                  <a:pt x="76" y="0"/>
                </a:cubicBezTo>
                <a:cubicBezTo>
                  <a:pt x="80" y="0"/>
                  <a:pt x="85" y="0"/>
                  <a:pt x="85" y="0"/>
                </a:cubicBezTo>
                <a:cubicBezTo>
                  <a:pt x="85" y="52"/>
                  <a:pt x="85" y="52"/>
                  <a:pt x="85" y="52"/>
                </a:cubicBezTo>
                <a:lnTo>
                  <a:pt x="109" y="85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40"/>
          <p:cNvSpPr>
            <a:spLocks/>
          </p:cNvSpPr>
          <p:nvPr/>
        </p:nvSpPr>
        <p:spPr bwMode="auto">
          <a:xfrm>
            <a:off x="9113185" y="3298570"/>
            <a:ext cx="232729" cy="556936"/>
          </a:xfrm>
          <a:custGeom>
            <a:avLst/>
            <a:gdLst>
              <a:gd name="T0" fmla="*/ 0 w 173"/>
              <a:gd name="T1" fmla="*/ 0 h 414"/>
              <a:gd name="T2" fmla="*/ 24 w 173"/>
              <a:gd name="T3" fmla="*/ 414 h 414"/>
              <a:gd name="T4" fmla="*/ 173 w 173"/>
              <a:gd name="T5" fmla="*/ 414 h 414"/>
              <a:gd name="T6" fmla="*/ 145 w 173"/>
              <a:gd name="T7" fmla="*/ 0 h 414"/>
              <a:gd name="T8" fmla="*/ 0 w 173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414">
                <a:moveTo>
                  <a:pt x="0" y="0"/>
                </a:moveTo>
                <a:lnTo>
                  <a:pt x="24" y="414"/>
                </a:lnTo>
                <a:lnTo>
                  <a:pt x="173" y="414"/>
                </a:lnTo>
                <a:lnTo>
                  <a:pt x="145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41"/>
          <p:cNvSpPr>
            <a:spLocks/>
          </p:cNvSpPr>
          <p:nvPr/>
        </p:nvSpPr>
        <p:spPr bwMode="auto">
          <a:xfrm>
            <a:off x="8716334" y="3298570"/>
            <a:ext cx="429137" cy="556936"/>
          </a:xfrm>
          <a:custGeom>
            <a:avLst/>
            <a:gdLst>
              <a:gd name="T0" fmla="*/ 295 w 319"/>
              <a:gd name="T1" fmla="*/ 0 h 414"/>
              <a:gd name="T2" fmla="*/ 158 w 319"/>
              <a:gd name="T3" fmla="*/ 0 h 414"/>
              <a:gd name="T4" fmla="*/ 21 w 319"/>
              <a:gd name="T5" fmla="*/ 0 h 414"/>
              <a:gd name="T6" fmla="*/ 0 w 319"/>
              <a:gd name="T7" fmla="*/ 414 h 414"/>
              <a:gd name="T8" fmla="*/ 158 w 319"/>
              <a:gd name="T9" fmla="*/ 414 h 414"/>
              <a:gd name="T10" fmla="*/ 319 w 319"/>
              <a:gd name="T11" fmla="*/ 414 h 414"/>
              <a:gd name="T12" fmla="*/ 295 w 319"/>
              <a:gd name="T13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414">
                <a:moveTo>
                  <a:pt x="295" y="0"/>
                </a:moveTo>
                <a:lnTo>
                  <a:pt x="158" y="0"/>
                </a:lnTo>
                <a:lnTo>
                  <a:pt x="21" y="0"/>
                </a:lnTo>
                <a:lnTo>
                  <a:pt x="0" y="414"/>
                </a:lnTo>
                <a:lnTo>
                  <a:pt x="158" y="414"/>
                </a:lnTo>
                <a:lnTo>
                  <a:pt x="319" y="414"/>
                </a:lnTo>
                <a:lnTo>
                  <a:pt x="295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8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42"/>
          <p:cNvSpPr>
            <a:spLocks/>
          </p:cNvSpPr>
          <p:nvPr/>
        </p:nvSpPr>
        <p:spPr bwMode="auto">
          <a:xfrm>
            <a:off x="9168340" y="4272535"/>
            <a:ext cx="247527" cy="555591"/>
          </a:xfrm>
          <a:custGeom>
            <a:avLst/>
            <a:gdLst>
              <a:gd name="T0" fmla="*/ 0 w 184"/>
              <a:gd name="T1" fmla="*/ 0 h 413"/>
              <a:gd name="T2" fmla="*/ 21 w 184"/>
              <a:gd name="T3" fmla="*/ 413 h 413"/>
              <a:gd name="T4" fmla="*/ 184 w 184"/>
              <a:gd name="T5" fmla="*/ 413 h 413"/>
              <a:gd name="T6" fmla="*/ 156 w 184"/>
              <a:gd name="T7" fmla="*/ 0 h 413"/>
              <a:gd name="T8" fmla="*/ 0 w 184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413">
                <a:moveTo>
                  <a:pt x="0" y="0"/>
                </a:moveTo>
                <a:lnTo>
                  <a:pt x="21" y="413"/>
                </a:lnTo>
                <a:lnTo>
                  <a:pt x="184" y="413"/>
                </a:lnTo>
                <a:lnTo>
                  <a:pt x="156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auto">
          <a:xfrm>
            <a:off x="8798395" y="2570786"/>
            <a:ext cx="260980" cy="145288"/>
          </a:xfrm>
          <a:prstGeom prst="rect">
            <a:avLst/>
          </a:pr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4"/>
          <p:cNvSpPr>
            <a:spLocks noChangeArrowheads="1"/>
          </p:cNvSpPr>
          <p:nvPr/>
        </p:nvSpPr>
        <p:spPr bwMode="auto">
          <a:xfrm>
            <a:off x="9005564" y="2449713"/>
            <a:ext cx="197753" cy="121073"/>
          </a:xfrm>
          <a:prstGeom prst="rect">
            <a:avLst/>
          </a:pr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45"/>
          <p:cNvSpPr>
            <a:spLocks/>
          </p:cNvSpPr>
          <p:nvPr/>
        </p:nvSpPr>
        <p:spPr bwMode="auto">
          <a:xfrm>
            <a:off x="8928885" y="2179316"/>
            <a:ext cx="274432" cy="270397"/>
          </a:xfrm>
          <a:custGeom>
            <a:avLst/>
            <a:gdLst>
              <a:gd name="T0" fmla="*/ 86 w 86"/>
              <a:gd name="T1" fmla="*/ 85 h 85"/>
              <a:gd name="T2" fmla="*/ 24 w 86"/>
              <a:gd name="T3" fmla="*/ 85 h 85"/>
              <a:gd name="T4" fmla="*/ 0 w 86"/>
              <a:gd name="T5" fmla="*/ 52 h 85"/>
              <a:gd name="T6" fmla="*/ 0 w 86"/>
              <a:gd name="T7" fmla="*/ 0 h 85"/>
              <a:gd name="T8" fmla="*/ 9 w 86"/>
              <a:gd name="T9" fmla="*/ 0 h 85"/>
              <a:gd name="T10" fmla="*/ 17 w 86"/>
              <a:gd name="T11" fmla="*/ 11 h 85"/>
              <a:gd name="T12" fmla="*/ 17 w 86"/>
              <a:gd name="T13" fmla="*/ 44 h 85"/>
              <a:gd name="T14" fmla="*/ 86 w 86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" h="85">
                <a:moveTo>
                  <a:pt x="86" y="85"/>
                </a:moveTo>
                <a:cubicBezTo>
                  <a:pt x="24" y="85"/>
                  <a:pt x="24" y="85"/>
                  <a:pt x="24" y="85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5" y="0"/>
                  <a:pt x="9" y="0"/>
                </a:cubicBezTo>
                <a:cubicBezTo>
                  <a:pt x="13" y="0"/>
                  <a:pt x="17" y="3"/>
                  <a:pt x="17" y="11"/>
                </a:cubicBezTo>
                <a:cubicBezTo>
                  <a:pt x="17" y="19"/>
                  <a:pt x="17" y="44"/>
                  <a:pt x="17" y="44"/>
                </a:cubicBezTo>
                <a:lnTo>
                  <a:pt x="86" y="85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5990845" y="3718290"/>
            <a:ext cx="3879719" cy="1927752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8942337" y="4717815"/>
            <a:ext cx="1869906" cy="928227"/>
          </a:xfrm>
          <a:custGeom>
            <a:avLst/>
            <a:gdLst>
              <a:gd name="T0" fmla="*/ 0 w 1390"/>
              <a:gd name="T1" fmla="*/ 690 h 690"/>
              <a:gd name="T2" fmla="*/ 1390 w 1390"/>
              <a:gd name="T3" fmla="*/ 690 h 690"/>
              <a:gd name="T4" fmla="*/ 700 w 1390"/>
              <a:gd name="T5" fmla="*/ 0 h 690"/>
              <a:gd name="T6" fmla="*/ 0 w 1390"/>
              <a:gd name="T7" fmla="*/ 69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90" h="690">
                <a:moveTo>
                  <a:pt x="0" y="690"/>
                </a:moveTo>
                <a:lnTo>
                  <a:pt x="1390" y="690"/>
                </a:lnTo>
                <a:lnTo>
                  <a:pt x="700" y="0"/>
                </a:lnTo>
                <a:lnTo>
                  <a:pt x="0" y="690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3110" y="5647558"/>
            <a:ext cx="12188890" cy="1210442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24625" y="5646042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1224601" y="5646042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4162641" y="5646042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0138270" y="5646042"/>
            <a:ext cx="1951967" cy="969930"/>
          </a:xfrm>
          <a:custGeom>
            <a:avLst/>
            <a:gdLst>
              <a:gd name="T0" fmla="*/ 0 w 1451"/>
              <a:gd name="T1" fmla="*/ 0 h 721"/>
              <a:gd name="T2" fmla="*/ 1451 w 1451"/>
              <a:gd name="T3" fmla="*/ 0 h 721"/>
              <a:gd name="T4" fmla="*/ 730 w 1451"/>
              <a:gd name="T5" fmla="*/ 721 h 721"/>
              <a:gd name="T6" fmla="*/ 0 w 1451"/>
              <a:gd name="T7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51" h="721">
                <a:moveTo>
                  <a:pt x="0" y="0"/>
                </a:moveTo>
                <a:lnTo>
                  <a:pt x="1451" y="0"/>
                </a:lnTo>
                <a:lnTo>
                  <a:pt x="730" y="72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7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8413652" y="5646043"/>
            <a:ext cx="1030466" cy="1478658"/>
          </a:xfrm>
          <a:custGeom>
            <a:avLst/>
            <a:gdLst>
              <a:gd name="T0" fmla="*/ 324 w 324"/>
              <a:gd name="T1" fmla="*/ 0 h 956"/>
              <a:gd name="T2" fmla="*/ 253 w 324"/>
              <a:gd name="T3" fmla="*/ 0 h 956"/>
              <a:gd name="T4" fmla="*/ 72 w 324"/>
              <a:gd name="T5" fmla="*/ 0 h 956"/>
              <a:gd name="T6" fmla="*/ 0 w 324"/>
              <a:gd name="T7" fmla="*/ 0 h 956"/>
              <a:gd name="T8" fmla="*/ 9 w 324"/>
              <a:gd name="T9" fmla="*/ 123 h 956"/>
              <a:gd name="T10" fmla="*/ 22 w 324"/>
              <a:gd name="T11" fmla="*/ 299 h 956"/>
              <a:gd name="T12" fmla="*/ 22 w 324"/>
              <a:gd name="T13" fmla="*/ 299 h 956"/>
              <a:gd name="T14" fmla="*/ 31 w 324"/>
              <a:gd name="T15" fmla="*/ 429 h 956"/>
              <a:gd name="T16" fmla="*/ 44 w 324"/>
              <a:gd name="T17" fmla="*/ 604 h 956"/>
              <a:gd name="T18" fmla="*/ 44 w 324"/>
              <a:gd name="T19" fmla="*/ 604 h 956"/>
              <a:gd name="T20" fmla="*/ 50 w 324"/>
              <a:gd name="T21" fmla="*/ 690 h 956"/>
              <a:gd name="T22" fmla="*/ 35 w 324"/>
              <a:gd name="T23" fmla="*/ 755 h 956"/>
              <a:gd name="T24" fmla="*/ 35 w 324"/>
              <a:gd name="T25" fmla="*/ 774 h 956"/>
              <a:gd name="T26" fmla="*/ 63 w 324"/>
              <a:gd name="T27" fmla="*/ 774 h 956"/>
              <a:gd name="T28" fmla="*/ 63 w 324"/>
              <a:gd name="T29" fmla="*/ 787 h 956"/>
              <a:gd name="T30" fmla="*/ 102 w 324"/>
              <a:gd name="T31" fmla="*/ 787 h 956"/>
              <a:gd name="T32" fmla="*/ 102 w 324"/>
              <a:gd name="T33" fmla="*/ 833 h 956"/>
              <a:gd name="T34" fmla="*/ 77 w 324"/>
              <a:gd name="T35" fmla="*/ 833 h 956"/>
              <a:gd name="T36" fmla="*/ 77 w 324"/>
              <a:gd name="T37" fmla="*/ 871 h 956"/>
              <a:gd name="T38" fmla="*/ 146 w 324"/>
              <a:gd name="T39" fmla="*/ 912 h 956"/>
              <a:gd name="T40" fmla="*/ 146 w 324"/>
              <a:gd name="T41" fmla="*/ 945 h 956"/>
              <a:gd name="T42" fmla="*/ 153 w 324"/>
              <a:gd name="T43" fmla="*/ 956 h 956"/>
              <a:gd name="T44" fmla="*/ 162 w 324"/>
              <a:gd name="T45" fmla="*/ 956 h 956"/>
              <a:gd name="T46" fmla="*/ 171 w 324"/>
              <a:gd name="T47" fmla="*/ 956 h 956"/>
              <a:gd name="T48" fmla="*/ 179 w 324"/>
              <a:gd name="T49" fmla="*/ 945 h 956"/>
              <a:gd name="T50" fmla="*/ 179 w 324"/>
              <a:gd name="T51" fmla="*/ 912 h 956"/>
              <a:gd name="T52" fmla="*/ 248 w 324"/>
              <a:gd name="T53" fmla="*/ 871 h 956"/>
              <a:gd name="T54" fmla="*/ 248 w 324"/>
              <a:gd name="T55" fmla="*/ 833 h 956"/>
              <a:gd name="T56" fmla="*/ 222 w 324"/>
              <a:gd name="T57" fmla="*/ 833 h 956"/>
              <a:gd name="T58" fmla="*/ 222 w 324"/>
              <a:gd name="T59" fmla="*/ 787 h 956"/>
              <a:gd name="T60" fmla="*/ 261 w 324"/>
              <a:gd name="T61" fmla="*/ 787 h 956"/>
              <a:gd name="T62" fmla="*/ 261 w 324"/>
              <a:gd name="T63" fmla="*/ 774 h 956"/>
              <a:gd name="T64" fmla="*/ 289 w 324"/>
              <a:gd name="T65" fmla="*/ 774 h 956"/>
              <a:gd name="T66" fmla="*/ 289 w 324"/>
              <a:gd name="T67" fmla="*/ 755 h 956"/>
              <a:gd name="T68" fmla="*/ 275 w 324"/>
              <a:gd name="T69" fmla="*/ 690 h 956"/>
              <a:gd name="T70" fmla="*/ 281 w 324"/>
              <a:gd name="T71" fmla="*/ 604 h 956"/>
              <a:gd name="T72" fmla="*/ 281 w 324"/>
              <a:gd name="T73" fmla="*/ 604 h 956"/>
              <a:gd name="T74" fmla="*/ 293 w 324"/>
              <a:gd name="T75" fmla="*/ 429 h 956"/>
              <a:gd name="T76" fmla="*/ 303 w 324"/>
              <a:gd name="T77" fmla="*/ 299 h 956"/>
              <a:gd name="T78" fmla="*/ 303 w 324"/>
              <a:gd name="T79" fmla="*/ 299 h 956"/>
              <a:gd name="T80" fmla="*/ 315 w 324"/>
              <a:gd name="T81" fmla="*/ 123 h 956"/>
              <a:gd name="T82" fmla="*/ 324 w 324"/>
              <a:gd name="T83" fmla="*/ 0 h 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4" h="956">
                <a:moveTo>
                  <a:pt x="324" y="0"/>
                </a:moveTo>
                <a:cubicBezTo>
                  <a:pt x="253" y="0"/>
                  <a:pt x="253" y="0"/>
                  <a:pt x="25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123"/>
                  <a:pt x="9" y="123"/>
                  <a:pt x="9" y="123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31" y="429"/>
                  <a:pt x="31" y="429"/>
                  <a:pt x="31" y="429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50" y="690"/>
                  <a:pt x="50" y="690"/>
                  <a:pt x="50" y="690"/>
                </a:cubicBezTo>
                <a:cubicBezTo>
                  <a:pt x="35" y="755"/>
                  <a:pt x="35" y="755"/>
                  <a:pt x="35" y="755"/>
                </a:cubicBezTo>
                <a:cubicBezTo>
                  <a:pt x="35" y="774"/>
                  <a:pt x="35" y="774"/>
                  <a:pt x="35" y="774"/>
                </a:cubicBezTo>
                <a:cubicBezTo>
                  <a:pt x="63" y="774"/>
                  <a:pt x="63" y="774"/>
                  <a:pt x="63" y="774"/>
                </a:cubicBezTo>
                <a:cubicBezTo>
                  <a:pt x="63" y="787"/>
                  <a:pt x="63" y="787"/>
                  <a:pt x="63" y="787"/>
                </a:cubicBezTo>
                <a:cubicBezTo>
                  <a:pt x="102" y="787"/>
                  <a:pt x="102" y="787"/>
                  <a:pt x="102" y="787"/>
                </a:cubicBezTo>
                <a:cubicBezTo>
                  <a:pt x="102" y="833"/>
                  <a:pt x="102" y="833"/>
                  <a:pt x="102" y="833"/>
                </a:cubicBezTo>
                <a:cubicBezTo>
                  <a:pt x="77" y="833"/>
                  <a:pt x="77" y="833"/>
                  <a:pt x="77" y="833"/>
                </a:cubicBezTo>
                <a:cubicBezTo>
                  <a:pt x="77" y="871"/>
                  <a:pt x="77" y="871"/>
                  <a:pt x="77" y="871"/>
                </a:cubicBezTo>
                <a:cubicBezTo>
                  <a:pt x="146" y="912"/>
                  <a:pt x="146" y="912"/>
                  <a:pt x="146" y="912"/>
                </a:cubicBezTo>
                <a:cubicBezTo>
                  <a:pt x="146" y="912"/>
                  <a:pt x="146" y="937"/>
                  <a:pt x="146" y="945"/>
                </a:cubicBezTo>
                <a:cubicBezTo>
                  <a:pt x="146" y="953"/>
                  <a:pt x="149" y="956"/>
                  <a:pt x="153" y="956"/>
                </a:cubicBezTo>
                <a:cubicBezTo>
                  <a:pt x="157" y="956"/>
                  <a:pt x="162" y="956"/>
                  <a:pt x="162" y="956"/>
                </a:cubicBezTo>
                <a:cubicBezTo>
                  <a:pt x="162" y="956"/>
                  <a:pt x="167" y="956"/>
                  <a:pt x="171" y="956"/>
                </a:cubicBezTo>
                <a:cubicBezTo>
                  <a:pt x="175" y="956"/>
                  <a:pt x="179" y="953"/>
                  <a:pt x="179" y="945"/>
                </a:cubicBezTo>
                <a:cubicBezTo>
                  <a:pt x="179" y="937"/>
                  <a:pt x="179" y="912"/>
                  <a:pt x="179" y="912"/>
                </a:cubicBezTo>
                <a:cubicBezTo>
                  <a:pt x="248" y="871"/>
                  <a:pt x="248" y="871"/>
                  <a:pt x="248" y="871"/>
                </a:cubicBezTo>
                <a:cubicBezTo>
                  <a:pt x="248" y="833"/>
                  <a:pt x="248" y="833"/>
                  <a:pt x="248" y="833"/>
                </a:cubicBezTo>
                <a:cubicBezTo>
                  <a:pt x="222" y="833"/>
                  <a:pt x="222" y="833"/>
                  <a:pt x="222" y="833"/>
                </a:cubicBezTo>
                <a:cubicBezTo>
                  <a:pt x="222" y="787"/>
                  <a:pt x="222" y="787"/>
                  <a:pt x="222" y="787"/>
                </a:cubicBezTo>
                <a:cubicBezTo>
                  <a:pt x="261" y="787"/>
                  <a:pt x="261" y="787"/>
                  <a:pt x="261" y="787"/>
                </a:cubicBezTo>
                <a:cubicBezTo>
                  <a:pt x="261" y="774"/>
                  <a:pt x="261" y="774"/>
                  <a:pt x="261" y="774"/>
                </a:cubicBezTo>
                <a:cubicBezTo>
                  <a:pt x="289" y="774"/>
                  <a:pt x="289" y="774"/>
                  <a:pt x="289" y="774"/>
                </a:cubicBezTo>
                <a:cubicBezTo>
                  <a:pt x="289" y="755"/>
                  <a:pt x="289" y="755"/>
                  <a:pt x="289" y="755"/>
                </a:cubicBezTo>
                <a:cubicBezTo>
                  <a:pt x="275" y="690"/>
                  <a:pt x="275" y="690"/>
                  <a:pt x="275" y="690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15" y="123"/>
                  <a:pt x="315" y="123"/>
                  <a:pt x="315" y="123"/>
                </a:cubicBezTo>
                <a:lnTo>
                  <a:pt x="324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43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5450052" y="5646042"/>
            <a:ext cx="5177892" cy="1778429"/>
          </a:xfrm>
          <a:custGeom>
            <a:avLst/>
            <a:gdLst>
              <a:gd name="T0" fmla="*/ 3213 w 3849"/>
              <a:gd name="T1" fmla="*/ 636 h 1322"/>
              <a:gd name="T2" fmla="*/ 2889 w 3849"/>
              <a:gd name="T3" fmla="*/ 317 h 1322"/>
              <a:gd name="T4" fmla="*/ 1884 w 3849"/>
              <a:gd name="T5" fmla="*/ 1322 h 1322"/>
              <a:gd name="T6" fmla="*/ 863 w 3849"/>
              <a:gd name="T7" fmla="*/ 312 h 1322"/>
              <a:gd name="T8" fmla="*/ 594 w 3849"/>
              <a:gd name="T9" fmla="*/ 584 h 1322"/>
              <a:gd name="T10" fmla="*/ 0 w 3849"/>
              <a:gd name="T11" fmla="*/ 0 h 1322"/>
              <a:gd name="T12" fmla="*/ 549 w 3849"/>
              <a:gd name="T13" fmla="*/ 0 h 1322"/>
              <a:gd name="T14" fmla="*/ 1175 w 3849"/>
              <a:gd name="T15" fmla="*/ 0 h 1322"/>
              <a:gd name="T16" fmla="*/ 2570 w 3849"/>
              <a:gd name="T17" fmla="*/ 0 h 1322"/>
              <a:gd name="T18" fmla="*/ 3206 w 3849"/>
              <a:gd name="T19" fmla="*/ 0 h 1322"/>
              <a:gd name="T20" fmla="*/ 3849 w 3849"/>
              <a:gd name="T21" fmla="*/ 0 h 1322"/>
              <a:gd name="T22" fmla="*/ 3213 w 3849"/>
              <a:gd name="T23" fmla="*/ 636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9" h="1322">
                <a:moveTo>
                  <a:pt x="3213" y="636"/>
                </a:moveTo>
                <a:lnTo>
                  <a:pt x="2889" y="317"/>
                </a:lnTo>
                <a:lnTo>
                  <a:pt x="1884" y="1322"/>
                </a:lnTo>
                <a:lnTo>
                  <a:pt x="863" y="312"/>
                </a:lnTo>
                <a:lnTo>
                  <a:pt x="594" y="584"/>
                </a:lnTo>
                <a:lnTo>
                  <a:pt x="0" y="0"/>
                </a:lnTo>
                <a:lnTo>
                  <a:pt x="549" y="0"/>
                </a:lnTo>
                <a:lnTo>
                  <a:pt x="1175" y="0"/>
                </a:lnTo>
                <a:lnTo>
                  <a:pt x="2570" y="0"/>
                </a:lnTo>
                <a:lnTo>
                  <a:pt x="3206" y="0"/>
                </a:lnTo>
                <a:lnTo>
                  <a:pt x="3849" y="0"/>
                </a:lnTo>
                <a:lnTo>
                  <a:pt x="3213" y="636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50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11295191" y="5646042"/>
            <a:ext cx="1536283" cy="764106"/>
          </a:xfrm>
          <a:custGeom>
            <a:avLst/>
            <a:gdLst>
              <a:gd name="T0" fmla="*/ 0 w 1142"/>
              <a:gd name="T1" fmla="*/ 0 h 568"/>
              <a:gd name="T2" fmla="*/ 1142 w 1142"/>
              <a:gd name="T3" fmla="*/ 0 h 568"/>
              <a:gd name="T4" fmla="*/ 575 w 1142"/>
              <a:gd name="T5" fmla="*/ 568 h 568"/>
              <a:gd name="T6" fmla="*/ 0 w 1142"/>
              <a:gd name="T7" fmla="*/ 0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42" h="568">
                <a:moveTo>
                  <a:pt x="0" y="0"/>
                </a:moveTo>
                <a:lnTo>
                  <a:pt x="1142" y="0"/>
                </a:lnTo>
                <a:lnTo>
                  <a:pt x="575" y="5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28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3265355" y="5646042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60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 bwMode="auto">
          <a:xfrm>
            <a:off x="-586705" y="-37811"/>
            <a:ext cx="439738" cy="2871788"/>
            <a:chOff x="-1745" y="-199"/>
            <a:chExt cx="277" cy="1809"/>
          </a:xfrm>
        </p:grpSpPr>
        <p:sp>
          <p:nvSpPr>
            <p:cNvPr id="85" name="Oval 83"/>
            <p:cNvSpPr>
              <a:spLocks noChangeArrowheads="1"/>
            </p:cNvSpPr>
            <p:nvPr/>
          </p:nvSpPr>
          <p:spPr bwMode="auto">
            <a:xfrm>
              <a:off x="-1745" y="-199"/>
              <a:ext cx="277" cy="268"/>
            </a:xfrm>
            <a:prstGeom prst="ellipse">
              <a:avLst/>
            </a:pr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4"/>
            <p:cNvSpPr>
              <a:spLocks noChangeArrowheads="1"/>
            </p:cNvSpPr>
            <p:nvPr/>
          </p:nvSpPr>
          <p:spPr bwMode="auto">
            <a:xfrm>
              <a:off x="-1745" y="109"/>
              <a:ext cx="277" cy="268"/>
            </a:xfrm>
            <a:prstGeom prst="ellipse">
              <a:avLst/>
            </a:prstGeom>
            <a:solidFill>
              <a:srgbClr val="122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85"/>
            <p:cNvSpPr>
              <a:spLocks noChangeArrowheads="1"/>
            </p:cNvSpPr>
            <p:nvPr/>
          </p:nvSpPr>
          <p:spPr bwMode="auto">
            <a:xfrm>
              <a:off x="-1745" y="417"/>
              <a:ext cx="277" cy="268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86"/>
            <p:cNvSpPr>
              <a:spLocks noChangeArrowheads="1"/>
            </p:cNvSpPr>
            <p:nvPr/>
          </p:nvSpPr>
          <p:spPr bwMode="auto">
            <a:xfrm>
              <a:off x="-1745" y="725"/>
              <a:ext cx="277" cy="268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87"/>
            <p:cNvSpPr>
              <a:spLocks noChangeArrowheads="1"/>
            </p:cNvSpPr>
            <p:nvPr/>
          </p:nvSpPr>
          <p:spPr bwMode="auto">
            <a:xfrm>
              <a:off x="-1745" y="1034"/>
              <a:ext cx="277" cy="268"/>
            </a:xfrm>
            <a:prstGeom prst="ellipse">
              <a:avLst/>
            </a:prstGeom>
            <a:solidFill>
              <a:srgbClr val="F644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88"/>
            <p:cNvSpPr>
              <a:spLocks noChangeArrowheads="1"/>
            </p:cNvSpPr>
            <p:nvPr/>
          </p:nvSpPr>
          <p:spPr bwMode="auto">
            <a:xfrm>
              <a:off x="-1745" y="1342"/>
              <a:ext cx="277" cy="268"/>
            </a:xfrm>
            <a:prstGeom prst="ellipse">
              <a:avLst/>
            </a:prstGeom>
            <a:solidFill>
              <a:srgbClr val="193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7"/>
          <p:cNvSpPr>
            <a:spLocks/>
          </p:cNvSpPr>
          <p:nvPr/>
        </p:nvSpPr>
        <p:spPr bwMode="auto">
          <a:xfrm>
            <a:off x="5193108" y="4793149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TextBox 92"/>
          <p:cNvSpPr txBox="1"/>
          <p:nvPr/>
        </p:nvSpPr>
        <p:spPr>
          <a:xfrm>
            <a:off x="725328" y="1155156"/>
            <a:ext cx="5020926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72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LIDE TITLE</a:t>
            </a:r>
            <a:endParaRPr lang="en-US" sz="72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178826" y="6305279"/>
            <a:ext cx="1834348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cy-GB" sz="1200" dirty="0">
                <a:solidFill>
                  <a:srgbClr val="B0F7F4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owerPoint Presentation</a:t>
            </a:r>
            <a:endParaRPr lang="en-US" sz="1200" dirty="0">
              <a:solidFill>
                <a:srgbClr val="B0F7F4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5458775" y="5948655"/>
            <a:ext cx="1274451" cy="403738"/>
          </a:xfrm>
          <a:prstGeom prst="rect">
            <a:avLst/>
          </a:prstGeom>
          <a:effectLst>
            <a:outerShdw blurRad="38100" dist="25400" dir="5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96" name="Freeform 14"/>
          <p:cNvSpPr>
            <a:spLocks/>
          </p:cNvSpPr>
          <p:nvPr/>
        </p:nvSpPr>
        <p:spPr bwMode="auto">
          <a:xfrm flipV="1">
            <a:off x="2194532" y="5646041"/>
            <a:ext cx="451444" cy="224534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5"/>
          <p:cNvSpPr>
            <a:spLocks/>
          </p:cNvSpPr>
          <p:nvPr/>
        </p:nvSpPr>
        <p:spPr bwMode="auto">
          <a:xfrm flipV="1">
            <a:off x="2057315" y="5646040"/>
            <a:ext cx="282504" cy="140113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5"/>
          <p:cNvSpPr>
            <a:spLocks/>
          </p:cNvSpPr>
          <p:nvPr/>
        </p:nvSpPr>
        <p:spPr bwMode="auto">
          <a:xfrm flipV="1">
            <a:off x="282921" y="5646039"/>
            <a:ext cx="345585" cy="171399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725328" y="2243579"/>
            <a:ext cx="2762295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2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UBTITILE HERE</a:t>
            </a:r>
            <a:endParaRPr lang="en-US" sz="2800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837920" y="2897477"/>
            <a:ext cx="305373" cy="0"/>
          </a:xfrm>
          <a:prstGeom prst="line">
            <a:avLst/>
          </a:prstGeom>
          <a:ln w="19050">
            <a:solidFill>
              <a:srgbClr val="B0F7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03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3292929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1625922" y="2710433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-200025" y="2329725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10781752" y="1803730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8212883" y="2710433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Rectangle 48"/>
          <p:cNvSpPr>
            <a:spLocks noChangeArrowheads="1"/>
          </p:cNvSpPr>
          <p:nvPr/>
        </p:nvSpPr>
        <p:spPr bwMode="auto">
          <a:xfrm>
            <a:off x="0" y="3292929"/>
            <a:ext cx="12188890" cy="3565071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auto">
          <a:xfrm flipH="1">
            <a:off x="3808422" y="1019629"/>
            <a:ext cx="4575156" cy="227330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51"/>
          <p:cNvSpPr>
            <a:spLocks/>
          </p:cNvSpPr>
          <p:nvPr/>
        </p:nvSpPr>
        <p:spPr bwMode="auto">
          <a:xfrm>
            <a:off x="3232485" y="3292929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56"/>
          <p:cNvSpPr>
            <a:spLocks/>
          </p:cNvSpPr>
          <p:nvPr/>
        </p:nvSpPr>
        <p:spPr bwMode="auto">
          <a:xfrm>
            <a:off x="1186104" y="3292929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3"/>
          <p:cNvSpPr>
            <a:spLocks/>
          </p:cNvSpPr>
          <p:nvPr/>
        </p:nvSpPr>
        <p:spPr bwMode="auto">
          <a:xfrm>
            <a:off x="11273234" y="2959305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4"/>
          <p:cNvSpPr>
            <a:spLocks/>
          </p:cNvSpPr>
          <p:nvPr/>
        </p:nvSpPr>
        <p:spPr bwMode="auto">
          <a:xfrm>
            <a:off x="9171688" y="3038676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5"/>
          <p:cNvSpPr>
            <a:spLocks/>
          </p:cNvSpPr>
          <p:nvPr/>
        </p:nvSpPr>
        <p:spPr bwMode="auto">
          <a:xfrm>
            <a:off x="8983352" y="3127462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6"/>
          <p:cNvSpPr>
            <a:spLocks/>
          </p:cNvSpPr>
          <p:nvPr/>
        </p:nvSpPr>
        <p:spPr bwMode="auto">
          <a:xfrm>
            <a:off x="423473" y="3089795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" name="Group 37"/>
          <p:cNvGrpSpPr/>
          <p:nvPr/>
        </p:nvGrpSpPr>
        <p:grpSpPr>
          <a:xfrm>
            <a:off x="343138" y="1398135"/>
            <a:ext cx="11280295" cy="1200361"/>
            <a:chOff x="343138" y="3531299"/>
            <a:chExt cx="11280295" cy="1200361"/>
          </a:xfrm>
        </p:grpSpPr>
        <p:sp>
          <p:nvSpPr>
            <p:cNvPr id="39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59"/>
            <p:cNvSpPr>
              <a:spLocks noChangeArrowheads="1"/>
            </p:cNvSpPr>
            <p:nvPr/>
          </p:nvSpPr>
          <p:spPr bwMode="auto">
            <a:xfrm>
              <a:off x="8670110" y="3627291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3280991" y="455369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64"/>
            <p:cNvSpPr>
              <a:spLocks noChangeArrowheads="1"/>
            </p:cNvSpPr>
            <p:nvPr/>
          </p:nvSpPr>
          <p:spPr bwMode="auto">
            <a:xfrm>
              <a:off x="3346535" y="40229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65"/>
            <p:cNvSpPr>
              <a:spLocks noChangeArrowheads="1"/>
            </p:cNvSpPr>
            <p:nvPr/>
          </p:nvSpPr>
          <p:spPr bwMode="auto">
            <a:xfrm>
              <a:off x="8212883" y="4514009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66"/>
            <p:cNvSpPr>
              <a:spLocks noChangeArrowheads="1"/>
            </p:cNvSpPr>
            <p:nvPr/>
          </p:nvSpPr>
          <p:spPr bwMode="auto">
            <a:xfrm>
              <a:off x="1739835" y="38138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67"/>
            <p:cNvSpPr>
              <a:spLocks noChangeArrowheads="1"/>
            </p:cNvSpPr>
            <p:nvPr/>
          </p:nvSpPr>
          <p:spPr bwMode="auto">
            <a:xfrm>
              <a:off x="1430594" y="454784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68"/>
            <p:cNvSpPr>
              <a:spLocks noChangeArrowheads="1"/>
            </p:cNvSpPr>
            <p:nvPr/>
          </p:nvSpPr>
          <p:spPr bwMode="auto">
            <a:xfrm>
              <a:off x="9253286" y="4654980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73"/>
            <p:cNvSpPr>
              <a:spLocks noChangeArrowheads="1"/>
            </p:cNvSpPr>
            <p:nvPr/>
          </p:nvSpPr>
          <p:spPr bwMode="auto">
            <a:xfrm>
              <a:off x="343138" y="3812050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77"/>
            <p:cNvSpPr>
              <a:spLocks noChangeArrowheads="1"/>
            </p:cNvSpPr>
            <p:nvPr/>
          </p:nvSpPr>
          <p:spPr bwMode="auto">
            <a:xfrm>
              <a:off x="9732716" y="4233523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Freeform 51"/>
          <p:cNvSpPr>
            <a:spLocks/>
          </p:cNvSpPr>
          <p:nvPr/>
        </p:nvSpPr>
        <p:spPr bwMode="auto">
          <a:xfrm>
            <a:off x="9634169" y="3292929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51"/>
          <p:cNvSpPr>
            <a:spLocks/>
          </p:cNvSpPr>
          <p:nvPr/>
        </p:nvSpPr>
        <p:spPr bwMode="auto">
          <a:xfrm>
            <a:off x="10955596" y="3292928"/>
            <a:ext cx="2742952" cy="1362295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51"/>
          <p:cNvSpPr>
            <a:spLocks/>
          </p:cNvSpPr>
          <p:nvPr/>
        </p:nvSpPr>
        <p:spPr bwMode="auto">
          <a:xfrm>
            <a:off x="11342365" y="3292930"/>
            <a:ext cx="537679" cy="26704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51"/>
          <p:cNvSpPr>
            <a:spLocks/>
          </p:cNvSpPr>
          <p:nvPr/>
        </p:nvSpPr>
        <p:spPr bwMode="auto">
          <a:xfrm>
            <a:off x="8528035" y="3292929"/>
            <a:ext cx="643910" cy="3198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56"/>
          <p:cNvSpPr>
            <a:spLocks/>
          </p:cNvSpPr>
          <p:nvPr/>
        </p:nvSpPr>
        <p:spPr bwMode="auto">
          <a:xfrm>
            <a:off x="-689711" y="3292929"/>
            <a:ext cx="1786751" cy="887648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Rectangle 73"/>
          <p:cNvSpPr/>
          <p:nvPr/>
        </p:nvSpPr>
        <p:spPr>
          <a:xfrm rot="2700000">
            <a:off x="1264339" y="3921512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 rot="2700000">
            <a:off x="2992711" y="3921512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 rot="2700000">
            <a:off x="4721083" y="3921512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 rot="2700000">
            <a:off x="6449455" y="3921512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 rot="2700000">
            <a:off x="8177827" y="3921511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 rot="2700000">
            <a:off x="9906200" y="3921511"/>
            <a:ext cx="1021462" cy="1021462"/>
          </a:xfrm>
          <a:prstGeom prst="rect">
            <a:avLst/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46" name="Group 145"/>
          <p:cNvGrpSpPr/>
          <p:nvPr/>
        </p:nvGrpSpPr>
        <p:grpSpPr>
          <a:xfrm>
            <a:off x="1772054" y="3292612"/>
            <a:ext cx="8647893" cy="422033"/>
            <a:chOff x="1771236" y="3292929"/>
            <a:chExt cx="8647893" cy="422033"/>
          </a:xfrm>
        </p:grpSpPr>
        <p:cxnSp>
          <p:nvCxnSpPr>
            <p:cNvPr id="91" name="Straight Connector 90"/>
            <p:cNvCxnSpPr/>
            <p:nvPr/>
          </p:nvCxnSpPr>
          <p:spPr>
            <a:xfrm>
              <a:off x="1960754" y="3525444"/>
              <a:ext cx="8268857" cy="0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flipV="1">
              <a:off x="1771236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flipV="1">
              <a:off x="3500821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V="1">
              <a:off x="5229433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 flipV="1">
              <a:off x="10229611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 flipV="1">
              <a:off x="8500026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H="1" flipV="1">
              <a:off x="6771414" y="3525444"/>
              <a:ext cx="189518" cy="189518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>
              <a:off x="6096000" y="3292929"/>
              <a:ext cx="0" cy="232515"/>
            </a:xfrm>
            <a:prstGeom prst="line">
              <a:avLst/>
            </a:prstGeom>
            <a:ln>
              <a:solidFill>
                <a:srgbClr val="B0F7F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Rectangle 138"/>
          <p:cNvSpPr/>
          <p:nvPr/>
        </p:nvSpPr>
        <p:spPr>
          <a:xfrm rot="2700000">
            <a:off x="1383682" y="4040855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Text Placeholder 2"/>
          <p:cNvSpPr txBox="1">
            <a:spLocks/>
          </p:cNvSpPr>
          <p:nvPr/>
        </p:nvSpPr>
        <p:spPr>
          <a:xfrm>
            <a:off x="1052787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2" name="Text Placeholder 2"/>
          <p:cNvSpPr txBox="1">
            <a:spLocks/>
          </p:cNvSpPr>
          <p:nvPr/>
        </p:nvSpPr>
        <p:spPr>
          <a:xfrm>
            <a:off x="2781159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5" name="Text Placeholder 2"/>
          <p:cNvSpPr txBox="1">
            <a:spLocks/>
          </p:cNvSpPr>
          <p:nvPr/>
        </p:nvSpPr>
        <p:spPr>
          <a:xfrm>
            <a:off x="4509531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6" name="Text Placeholder 2"/>
          <p:cNvSpPr txBox="1">
            <a:spLocks/>
          </p:cNvSpPr>
          <p:nvPr/>
        </p:nvSpPr>
        <p:spPr>
          <a:xfrm>
            <a:off x="6237903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7" name="Text Placeholder 2"/>
          <p:cNvSpPr txBox="1">
            <a:spLocks/>
          </p:cNvSpPr>
          <p:nvPr/>
        </p:nvSpPr>
        <p:spPr>
          <a:xfrm>
            <a:off x="7967261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8" name="Text Placeholder 2"/>
          <p:cNvSpPr txBox="1">
            <a:spLocks/>
          </p:cNvSpPr>
          <p:nvPr/>
        </p:nvSpPr>
        <p:spPr>
          <a:xfrm>
            <a:off x="9695633" y="5279302"/>
            <a:ext cx="14445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5333997" y="2646083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cy-GB" dirty="0">
                <a:solidFill>
                  <a:srgbClr val="0C152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0C152C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0" name="Rectangle 139"/>
          <p:cNvSpPr/>
          <p:nvPr/>
        </p:nvSpPr>
        <p:spPr>
          <a:xfrm rot="2700000">
            <a:off x="3112054" y="4040855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41" name="Rectangle 140"/>
          <p:cNvSpPr/>
          <p:nvPr/>
        </p:nvSpPr>
        <p:spPr>
          <a:xfrm rot="2700000">
            <a:off x="10025543" y="4040854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42" name="Rectangle 141"/>
          <p:cNvSpPr/>
          <p:nvPr/>
        </p:nvSpPr>
        <p:spPr>
          <a:xfrm rot="2700000">
            <a:off x="8297170" y="4040854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43" name="Rectangle 142"/>
          <p:cNvSpPr/>
          <p:nvPr/>
        </p:nvSpPr>
        <p:spPr>
          <a:xfrm rot="2700000">
            <a:off x="6568798" y="4040854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44" name="Rectangle 143"/>
          <p:cNvSpPr/>
          <p:nvPr/>
        </p:nvSpPr>
        <p:spPr>
          <a:xfrm rot="2700000">
            <a:off x="4840426" y="4040854"/>
            <a:ext cx="782776" cy="782776"/>
          </a:xfrm>
          <a:prstGeom prst="rect">
            <a:avLst/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3292431" y="4246127"/>
            <a:ext cx="422022" cy="372232"/>
            <a:chOff x="5465763" y="812800"/>
            <a:chExt cx="282575" cy="249238"/>
          </a:xfrm>
          <a:solidFill>
            <a:srgbClr val="125680"/>
          </a:solidFill>
          <a:effectLst/>
        </p:grpSpPr>
        <p:sp>
          <p:nvSpPr>
            <p:cNvPr id="111" name="Freeform 642"/>
            <p:cNvSpPr>
              <a:spLocks noEditPoints="1"/>
            </p:cNvSpPr>
            <p:nvPr/>
          </p:nvSpPr>
          <p:spPr bwMode="auto">
            <a:xfrm>
              <a:off x="5527675" y="812800"/>
              <a:ext cx="63500" cy="247650"/>
            </a:xfrm>
            <a:custGeom>
              <a:avLst/>
              <a:gdLst>
                <a:gd name="T0" fmla="*/ 147 w 196"/>
                <a:gd name="T1" fmla="*/ 720 h 782"/>
                <a:gd name="T2" fmla="*/ 145 w 196"/>
                <a:gd name="T3" fmla="*/ 725 h 782"/>
                <a:gd name="T4" fmla="*/ 142 w 196"/>
                <a:gd name="T5" fmla="*/ 729 h 782"/>
                <a:gd name="T6" fmla="*/ 136 w 196"/>
                <a:gd name="T7" fmla="*/ 732 h 782"/>
                <a:gd name="T8" fmla="*/ 55 w 196"/>
                <a:gd name="T9" fmla="*/ 732 h 782"/>
                <a:gd name="T10" fmla="*/ 48 w 196"/>
                <a:gd name="T11" fmla="*/ 731 h 782"/>
                <a:gd name="T12" fmla="*/ 44 w 196"/>
                <a:gd name="T13" fmla="*/ 727 h 782"/>
                <a:gd name="T14" fmla="*/ 41 w 196"/>
                <a:gd name="T15" fmla="*/ 723 h 782"/>
                <a:gd name="T16" fmla="*/ 40 w 196"/>
                <a:gd name="T17" fmla="*/ 717 h 782"/>
                <a:gd name="T18" fmla="*/ 40 w 196"/>
                <a:gd name="T19" fmla="*/ 558 h 782"/>
                <a:gd name="T20" fmla="*/ 42 w 196"/>
                <a:gd name="T21" fmla="*/ 552 h 782"/>
                <a:gd name="T22" fmla="*/ 46 w 196"/>
                <a:gd name="T23" fmla="*/ 548 h 782"/>
                <a:gd name="T24" fmla="*/ 52 w 196"/>
                <a:gd name="T25" fmla="*/ 546 h 782"/>
                <a:gd name="T26" fmla="*/ 133 w 196"/>
                <a:gd name="T27" fmla="*/ 546 h 782"/>
                <a:gd name="T28" fmla="*/ 139 w 196"/>
                <a:gd name="T29" fmla="*/ 547 h 782"/>
                <a:gd name="T30" fmla="*/ 144 w 196"/>
                <a:gd name="T31" fmla="*/ 550 h 782"/>
                <a:gd name="T32" fmla="*/ 147 w 196"/>
                <a:gd name="T33" fmla="*/ 555 h 782"/>
                <a:gd name="T34" fmla="*/ 148 w 196"/>
                <a:gd name="T35" fmla="*/ 561 h 782"/>
                <a:gd name="T36" fmla="*/ 66 w 196"/>
                <a:gd name="T37" fmla="*/ 91 h 782"/>
                <a:gd name="T38" fmla="*/ 67 w 196"/>
                <a:gd name="T39" fmla="*/ 85 h 782"/>
                <a:gd name="T40" fmla="*/ 70 w 196"/>
                <a:gd name="T41" fmla="*/ 81 h 782"/>
                <a:gd name="T42" fmla="*/ 75 w 196"/>
                <a:gd name="T43" fmla="*/ 77 h 782"/>
                <a:gd name="T44" fmla="*/ 81 w 196"/>
                <a:gd name="T45" fmla="*/ 76 h 782"/>
                <a:gd name="T46" fmla="*/ 87 w 196"/>
                <a:gd name="T47" fmla="*/ 77 h 782"/>
                <a:gd name="T48" fmla="*/ 91 w 196"/>
                <a:gd name="T49" fmla="*/ 81 h 782"/>
                <a:gd name="T50" fmla="*/ 95 w 196"/>
                <a:gd name="T51" fmla="*/ 85 h 782"/>
                <a:gd name="T52" fmla="*/ 96 w 196"/>
                <a:gd name="T53" fmla="*/ 91 h 782"/>
                <a:gd name="T54" fmla="*/ 96 w 196"/>
                <a:gd name="T55" fmla="*/ 512 h 782"/>
                <a:gd name="T56" fmla="*/ 93 w 196"/>
                <a:gd name="T57" fmla="*/ 517 h 782"/>
                <a:gd name="T58" fmla="*/ 89 w 196"/>
                <a:gd name="T59" fmla="*/ 521 h 782"/>
                <a:gd name="T60" fmla="*/ 84 w 196"/>
                <a:gd name="T61" fmla="*/ 524 h 782"/>
                <a:gd name="T62" fmla="*/ 77 w 196"/>
                <a:gd name="T63" fmla="*/ 524 h 782"/>
                <a:gd name="T64" fmla="*/ 72 w 196"/>
                <a:gd name="T65" fmla="*/ 521 h 782"/>
                <a:gd name="T66" fmla="*/ 68 w 196"/>
                <a:gd name="T67" fmla="*/ 517 h 782"/>
                <a:gd name="T68" fmla="*/ 66 w 196"/>
                <a:gd name="T69" fmla="*/ 512 h 782"/>
                <a:gd name="T70" fmla="*/ 66 w 196"/>
                <a:gd name="T71" fmla="*/ 91 h 782"/>
                <a:gd name="T72" fmla="*/ 15 w 196"/>
                <a:gd name="T73" fmla="*/ 0 h 782"/>
                <a:gd name="T74" fmla="*/ 10 w 196"/>
                <a:gd name="T75" fmla="*/ 1 h 782"/>
                <a:gd name="T76" fmla="*/ 4 w 196"/>
                <a:gd name="T77" fmla="*/ 4 h 782"/>
                <a:gd name="T78" fmla="*/ 1 w 196"/>
                <a:gd name="T79" fmla="*/ 9 h 782"/>
                <a:gd name="T80" fmla="*/ 0 w 196"/>
                <a:gd name="T81" fmla="*/ 15 h 782"/>
                <a:gd name="T82" fmla="*/ 1 w 196"/>
                <a:gd name="T83" fmla="*/ 770 h 782"/>
                <a:gd name="T84" fmla="*/ 3 w 196"/>
                <a:gd name="T85" fmla="*/ 776 h 782"/>
                <a:gd name="T86" fmla="*/ 8 w 196"/>
                <a:gd name="T87" fmla="*/ 780 h 782"/>
                <a:gd name="T88" fmla="*/ 13 w 196"/>
                <a:gd name="T89" fmla="*/ 782 h 782"/>
                <a:gd name="T90" fmla="*/ 181 w 196"/>
                <a:gd name="T91" fmla="*/ 782 h 782"/>
                <a:gd name="T92" fmla="*/ 187 w 196"/>
                <a:gd name="T93" fmla="*/ 781 h 782"/>
                <a:gd name="T94" fmla="*/ 192 w 196"/>
                <a:gd name="T95" fmla="*/ 778 h 782"/>
                <a:gd name="T96" fmla="*/ 195 w 196"/>
                <a:gd name="T97" fmla="*/ 773 h 782"/>
                <a:gd name="T98" fmla="*/ 196 w 196"/>
                <a:gd name="T99" fmla="*/ 767 h 782"/>
                <a:gd name="T100" fmla="*/ 196 w 196"/>
                <a:gd name="T101" fmla="*/ 12 h 782"/>
                <a:gd name="T102" fmla="*/ 193 w 196"/>
                <a:gd name="T103" fmla="*/ 7 h 782"/>
                <a:gd name="T104" fmla="*/ 190 w 196"/>
                <a:gd name="T105" fmla="*/ 2 h 782"/>
                <a:gd name="T106" fmla="*/ 185 w 196"/>
                <a:gd name="T107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782">
                  <a:moveTo>
                    <a:pt x="148" y="717"/>
                  </a:moveTo>
                  <a:lnTo>
                    <a:pt x="147" y="720"/>
                  </a:lnTo>
                  <a:lnTo>
                    <a:pt x="147" y="723"/>
                  </a:lnTo>
                  <a:lnTo>
                    <a:pt x="145" y="725"/>
                  </a:lnTo>
                  <a:lnTo>
                    <a:pt x="144" y="727"/>
                  </a:lnTo>
                  <a:lnTo>
                    <a:pt x="142" y="729"/>
                  </a:lnTo>
                  <a:lnTo>
                    <a:pt x="139" y="731"/>
                  </a:lnTo>
                  <a:lnTo>
                    <a:pt x="136" y="732"/>
                  </a:lnTo>
                  <a:lnTo>
                    <a:pt x="133" y="732"/>
                  </a:lnTo>
                  <a:lnTo>
                    <a:pt x="55" y="732"/>
                  </a:lnTo>
                  <a:lnTo>
                    <a:pt x="52" y="732"/>
                  </a:lnTo>
                  <a:lnTo>
                    <a:pt x="48" y="731"/>
                  </a:lnTo>
                  <a:lnTo>
                    <a:pt x="46" y="729"/>
                  </a:lnTo>
                  <a:lnTo>
                    <a:pt x="44" y="727"/>
                  </a:lnTo>
                  <a:lnTo>
                    <a:pt x="42" y="725"/>
                  </a:lnTo>
                  <a:lnTo>
                    <a:pt x="41" y="723"/>
                  </a:lnTo>
                  <a:lnTo>
                    <a:pt x="40" y="720"/>
                  </a:lnTo>
                  <a:lnTo>
                    <a:pt x="40" y="717"/>
                  </a:lnTo>
                  <a:lnTo>
                    <a:pt x="40" y="561"/>
                  </a:lnTo>
                  <a:lnTo>
                    <a:pt x="40" y="558"/>
                  </a:lnTo>
                  <a:lnTo>
                    <a:pt x="41" y="555"/>
                  </a:lnTo>
                  <a:lnTo>
                    <a:pt x="42" y="552"/>
                  </a:lnTo>
                  <a:lnTo>
                    <a:pt x="44" y="550"/>
                  </a:lnTo>
                  <a:lnTo>
                    <a:pt x="46" y="548"/>
                  </a:lnTo>
                  <a:lnTo>
                    <a:pt x="48" y="547"/>
                  </a:lnTo>
                  <a:lnTo>
                    <a:pt x="52" y="546"/>
                  </a:lnTo>
                  <a:lnTo>
                    <a:pt x="55" y="546"/>
                  </a:lnTo>
                  <a:lnTo>
                    <a:pt x="133" y="546"/>
                  </a:lnTo>
                  <a:lnTo>
                    <a:pt x="136" y="546"/>
                  </a:lnTo>
                  <a:lnTo>
                    <a:pt x="139" y="547"/>
                  </a:lnTo>
                  <a:lnTo>
                    <a:pt x="142" y="548"/>
                  </a:lnTo>
                  <a:lnTo>
                    <a:pt x="144" y="550"/>
                  </a:lnTo>
                  <a:lnTo>
                    <a:pt x="145" y="552"/>
                  </a:lnTo>
                  <a:lnTo>
                    <a:pt x="147" y="555"/>
                  </a:lnTo>
                  <a:lnTo>
                    <a:pt x="147" y="558"/>
                  </a:lnTo>
                  <a:lnTo>
                    <a:pt x="148" y="561"/>
                  </a:lnTo>
                  <a:lnTo>
                    <a:pt x="148" y="717"/>
                  </a:lnTo>
                  <a:close/>
                  <a:moveTo>
                    <a:pt x="66" y="91"/>
                  </a:moveTo>
                  <a:lnTo>
                    <a:pt x="66" y="88"/>
                  </a:lnTo>
                  <a:lnTo>
                    <a:pt x="67" y="85"/>
                  </a:lnTo>
                  <a:lnTo>
                    <a:pt x="68" y="83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7"/>
                  </a:lnTo>
                  <a:lnTo>
                    <a:pt x="77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7" y="77"/>
                  </a:lnTo>
                  <a:lnTo>
                    <a:pt x="89" y="78"/>
                  </a:lnTo>
                  <a:lnTo>
                    <a:pt x="91" y="81"/>
                  </a:lnTo>
                  <a:lnTo>
                    <a:pt x="93" y="83"/>
                  </a:lnTo>
                  <a:lnTo>
                    <a:pt x="95" y="85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6" y="509"/>
                  </a:lnTo>
                  <a:lnTo>
                    <a:pt x="96" y="512"/>
                  </a:lnTo>
                  <a:lnTo>
                    <a:pt x="95" y="514"/>
                  </a:lnTo>
                  <a:lnTo>
                    <a:pt x="93" y="517"/>
                  </a:lnTo>
                  <a:lnTo>
                    <a:pt x="91" y="519"/>
                  </a:lnTo>
                  <a:lnTo>
                    <a:pt x="89" y="521"/>
                  </a:lnTo>
                  <a:lnTo>
                    <a:pt x="87" y="522"/>
                  </a:lnTo>
                  <a:lnTo>
                    <a:pt x="84" y="524"/>
                  </a:lnTo>
                  <a:lnTo>
                    <a:pt x="81" y="524"/>
                  </a:lnTo>
                  <a:lnTo>
                    <a:pt x="77" y="524"/>
                  </a:lnTo>
                  <a:lnTo>
                    <a:pt x="75" y="522"/>
                  </a:lnTo>
                  <a:lnTo>
                    <a:pt x="72" y="521"/>
                  </a:lnTo>
                  <a:lnTo>
                    <a:pt x="70" y="519"/>
                  </a:lnTo>
                  <a:lnTo>
                    <a:pt x="68" y="517"/>
                  </a:lnTo>
                  <a:lnTo>
                    <a:pt x="67" y="514"/>
                  </a:lnTo>
                  <a:lnTo>
                    <a:pt x="66" y="512"/>
                  </a:lnTo>
                  <a:lnTo>
                    <a:pt x="66" y="509"/>
                  </a:lnTo>
                  <a:lnTo>
                    <a:pt x="66" y="91"/>
                  </a:lnTo>
                  <a:close/>
                  <a:moveTo>
                    <a:pt x="181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67"/>
                  </a:lnTo>
                  <a:lnTo>
                    <a:pt x="1" y="770"/>
                  </a:lnTo>
                  <a:lnTo>
                    <a:pt x="1" y="773"/>
                  </a:lnTo>
                  <a:lnTo>
                    <a:pt x="3" y="776"/>
                  </a:lnTo>
                  <a:lnTo>
                    <a:pt x="4" y="778"/>
                  </a:lnTo>
                  <a:lnTo>
                    <a:pt x="8" y="780"/>
                  </a:lnTo>
                  <a:lnTo>
                    <a:pt x="10" y="781"/>
                  </a:lnTo>
                  <a:lnTo>
                    <a:pt x="13" y="782"/>
                  </a:lnTo>
                  <a:lnTo>
                    <a:pt x="15" y="782"/>
                  </a:lnTo>
                  <a:lnTo>
                    <a:pt x="181" y="782"/>
                  </a:lnTo>
                  <a:lnTo>
                    <a:pt x="185" y="782"/>
                  </a:lnTo>
                  <a:lnTo>
                    <a:pt x="187" y="781"/>
                  </a:lnTo>
                  <a:lnTo>
                    <a:pt x="190" y="780"/>
                  </a:lnTo>
                  <a:lnTo>
                    <a:pt x="192" y="778"/>
                  </a:lnTo>
                  <a:lnTo>
                    <a:pt x="193" y="776"/>
                  </a:lnTo>
                  <a:lnTo>
                    <a:pt x="195" y="773"/>
                  </a:lnTo>
                  <a:lnTo>
                    <a:pt x="196" y="770"/>
                  </a:lnTo>
                  <a:lnTo>
                    <a:pt x="196" y="767"/>
                  </a:lnTo>
                  <a:lnTo>
                    <a:pt x="196" y="15"/>
                  </a:lnTo>
                  <a:lnTo>
                    <a:pt x="196" y="12"/>
                  </a:lnTo>
                  <a:lnTo>
                    <a:pt x="195" y="9"/>
                  </a:lnTo>
                  <a:lnTo>
                    <a:pt x="193" y="7"/>
                  </a:lnTo>
                  <a:lnTo>
                    <a:pt x="192" y="4"/>
                  </a:lnTo>
                  <a:lnTo>
                    <a:pt x="190" y="2"/>
                  </a:lnTo>
                  <a:lnTo>
                    <a:pt x="187" y="1"/>
                  </a:lnTo>
                  <a:lnTo>
                    <a:pt x="185" y="0"/>
                  </a:lnTo>
                  <a:lnTo>
                    <a:pt x="1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43"/>
            <p:cNvSpPr>
              <a:spLocks noEditPoints="1"/>
            </p:cNvSpPr>
            <p:nvPr/>
          </p:nvSpPr>
          <p:spPr bwMode="auto">
            <a:xfrm>
              <a:off x="5600700" y="844550"/>
              <a:ext cx="147638" cy="217488"/>
            </a:xfrm>
            <a:custGeom>
              <a:avLst/>
              <a:gdLst>
                <a:gd name="T0" fmla="*/ 61 w 469"/>
                <a:gd name="T1" fmla="*/ 632 h 684"/>
                <a:gd name="T2" fmla="*/ 53 w 469"/>
                <a:gd name="T3" fmla="*/ 627 h 684"/>
                <a:gd name="T4" fmla="*/ 49 w 469"/>
                <a:gd name="T5" fmla="*/ 620 h 684"/>
                <a:gd name="T6" fmla="*/ 50 w 469"/>
                <a:gd name="T7" fmla="*/ 611 h 684"/>
                <a:gd name="T8" fmla="*/ 55 w 469"/>
                <a:gd name="T9" fmla="*/ 605 h 684"/>
                <a:gd name="T10" fmla="*/ 64 w 469"/>
                <a:gd name="T11" fmla="*/ 602 h 684"/>
                <a:gd name="T12" fmla="*/ 147 w 469"/>
                <a:gd name="T13" fmla="*/ 603 h 684"/>
                <a:gd name="T14" fmla="*/ 154 w 469"/>
                <a:gd name="T15" fmla="*/ 609 h 684"/>
                <a:gd name="T16" fmla="*/ 157 w 469"/>
                <a:gd name="T17" fmla="*/ 617 h 684"/>
                <a:gd name="T18" fmla="*/ 154 w 469"/>
                <a:gd name="T19" fmla="*/ 625 h 684"/>
                <a:gd name="T20" fmla="*/ 147 w 469"/>
                <a:gd name="T21" fmla="*/ 631 h 684"/>
                <a:gd name="T22" fmla="*/ 74 w 469"/>
                <a:gd name="T23" fmla="*/ 252 h 684"/>
                <a:gd name="T24" fmla="*/ 77 w 469"/>
                <a:gd name="T25" fmla="*/ 243 h 684"/>
                <a:gd name="T26" fmla="*/ 83 w 469"/>
                <a:gd name="T27" fmla="*/ 238 h 684"/>
                <a:gd name="T28" fmla="*/ 93 w 469"/>
                <a:gd name="T29" fmla="*/ 237 h 684"/>
                <a:gd name="T30" fmla="*/ 100 w 469"/>
                <a:gd name="T31" fmla="*/ 241 h 684"/>
                <a:gd name="T32" fmla="*/ 104 w 469"/>
                <a:gd name="T33" fmla="*/ 249 h 684"/>
                <a:gd name="T34" fmla="*/ 104 w 469"/>
                <a:gd name="T35" fmla="*/ 542 h 684"/>
                <a:gd name="T36" fmla="*/ 100 w 469"/>
                <a:gd name="T37" fmla="*/ 549 h 684"/>
                <a:gd name="T38" fmla="*/ 93 w 469"/>
                <a:gd name="T39" fmla="*/ 553 h 684"/>
                <a:gd name="T40" fmla="*/ 83 w 469"/>
                <a:gd name="T41" fmla="*/ 553 h 684"/>
                <a:gd name="T42" fmla="*/ 77 w 469"/>
                <a:gd name="T43" fmla="*/ 547 h 684"/>
                <a:gd name="T44" fmla="*/ 74 w 469"/>
                <a:gd name="T45" fmla="*/ 539 h 684"/>
                <a:gd name="T46" fmla="*/ 260 w 469"/>
                <a:gd name="T47" fmla="*/ 11 h 684"/>
                <a:gd name="T48" fmla="*/ 255 w 469"/>
                <a:gd name="T49" fmla="*/ 3 h 684"/>
                <a:gd name="T50" fmla="*/ 247 w 469"/>
                <a:gd name="T51" fmla="*/ 0 h 684"/>
                <a:gd name="T52" fmla="*/ 150 w 469"/>
                <a:gd name="T53" fmla="*/ 33 h 684"/>
                <a:gd name="T54" fmla="*/ 143 w 469"/>
                <a:gd name="T55" fmla="*/ 38 h 684"/>
                <a:gd name="T56" fmla="*/ 140 w 469"/>
                <a:gd name="T57" fmla="*/ 46 h 684"/>
                <a:gd name="T58" fmla="*/ 180 w 469"/>
                <a:gd name="T59" fmla="*/ 170 h 684"/>
                <a:gd name="T60" fmla="*/ 9 w 469"/>
                <a:gd name="T61" fmla="*/ 171 h 684"/>
                <a:gd name="T62" fmla="*/ 3 w 469"/>
                <a:gd name="T63" fmla="*/ 177 h 684"/>
                <a:gd name="T64" fmla="*/ 0 w 469"/>
                <a:gd name="T65" fmla="*/ 185 h 684"/>
                <a:gd name="T66" fmla="*/ 2 w 469"/>
                <a:gd name="T67" fmla="*/ 673 h 684"/>
                <a:gd name="T68" fmla="*/ 7 w 469"/>
                <a:gd name="T69" fmla="*/ 680 h 684"/>
                <a:gd name="T70" fmla="*/ 15 w 469"/>
                <a:gd name="T71" fmla="*/ 682 h 684"/>
                <a:gd name="T72" fmla="*/ 202 w 469"/>
                <a:gd name="T73" fmla="*/ 681 h 684"/>
                <a:gd name="T74" fmla="*/ 209 w 469"/>
                <a:gd name="T75" fmla="*/ 676 h 684"/>
                <a:gd name="T76" fmla="*/ 211 w 469"/>
                <a:gd name="T77" fmla="*/ 667 h 684"/>
                <a:gd name="T78" fmla="*/ 350 w 469"/>
                <a:gd name="T79" fmla="*/ 677 h 684"/>
                <a:gd name="T80" fmla="*/ 357 w 469"/>
                <a:gd name="T81" fmla="*/ 683 h 684"/>
                <a:gd name="T82" fmla="*/ 366 w 469"/>
                <a:gd name="T83" fmla="*/ 684 h 684"/>
                <a:gd name="T84" fmla="*/ 463 w 469"/>
                <a:gd name="T85" fmla="*/ 650 h 684"/>
                <a:gd name="T86" fmla="*/ 468 w 469"/>
                <a:gd name="T87" fmla="*/ 643 h 684"/>
                <a:gd name="T88" fmla="*/ 469 w 469"/>
                <a:gd name="T89" fmla="*/ 63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9" h="684">
                  <a:moveTo>
                    <a:pt x="142" y="632"/>
                  </a:moveTo>
                  <a:lnTo>
                    <a:pt x="64" y="632"/>
                  </a:lnTo>
                  <a:lnTo>
                    <a:pt x="61" y="632"/>
                  </a:lnTo>
                  <a:lnTo>
                    <a:pt x="57" y="631"/>
                  </a:lnTo>
                  <a:lnTo>
                    <a:pt x="55" y="629"/>
                  </a:lnTo>
                  <a:lnTo>
                    <a:pt x="53" y="627"/>
                  </a:lnTo>
                  <a:lnTo>
                    <a:pt x="51" y="625"/>
                  </a:lnTo>
                  <a:lnTo>
                    <a:pt x="50" y="623"/>
                  </a:lnTo>
                  <a:lnTo>
                    <a:pt x="49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0" y="611"/>
                  </a:lnTo>
                  <a:lnTo>
                    <a:pt x="51" y="609"/>
                  </a:lnTo>
                  <a:lnTo>
                    <a:pt x="53" y="606"/>
                  </a:lnTo>
                  <a:lnTo>
                    <a:pt x="55" y="605"/>
                  </a:lnTo>
                  <a:lnTo>
                    <a:pt x="57" y="603"/>
                  </a:lnTo>
                  <a:lnTo>
                    <a:pt x="61" y="603"/>
                  </a:lnTo>
                  <a:lnTo>
                    <a:pt x="64" y="602"/>
                  </a:lnTo>
                  <a:lnTo>
                    <a:pt x="142" y="602"/>
                  </a:lnTo>
                  <a:lnTo>
                    <a:pt x="144" y="603"/>
                  </a:lnTo>
                  <a:lnTo>
                    <a:pt x="147" y="603"/>
                  </a:lnTo>
                  <a:lnTo>
                    <a:pt x="150" y="605"/>
                  </a:lnTo>
                  <a:lnTo>
                    <a:pt x="152" y="606"/>
                  </a:lnTo>
                  <a:lnTo>
                    <a:pt x="154" y="609"/>
                  </a:lnTo>
                  <a:lnTo>
                    <a:pt x="155" y="611"/>
                  </a:lnTo>
                  <a:lnTo>
                    <a:pt x="156" y="614"/>
                  </a:lnTo>
                  <a:lnTo>
                    <a:pt x="157" y="617"/>
                  </a:lnTo>
                  <a:lnTo>
                    <a:pt x="156" y="620"/>
                  </a:lnTo>
                  <a:lnTo>
                    <a:pt x="155" y="623"/>
                  </a:lnTo>
                  <a:lnTo>
                    <a:pt x="154" y="625"/>
                  </a:lnTo>
                  <a:lnTo>
                    <a:pt x="152" y="627"/>
                  </a:lnTo>
                  <a:lnTo>
                    <a:pt x="150" y="629"/>
                  </a:lnTo>
                  <a:lnTo>
                    <a:pt x="147" y="631"/>
                  </a:lnTo>
                  <a:lnTo>
                    <a:pt x="144" y="632"/>
                  </a:lnTo>
                  <a:lnTo>
                    <a:pt x="142" y="632"/>
                  </a:lnTo>
                  <a:close/>
                  <a:moveTo>
                    <a:pt x="74" y="252"/>
                  </a:moveTo>
                  <a:lnTo>
                    <a:pt x="74" y="249"/>
                  </a:lnTo>
                  <a:lnTo>
                    <a:pt x="76" y="247"/>
                  </a:lnTo>
                  <a:lnTo>
                    <a:pt x="77" y="243"/>
                  </a:lnTo>
                  <a:lnTo>
                    <a:pt x="79" y="241"/>
                  </a:lnTo>
                  <a:lnTo>
                    <a:pt x="81" y="239"/>
                  </a:lnTo>
                  <a:lnTo>
                    <a:pt x="83" y="238"/>
                  </a:lnTo>
                  <a:lnTo>
                    <a:pt x="86" y="237"/>
                  </a:lnTo>
                  <a:lnTo>
                    <a:pt x="89" y="237"/>
                  </a:lnTo>
                  <a:lnTo>
                    <a:pt x="93" y="237"/>
                  </a:lnTo>
                  <a:lnTo>
                    <a:pt x="95" y="238"/>
                  </a:lnTo>
                  <a:lnTo>
                    <a:pt x="98" y="239"/>
                  </a:lnTo>
                  <a:lnTo>
                    <a:pt x="100" y="241"/>
                  </a:lnTo>
                  <a:lnTo>
                    <a:pt x="102" y="243"/>
                  </a:lnTo>
                  <a:lnTo>
                    <a:pt x="103" y="247"/>
                  </a:lnTo>
                  <a:lnTo>
                    <a:pt x="104" y="249"/>
                  </a:lnTo>
                  <a:lnTo>
                    <a:pt x="104" y="252"/>
                  </a:lnTo>
                  <a:lnTo>
                    <a:pt x="104" y="539"/>
                  </a:lnTo>
                  <a:lnTo>
                    <a:pt x="104" y="542"/>
                  </a:lnTo>
                  <a:lnTo>
                    <a:pt x="103" y="545"/>
                  </a:lnTo>
                  <a:lnTo>
                    <a:pt x="102" y="547"/>
                  </a:lnTo>
                  <a:lnTo>
                    <a:pt x="100" y="549"/>
                  </a:lnTo>
                  <a:lnTo>
                    <a:pt x="98" y="551"/>
                  </a:lnTo>
                  <a:lnTo>
                    <a:pt x="95" y="553"/>
                  </a:lnTo>
                  <a:lnTo>
                    <a:pt x="93" y="553"/>
                  </a:lnTo>
                  <a:lnTo>
                    <a:pt x="89" y="554"/>
                  </a:lnTo>
                  <a:lnTo>
                    <a:pt x="86" y="553"/>
                  </a:lnTo>
                  <a:lnTo>
                    <a:pt x="83" y="553"/>
                  </a:lnTo>
                  <a:lnTo>
                    <a:pt x="81" y="551"/>
                  </a:lnTo>
                  <a:lnTo>
                    <a:pt x="79" y="549"/>
                  </a:lnTo>
                  <a:lnTo>
                    <a:pt x="77" y="547"/>
                  </a:lnTo>
                  <a:lnTo>
                    <a:pt x="76" y="545"/>
                  </a:lnTo>
                  <a:lnTo>
                    <a:pt x="74" y="542"/>
                  </a:lnTo>
                  <a:lnTo>
                    <a:pt x="74" y="539"/>
                  </a:lnTo>
                  <a:lnTo>
                    <a:pt x="74" y="252"/>
                  </a:lnTo>
                  <a:close/>
                  <a:moveTo>
                    <a:pt x="469" y="633"/>
                  </a:moveTo>
                  <a:lnTo>
                    <a:pt x="260" y="11"/>
                  </a:lnTo>
                  <a:lnTo>
                    <a:pt x="259" y="7"/>
                  </a:lnTo>
                  <a:lnTo>
                    <a:pt x="257" y="5"/>
                  </a:lnTo>
                  <a:lnTo>
                    <a:pt x="255" y="3"/>
                  </a:lnTo>
                  <a:lnTo>
                    <a:pt x="252" y="2"/>
                  </a:lnTo>
                  <a:lnTo>
                    <a:pt x="249" y="1"/>
                  </a:lnTo>
                  <a:lnTo>
                    <a:pt x="247" y="0"/>
                  </a:lnTo>
                  <a:lnTo>
                    <a:pt x="244" y="0"/>
                  </a:lnTo>
                  <a:lnTo>
                    <a:pt x="241" y="1"/>
                  </a:lnTo>
                  <a:lnTo>
                    <a:pt x="150" y="33"/>
                  </a:lnTo>
                  <a:lnTo>
                    <a:pt x="147" y="34"/>
                  </a:lnTo>
                  <a:lnTo>
                    <a:pt x="144" y="36"/>
                  </a:lnTo>
                  <a:lnTo>
                    <a:pt x="143" y="38"/>
                  </a:lnTo>
                  <a:lnTo>
                    <a:pt x="141" y="41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9"/>
                  </a:lnTo>
                  <a:lnTo>
                    <a:pt x="140" y="52"/>
                  </a:lnTo>
                  <a:lnTo>
                    <a:pt x="180" y="170"/>
                  </a:lnTo>
                  <a:lnTo>
                    <a:pt x="15" y="170"/>
                  </a:lnTo>
                  <a:lnTo>
                    <a:pt x="12" y="171"/>
                  </a:lnTo>
                  <a:lnTo>
                    <a:pt x="9" y="171"/>
                  </a:lnTo>
                  <a:lnTo>
                    <a:pt x="7" y="174"/>
                  </a:lnTo>
                  <a:lnTo>
                    <a:pt x="5" y="175"/>
                  </a:lnTo>
                  <a:lnTo>
                    <a:pt x="3" y="177"/>
                  </a:lnTo>
                  <a:lnTo>
                    <a:pt x="2" y="180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667"/>
                  </a:lnTo>
                  <a:lnTo>
                    <a:pt x="0" y="670"/>
                  </a:lnTo>
                  <a:lnTo>
                    <a:pt x="2" y="673"/>
                  </a:lnTo>
                  <a:lnTo>
                    <a:pt x="3" y="676"/>
                  </a:lnTo>
                  <a:lnTo>
                    <a:pt x="5" y="678"/>
                  </a:lnTo>
                  <a:lnTo>
                    <a:pt x="7" y="680"/>
                  </a:lnTo>
                  <a:lnTo>
                    <a:pt x="9" y="681"/>
                  </a:lnTo>
                  <a:lnTo>
                    <a:pt x="12" y="682"/>
                  </a:lnTo>
                  <a:lnTo>
                    <a:pt x="15" y="682"/>
                  </a:lnTo>
                  <a:lnTo>
                    <a:pt x="196" y="682"/>
                  </a:lnTo>
                  <a:lnTo>
                    <a:pt x="199" y="682"/>
                  </a:lnTo>
                  <a:lnTo>
                    <a:pt x="202" y="681"/>
                  </a:lnTo>
                  <a:lnTo>
                    <a:pt x="204" y="680"/>
                  </a:lnTo>
                  <a:lnTo>
                    <a:pt x="206" y="678"/>
                  </a:lnTo>
                  <a:lnTo>
                    <a:pt x="209" y="676"/>
                  </a:lnTo>
                  <a:lnTo>
                    <a:pt x="210" y="673"/>
                  </a:lnTo>
                  <a:lnTo>
                    <a:pt x="211" y="670"/>
                  </a:lnTo>
                  <a:lnTo>
                    <a:pt x="211" y="667"/>
                  </a:lnTo>
                  <a:lnTo>
                    <a:pt x="211" y="263"/>
                  </a:lnTo>
                  <a:lnTo>
                    <a:pt x="349" y="675"/>
                  </a:lnTo>
                  <a:lnTo>
                    <a:pt x="350" y="677"/>
                  </a:lnTo>
                  <a:lnTo>
                    <a:pt x="352" y="679"/>
                  </a:lnTo>
                  <a:lnTo>
                    <a:pt x="354" y="681"/>
                  </a:lnTo>
                  <a:lnTo>
                    <a:pt x="357" y="683"/>
                  </a:lnTo>
                  <a:lnTo>
                    <a:pt x="360" y="684"/>
                  </a:lnTo>
                  <a:lnTo>
                    <a:pt x="363" y="684"/>
                  </a:lnTo>
                  <a:lnTo>
                    <a:pt x="366" y="684"/>
                  </a:lnTo>
                  <a:lnTo>
                    <a:pt x="368" y="683"/>
                  </a:lnTo>
                  <a:lnTo>
                    <a:pt x="459" y="651"/>
                  </a:lnTo>
                  <a:lnTo>
                    <a:pt x="463" y="650"/>
                  </a:lnTo>
                  <a:lnTo>
                    <a:pt x="465" y="649"/>
                  </a:lnTo>
                  <a:lnTo>
                    <a:pt x="467" y="647"/>
                  </a:lnTo>
                  <a:lnTo>
                    <a:pt x="468" y="643"/>
                  </a:lnTo>
                  <a:lnTo>
                    <a:pt x="469" y="641"/>
                  </a:lnTo>
                  <a:lnTo>
                    <a:pt x="469" y="638"/>
                  </a:lnTo>
                  <a:lnTo>
                    <a:pt x="469" y="635"/>
                  </a:lnTo>
                  <a:lnTo>
                    <a:pt x="469" y="633"/>
                  </a:lnTo>
                  <a:lnTo>
                    <a:pt x="469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44"/>
            <p:cNvSpPr>
              <a:spLocks noEditPoints="1"/>
            </p:cNvSpPr>
            <p:nvPr/>
          </p:nvSpPr>
          <p:spPr bwMode="auto">
            <a:xfrm>
              <a:off x="5465763" y="846138"/>
              <a:ext cx="52388" cy="214313"/>
            </a:xfrm>
            <a:custGeom>
              <a:avLst/>
              <a:gdLst>
                <a:gd name="T0" fmla="*/ 81 w 165"/>
                <a:gd name="T1" fmla="*/ 563 h 677"/>
                <a:gd name="T2" fmla="*/ 79 w 165"/>
                <a:gd name="T3" fmla="*/ 569 h 677"/>
                <a:gd name="T4" fmla="*/ 75 w 165"/>
                <a:gd name="T5" fmla="*/ 572 h 677"/>
                <a:gd name="T6" fmla="*/ 70 w 165"/>
                <a:gd name="T7" fmla="*/ 575 h 677"/>
                <a:gd name="T8" fmla="*/ 64 w 165"/>
                <a:gd name="T9" fmla="*/ 575 h 677"/>
                <a:gd name="T10" fmla="*/ 59 w 165"/>
                <a:gd name="T11" fmla="*/ 572 h 677"/>
                <a:gd name="T12" fmla="*/ 55 w 165"/>
                <a:gd name="T13" fmla="*/ 569 h 677"/>
                <a:gd name="T14" fmla="*/ 53 w 165"/>
                <a:gd name="T15" fmla="*/ 563 h 677"/>
                <a:gd name="T16" fmla="*/ 51 w 165"/>
                <a:gd name="T17" fmla="*/ 116 h 677"/>
                <a:gd name="T18" fmla="*/ 54 w 165"/>
                <a:gd name="T19" fmla="*/ 111 h 677"/>
                <a:gd name="T20" fmla="*/ 57 w 165"/>
                <a:gd name="T21" fmla="*/ 106 h 677"/>
                <a:gd name="T22" fmla="*/ 61 w 165"/>
                <a:gd name="T23" fmla="*/ 103 h 677"/>
                <a:gd name="T24" fmla="*/ 66 w 165"/>
                <a:gd name="T25" fmla="*/ 102 h 677"/>
                <a:gd name="T26" fmla="*/ 73 w 165"/>
                <a:gd name="T27" fmla="*/ 103 h 677"/>
                <a:gd name="T28" fmla="*/ 77 w 165"/>
                <a:gd name="T29" fmla="*/ 106 h 677"/>
                <a:gd name="T30" fmla="*/ 80 w 165"/>
                <a:gd name="T31" fmla="*/ 111 h 677"/>
                <a:gd name="T32" fmla="*/ 83 w 165"/>
                <a:gd name="T33" fmla="*/ 117 h 677"/>
                <a:gd name="T34" fmla="*/ 150 w 165"/>
                <a:gd name="T35" fmla="*/ 0 h 677"/>
                <a:gd name="T36" fmla="*/ 12 w 165"/>
                <a:gd name="T37" fmla="*/ 0 h 677"/>
                <a:gd name="T38" fmla="*/ 6 w 165"/>
                <a:gd name="T39" fmla="*/ 2 h 677"/>
                <a:gd name="T40" fmla="*/ 2 w 165"/>
                <a:gd name="T41" fmla="*/ 7 h 677"/>
                <a:gd name="T42" fmla="*/ 0 w 165"/>
                <a:gd name="T43" fmla="*/ 12 h 677"/>
                <a:gd name="T44" fmla="*/ 0 w 165"/>
                <a:gd name="T45" fmla="*/ 662 h 677"/>
                <a:gd name="T46" fmla="*/ 1 w 165"/>
                <a:gd name="T47" fmla="*/ 668 h 677"/>
                <a:gd name="T48" fmla="*/ 4 w 165"/>
                <a:gd name="T49" fmla="*/ 673 h 677"/>
                <a:gd name="T50" fmla="*/ 9 w 165"/>
                <a:gd name="T51" fmla="*/ 676 h 677"/>
                <a:gd name="T52" fmla="*/ 15 w 165"/>
                <a:gd name="T53" fmla="*/ 677 h 677"/>
                <a:gd name="T54" fmla="*/ 153 w 165"/>
                <a:gd name="T55" fmla="*/ 677 h 677"/>
                <a:gd name="T56" fmla="*/ 159 w 165"/>
                <a:gd name="T57" fmla="*/ 675 h 677"/>
                <a:gd name="T58" fmla="*/ 163 w 165"/>
                <a:gd name="T59" fmla="*/ 671 h 677"/>
                <a:gd name="T60" fmla="*/ 165 w 165"/>
                <a:gd name="T61" fmla="*/ 665 h 677"/>
                <a:gd name="T62" fmla="*/ 165 w 165"/>
                <a:gd name="T63" fmla="*/ 15 h 677"/>
                <a:gd name="T64" fmla="*/ 164 w 165"/>
                <a:gd name="T65" fmla="*/ 9 h 677"/>
                <a:gd name="T66" fmla="*/ 161 w 165"/>
                <a:gd name="T67" fmla="*/ 5 h 677"/>
                <a:gd name="T68" fmla="*/ 157 w 165"/>
                <a:gd name="T69" fmla="*/ 1 h 677"/>
                <a:gd name="T70" fmla="*/ 150 w 165"/>
                <a:gd name="T7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5" h="677">
                  <a:moveTo>
                    <a:pt x="83" y="560"/>
                  </a:moveTo>
                  <a:lnTo>
                    <a:pt x="81" y="563"/>
                  </a:lnTo>
                  <a:lnTo>
                    <a:pt x="80" y="565"/>
                  </a:lnTo>
                  <a:lnTo>
                    <a:pt x="79" y="569"/>
                  </a:lnTo>
                  <a:lnTo>
                    <a:pt x="77" y="571"/>
                  </a:lnTo>
                  <a:lnTo>
                    <a:pt x="75" y="572"/>
                  </a:lnTo>
                  <a:lnTo>
                    <a:pt x="73" y="574"/>
                  </a:lnTo>
                  <a:lnTo>
                    <a:pt x="70" y="575"/>
                  </a:lnTo>
                  <a:lnTo>
                    <a:pt x="66" y="575"/>
                  </a:lnTo>
                  <a:lnTo>
                    <a:pt x="64" y="575"/>
                  </a:lnTo>
                  <a:lnTo>
                    <a:pt x="61" y="574"/>
                  </a:lnTo>
                  <a:lnTo>
                    <a:pt x="59" y="572"/>
                  </a:lnTo>
                  <a:lnTo>
                    <a:pt x="57" y="571"/>
                  </a:lnTo>
                  <a:lnTo>
                    <a:pt x="55" y="569"/>
                  </a:lnTo>
                  <a:lnTo>
                    <a:pt x="54" y="565"/>
                  </a:lnTo>
                  <a:lnTo>
                    <a:pt x="53" y="563"/>
                  </a:lnTo>
                  <a:lnTo>
                    <a:pt x="51" y="560"/>
                  </a:lnTo>
                  <a:lnTo>
                    <a:pt x="51" y="116"/>
                  </a:lnTo>
                  <a:lnTo>
                    <a:pt x="53" y="114"/>
                  </a:lnTo>
                  <a:lnTo>
                    <a:pt x="54" y="111"/>
                  </a:lnTo>
                  <a:lnTo>
                    <a:pt x="55" y="109"/>
                  </a:lnTo>
                  <a:lnTo>
                    <a:pt x="57" y="106"/>
                  </a:lnTo>
                  <a:lnTo>
                    <a:pt x="59" y="104"/>
                  </a:lnTo>
                  <a:lnTo>
                    <a:pt x="61" y="103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70" y="102"/>
                  </a:lnTo>
                  <a:lnTo>
                    <a:pt x="73" y="103"/>
                  </a:lnTo>
                  <a:lnTo>
                    <a:pt x="75" y="104"/>
                  </a:lnTo>
                  <a:lnTo>
                    <a:pt x="77" y="106"/>
                  </a:lnTo>
                  <a:lnTo>
                    <a:pt x="79" y="109"/>
                  </a:lnTo>
                  <a:lnTo>
                    <a:pt x="80" y="111"/>
                  </a:lnTo>
                  <a:lnTo>
                    <a:pt x="81" y="114"/>
                  </a:lnTo>
                  <a:lnTo>
                    <a:pt x="83" y="117"/>
                  </a:lnTo>
                  <a:lnTo>
                    <a:pt x="83" y="560"/>
                  </a:lnTo>
                  <a:close/>
                  <a:moveTo>
                    <a:pt x="150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662"/>
                  </a:lnTo>
                  <a:lnTo>
                    <a:pt x="0" y="665"/>
                  </a:lnTo>
                  <a:lnTo>
                    <a:pt x="1" y="668"/>
                  </a:lnTo>
                  <a:lnTo>
                    <a:pt x="2" y="671"/>
                  </a:lnTo>
                  <a:lnTo>
                    <a:pt x="4" y="673"/>
                  </a:lnTo>
                  <a:lnTo>
                    <a:pt x="6" y="675"/>
                  </a:lnTo>
                  <a:lnTo>
                    <a:pt x="9" y="676"/>
                  </a:lnTo>
                  <a:lnTo>
                    <a:pt x="12" y="677"/>
                  </a:lnTo>
                  <a:lnTo>
                    <a:pt x="15" y="677"/>
                  </a:lnTo>
                  <a:lnTo>
                    <a:pt x="150" y="677"/>
                  </a:lnTo>
                  <a:lnTo>
                    <a:pt x="153" y="677"/>
                  </a:lnTo>
                  <a:lnTo>
                    <a:pt x="157" y="676"/>
                  </a:lnTo>
                  <a:lnTo>
                    <a:pt x="159" y="675"/>
                  </a:lnTo>
                  <a:lnTo>
                    <a:pt x="161" y="673"/>
                  </a:lnTo>
                  <a:lnTo>
                    <a:pt x="163" y="671"/>
                  </a:lnTo>
                  <a:lnTo>
                    <a:pt x="164" y="668"/>
                  </a:lnTo>
                  <a:lnTo>
                    <a:pt x="165" y="665"/>
                  </a:lnTo>
                  <a:lnTo>
                    <a:pt x="165" y="662"/>
                  </a:lnTo>
                  <a:lnTo>
                    <a:pt x="165" y="15"/>
                  </a:lnTo>
                  <a:lnTo>
                    <a:pt x="165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7" y="1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5017247" y="4246127"/>
            <a:ext cx="429134" cy="372232"/>
            <a:chOff x="5465763" y="1385888"/>
            <a:chExt cx="287338" cy="249238"/>
          </a:xfrm>
          <a:solidFill>
            <a:srgbClr val="125680"/>
          </a:solidFill>
          <a:effectLst/>
        </p:grpSpPr>
        <p:sp>
          <p:nvSpPr>
            <p:cNvPr id="115" name="Freeform 683"/>
            <p:cNvSpPr>
              <a:spLocks/>
            </p:cNvSpPr>
            <p:nvPr/>
          </p:nvSpPr>
          <p:spPr bwMode="auto">
            <a:xfrm>
              <a:off x="5494338" y="1414463"/>
              <a:ext cx="134938" cy="9525"/>
            </a:xfrm>
            <a:custGeom>
              <a:avLst/>
              <a:gdLst>
                <a:gd name="T0" fmla="*/ 15 w 422"/>
                <a:gd name="T1" fmla="*/ 0 h 30"/>
                <a:gd name="T2" fmla="*/ 12 w 422"/>
                <a:gd name="T3" fmla="*/ 0 h 30"/>
                <a:gd name="T4" fmla="*/ 10 w 422"/>
                <a:gd name="T5" fmla="*/ 2 h 30"/>
                <a:gd name="T6" fmla="*/ 6 w 422"/>
                <a:gd name="T7" fmla="*/ 3 h 30"/>
                <a:gd name="T8" fmla="*/ 4 w 422"/>
                <a:gd name="T9" fmla="*/ 5 h 30"/>
                <a:gd name="T10" fmla="*/ 3 w 422"/>
                <a:gd name="T11" fmla="*/ 7 h 30"/>
                <a:gd name="T12" fmla="*/ 1 w 422"/>
                <a:gd name="T13" fmla="*/ 10 h 30"/>
                <a:gd name="T14" fmla="*/ 0 w 422"/>
                <a:gd name="T15" fmla="*/ 12 h 30"/>
                <a:gd name="T16" fmla="*/ 0 w 422"/>
                <a:gd name="T17" fmla="*/ 15 h 30"/>
                <a:gd name="T18" fmla="*/ 0 w 422"/>
                <a:gd name="T19" fmla="*/ 19 h 30"/>
                <a:gd name="T20" fmla="*/ 1 w 422"/>
                <a:gd name="T21" fmla="*/ 22 h 30"/>
                <a:gd name="T22" fmla="*/ 3 w 422"/>
                <a:gd name="T23" fmla="*/ 24 h 30"/>
                <a:gd name="T24" fmla="*/ 4 w 422"/>
                <a:gd name="T25" fmla="*/ 26 h 30"/>
                <a:gd name="T26" fmla="*/ 6 w 422"/>
                <a:gd name="T27" fmla="*/ 28 h 30"/>
                <a:gd name="T28" fmla="*/ 10 w 422"/>
                <a:gd name="T29" fmla="*/ 29 h 30"/>
                <a:gd name="T30" fmla="*/ 12 w 422"/>
                <a:gd name="T31" fmla="*/ 30 h 30"/>
                <a:gd name="T32" fmla="*/ 15 w 422"/>
                <a:gd name="T33" fmla="*/ 30 h 30"/>
                <a:gd name="T34" fmla="*/ 407 w 422"/>
                <a:gd name="T35" fmla="*/ 30 h 30"/>
                <a:gd name="T36" fmla="*/ 410 w 422"/>
                <a:gd name="T37" fmla="*/ 30 h 30"/>
                <a:gd name="T38" fmla="*/ 413 w 422"/>
                <a:gd name="T39" fmla="*/ 29 h 30"/>
                <a:gd name="T40" fmla="*/ 415 w 422"/>
                <a:gd name="T41" fmla="*/ 28 h 30"/>
                <a:gd name="T42" fmla="*/ 417 w 422"/>
                <a:gd name="T43" fmla="*/ 26 h 30"/>
                <a:gd name="T44" fmla="*/ 419 w 422"/>
                <a:gd name="T45" fmla="*/ 24 h 30"/>
                <a:gd name="T46" fmla="*/ 420 w 422"/>
                <a:gd name="T47" fmla="*/ 22 h 30"/>
                <a:gd name="T48" fmla="*/ 422 w 422"/>
                <a:gd name="T49" fmla="*/ 19 h 30"/>
                <a:gd name="T50" fmla="*/ 422 w 422"/>
                <a:gd name="T51" fmla="*/ 15 h 30"/>
                <a:gd name="T52" fmla="*/ 422 w 422"/>
                <a:gd name="T53" fmla="*/ 12 h 30"/>
                <a:gd name="T54" fmla="*/ 420 w 422"/>
                <a:gd name="T55" fmla="*/ 10 h 30"/>
                <a:gd name="T56" fmla="*/ 419 w 422"/>
                <a:gd name="T57" fmla="*/ 7 h 30"/>
                <a:gd name="T58" fmla="*/ 417 w 422"/>
                <a:gd name="T59" fmla="*/ 5 h 30"/>
                <a:gd name="T60" fmla="*/ 415 w 422"/>
                <a:gd name="T61" fmla="*/ 3 h 30"/>
                <a:gd name="T62" fmla="*/ 412 w 422"/>
                <a:gd name="T63" fmla="*/ 2 h 30"/>
                <a:gd name="T64" fmla="*/ 410 w 422"/>
                <a:gd name="T65" fmla="*/ 0 h 30"/>
                <a:gd name="T66" fmla="*/ 407 w 422"/>
                <a:gd name="T67" fmla="*/ 0 h 30"/>
                <a:gd name="T68" fmla="*/ 15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15" y="0"/>
                  </a:move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0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0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2" y="2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684"/>
            <p:cNvSpPr>
              <a:spLocks/>
            </p:cNvSpPr>
            <p:nvPr/>
          </p:nvSpPr>
          <p:spPr bwMode="auto">
            <a:xfrm>
              <a:off x="5691188" y="1474788"/>
              <a:ext cx="31750" cy="120650"/>
            </a:xfrm>
            <a:custGeom>
              <a:avLst/>
              <a:gdLst>
                <a:gd name="T0" fmla="*/ 23 w 103"/>
                <a:gd name="T1" fmla="*/ 2 h 379"/>
                <a:gd name="T2" fmla="*/ 18 w 103"/>
                <a:gd name="T3" fmla="*/ 0 h 379"/>
                <a:gd name="T4" fmla="*/ 11 w 103"/>
                <a:gd name="T5" fmla="*/ 0 h 379"/>
                <a:gd name="T6" fmla="*/ 6 w 103"/>
                <a:gd name="T7" fmla="*/ 2 h 379"/>
                <a:gd name="T8" fmla="*/ 2 w 103"/>
                <a:gd name="T9" fmla="*/ 7 h 379"/>
                <a:gd name="T10" fmla="*/ 0 w 103"/>
                <a:gd name="T11" fmla="*/ 12 h 379"/>
                <a:gd name="T12" fmla="*/ 0 w 103"/>
                <a:gd name="T13" fmla="*/ 18 h 379"/>
                <a:gd name="T14" fmla="*/ 2 w 103"/>
                <a:gd name="T15" fmla="*/ 24 h 379"/>
                <a:gd name="T16" fmla="*/ 13 w 103"/>
                <a:gd name="T17" fmla="*/ 35 h 379"/>
                <a:gd name="T18" fmla="*/ 26 w 103"/>
                <a:gd name="T19" fmla="*/ 52 h 379"/>
                <a:gd name="T20" fmla="*/ 39 w 103"/>
                <a:gd name="T21" fmla="*/ 71 h 379"/>
                <a:gd name="T22" fmla="*/ 50 w 103"/>
                <a:gd name="T23" fmla="*/ 90 h 379"/>
                <a:gd name="T24" fmla="*/ 59 w 103"/>
                <a:gd name="T25" fmla="*/ 112 h 379"/>
                <a:gd name="T26" fmla="*/ 65 w 103"/>
                <a:gd name="T27" fmla="*/ 133 h 379"/>
                <a:gd name="T28" fmla="*/ 69 w 103"/>
                <a:gd name="T29" fmla="*/ 155 h 379"/>
                <a:gd name="T30" fmla="*/ 72 w 103"/>
                <a:gd name="T31" fmla="*/ 178 h 379"/>
                <a:gd name="T32" fmla="*/ 72 w 103"/>
                <a:gd name="T33" fmla="*/ 201 h 379"/>
                <a:gd name="T34" fmla="*/ 69 w 103"/>
                <a:gd name="T35" fmla="*/ 224 h 379"/>
                <a:gd name="T36" fmla="*/ 65 w 103"/>
                <a:gd name="T37" fmla="*/ 246 h 379"/>
                <a:gd name="T38" fmla="*/ 59 w 103"/>
                <a:gd name="T39" fmla="*/ 267 h 379"/>
                <a:gd name="T40" fmla="*/ 50 w 103"/>
                <a:gd name="T41" fmla="*/ 289 h 379"/>
                <a:gd name="T42" fmla="*/ 39 w 103"/>
                <a:gd name="T43" fmla="*/ 308 h 379"/>
                <a:gd name="T44" fmla="*/ 26 w 103"/>
                <a:gd name="T45" fmla="*/ 327 h 379"/>
                <a:gd name="T46" fmla="*/ 13 w 103"/>
                <a:gd name="T47" fmla="*/ 345 h 379"/>
                <a:gd name="T48" fmla="*/ 2 w 103"/>
                <a:gd name="T49" fmla="*/ 355 h 379"/>
                <a:gd name="T50" fmla="*/ 0 w 103"/>
                <a:gd name="T51" fmla="*/ 361 h 379"/>
                <a:gd name="T52" fmla="*/ 0 w 103"/>
                <a:gd name="T53" fmla="*/ 367 h 379"/>
                <a:gd name="T54" fmla="*/ 2 w 103"/>
                <a:gd name="T55" fmla="*/ 372 h 379"/>
                <a:gd name="T56" fmla="*/ 6 w 103"/>
                <a:gd name="T57" fmla="*/ 377 h 379"/>
                <a:gd name="T58" fmla="*/ 11 w 103"/>
                <a:gd name="T59" fmla="*/ 379 h 379"/>
                <a:gd name="T60" fmla="*/ 18 w 103"/>
                <a:gd name="T61" fmla="*/ 379 h 379"/>
                <a:gd name="T62" fmla="*/ 23 w 103"/>
                <a:gd name="T63" fmla="*/ 377 h 379"/>
                <a:gd name="T64" fmla="*/ 34 w 103"/>
                <a:gd name="T65" fmla="*/ 365 h 379"/>
                <a:gd name="T66" fmla="*/ 51 w 103"/>
                <a:gd name="T67" fmla="*/ 346 h 379"/>
                <a:gd name="T68" fmla="*/ 65 w 103"/>
                <a:gd name="T69" fmla="*/ 324 h 379"/>
                <a:gd name="T70" fmla="*/ 77 w 103"/>
                <a:gd name="T71" fmla="*/ 302 h 379"/>
                <a:gd name="T72" fmla="*/ 87 w 103"/>
                <a:gd name="T73" fmla="*/ 278 h 379"/>
                <a:gd name="T74" fmla="*/ 94 w 103"/>
                <a:gd name="T75" fmla="*/ 253 h 379"/>
                <a:gd name="T76" fmla="*/ 99 w 103"/>
                <a:gd name="T77" fmla="*/ 229 h 379"/>
                <a:gd name="T78" fmla="*/ 102 w 103"/>
                <a:gd name="T79" fmla="*/ 203 h 379"/>
                <a:gd name="T80" fmla="*/ 102 w 103"/>
                <a:gd name="T81" fmla="*/ 176 h 379"/>
                <a:gd name="T82" fmla="*/ 99 w 103"/>
                <a:gd name="T83" fmla="*/ 150 h 379"/>
                <a:gd name="T84" fmla="*/ 94 w 103"/>
                <a:gd name="T85" fmla="*/ 126 h 379"/>
                <a:gd name="T86" fmla="*/ 87 w 103"/>
                <a:gd name="T87" fmla="*/ 101 h 379"/>
                <a:gd name="T88" fmla="*/ 77 w 103"/>
                <a:gd name="T89" fmla="*/ 77 h 379"/>
                <a:gd name="T90" fmla="*/ 65 w 103"/>
                <a:gd name="T91" fmla="*/ 55 h 379"/>
                <a:gd name="T92" fmla="*/ 51 w 103"/>
                <a:gd name="T93" fmla="*/ 33 h 379"/>
                <a:gd name="T94" fmla="*/ 34 w 103"/>
                <a:gd name="T95" fmla="*/ 1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3" h="379">
                  <a:moveTo>
                    <a:pt x="25" y="5"/>
                  </a:moveTo>
                  <a:lnTo>
                    <a:pt x="23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13" y="35"/>
                  </a:lnTo>
                  <a:lnTo>
                    <a:pt x="20" y="43"/>
                  </a:lnTo>
                  <a:lnTo>
                    <a:pt x="26" y="52"/>
                  </a:lnTo>
                  <a:lnTo>
                    <a:pt x="33" y="61"/>
                  </a:lnTo>
                  <a:lnTo>
                    <a:pt x="39" y="71"/>
                  </a:lnTo>
                  <a:lnTo>
                    <a:pt x="45" y="81"/>
                  </a:lnTo>
                  <a:lnTo>
                    <a:pt x="50" y="90"/>
                  </a:lnTo>
                  <a:lnTo>
                    <a:pt x="54" y="101"/>
                  </a:lnTo>
                  <a:lnTo>
                    <a:pt x="59" y="112"/>
                  </a:lnTo>
                  <a:lnTo>
                    <a:pt x="62" y="122"/>
                  </a:lnTo>
                  <a:lnTo>
                    <a:pt x="65" y="133"/>
                  </a:lnTo>
                  <a:lnTo>
                    <a:pt x="67" y="144"/>
                  </a:lnTo>
                  <a:lnTo>
                    <a:pt x="69" y="155"/>
                  </a:lnTo>
                  <a:lnTo>
                    <a:pt x="70" y="166"/>
                  </a:lnTo>
                  <a:lnTo>
                    <a:pt x="72" y="178"/>
                  </a:lnTo>
                  <a:lnTo>
                    <a:pt x="72" y="189"/>
                  </a:lnTo>
                  <a:lnTo>
                    <a:pt x="72" y="201"/>
                  </a:lnTo>
                  <a:lnTo>
                    <a:pt x="70" y="213"/>
                  </a:lnTo>
                  <a:lnTo>
                    <a:pt x="69" y="224"/>
                  </a:lnTo>
                  <a:lnTo>
                    <a:pt x="67" y="235"/>
                  </a:lnTo>
                  <a:lnTo>
                    <a:pt x="65" y="246"/>
                  </a:lnTo>
                  <a:lnTo>
                    <a:pt x="62" y="257"/>
                  </a:lnTo>
                  <a:lnTo>
                    <a:pt x="59" y="267"/>
                  </a:lnTo>
                  <a:lnTo>
                    <a:pt x="54" y="278"/>
                  </a:lnTo>
                  <a:lnTo>
                    <a:pt x="50" y="289"/>
                  </a:lnTo>
                  <a:lnTo>
                    <a:pt x="45" y="298"/>
                  </a:lnTo>
                  <a:lnTo>
                    <a:pt x="39" y="308"/>
                  </a:lnTo>
                  <a:lnTo>
                    <a:pt x="33" y="318"/>
                  </a:lnTo>
                  <a:lnTo>
                    <a:pt x="26" y="327"/>
                  </a:lnTo>
                  <a:lnTo>
                    <a:pt x="20" y="336"/>
                  </a:lnTo>
                  <a:lnTo>
                    <a:pt x="13" y="345"/>
                  </a:lnTo>
                  <a:lnTo>
                    <a:pt x="4" y="353"/>
                  </a:lnTo>
                  <a:lnTo>
                    <a:pt x="2" y="355"/>
                  </a:lnTo>
                  <a:lnTo>
                    <a:pt x="1" y="358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0" y="367"/>
                  </a:lnTo>
                  <a:lnTo>
                    <a:pt x="1" y="369"/>
                  </a:lnTo>
                  <a:lnTo>
                    <a:pt x="2" y="372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9" y="378"/>
                  </a:lnTo>
                  <a:lnTo>
                    <a:pt x="11" y="379"/>
                  </a:lnTo>
                  <a:lnTo>
                    <a:pt x="15" y="379"/>
                  </a:lnTo>
                  <a:lnTo>
                    <a:pt x="18" y="379"/>
                  </a:lnTo>
                  <a:lnTo>
                    <a:pt x="20" y="378"/>
                  </a:lnTo>
                  <a:lnTo>
                    <a:pt x="23" y="377"/>
                  </a:lnTo>
                  <a:lnTo>
                    <a:pt x="25" y="375"/>
                  </a:lnTo>
                  <a:lnTo>
                    <a:pt x="34" y="365"/>
                  </a:lnTo>
                  <a:lnTo>
                    <a:pt x="43" y="355"/>
                  </a:lnTo>
                  <a:lnTo>
                    <a:pt x="51" y="346"/>
                  </a:lnTo>
                  <a:lnTo>
                    <a:pt x="59" y="335"/>
                  </a:lnTo>
                  <a:lnTo>
                    <a:pt x="65" y="324"/>
                  </a:lnTo>
                  <a:lnTo>
                    <a:pt x="72" y="312"/>
                  </a:lnTo>
                  <a:lnTo>
                    <a:pt x="77" y="302"/>
                  </a:lnTo>
                  <a:lnTo>
                    <a:pt x="82" y="290"/>
                  </a:lnTo>
                  <a:lnTo>
                    <a:pt x="87" y="278"/>
                  </a:lnTo>
                  <a:lnTo>
                    <a:pt x="91" y="266"/>
                  </a:lnTo>
                  <a:lnTo>
                    <a:pt x="94" y="253"/>
                  </a:lnTo>
                  <a:lnTo>
                    <a:pt x="97" y="242"/>
                  </a:lnTo>
                  <a:lnTo>
                    <a:pt x="99" y="229"/>
                  </a:lnTo>
                  <a:lnTo>
                    <a:pt x="100" y="216"/>
                  </a:lnTo>
                  <a:lnTo>
                    <a:pt x="102" y="203"/>
                  </a:lnTo>
                  <a:lnTo>
                    <a:pt x="103" y="189"/>
                  </a:lnTo>
                  <a:lnTo>
                    <a:pt x="102" y="176"/>
                  </a:lnTo>
                  <a:lnTo>
                    <a:pt x="100" y="163"/>
                  </a:lnTo>
                  <a:lnTo>
                    <a:pt x="99" y="150"/>
                  </a:lnTo>
                  <a:lnTo>
                    <a:pt x="97" y="139"/>
                  </a:lnTo>
                  <a:lnTo>
                    <a:pt x="94" y="126"/>
                  </a:lnTo>
                  <a:lnTo>
                    <a:pt x="91" y="113"/>
                  </a:lnTo>
                  <a:lnTo>
                    <a:pt x="87" y="101"/>
                  </a:lnTo>
                  <a:lnTo>
                    <a:pt x="82" y="89"/>
                  </a:lnTo>
                  <a:lnTo>
                    <a:pt x="77" y="77"/>
                  </a:lnTo>
                  <a:lnTo>
                    <a:pt x="72" y="67"/>
                  </a:lnTo>
                  <a:lnTo>
                    <a:pt x="65" y="55"/>
                  </a:lnTo>
                  <a:lnTo>
                    <a:pt x="59" y="44"/>
                  </a:lnTo>
                  <a:lnTo>
                    <a:pt x="51" y="33"/>
                  </a:lnTo>
                  <a:lnTo>
                    <a:pt x="43" y="24"/>
                  </a:lnTo>
                  <a:lnTo>
                    <a:pt x="34" y="14"/>
                  </a:lnTo>
                  <a:lnTo>
                    <a:pt x="2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85"/>
            <p:cNvSpPr>
              <a:spLocks/>
            </p:cNvSpPr>
            <p:nvPr/>
          </p:nvSpPr>
          <p:spPr bwMode="auto">
            <a:xfrm>
              <a:off x="5713413" y="1457325"/>
              <a:ext cx="39688" cy="153988"/>
            </a:xfrm>
            <a:custGeom>
              <a:avLst/>
              <a:gdLst>
                <a:gd name="T0" fmla="*/ 23 w 124"/>
                <a:gd name="T1" fmla="*/ 2 h 485"/>
                <a:gd name="T2" fmla="*/ 18 w 124"/>
                <a:gd name="T3" fmla="*/ 0 h 485"/>
                <a:gd name="T4" fmla="*/ 11 w 124"/>
                <a:gd name="T5" fmla="*/ 0 h 485"/>
                <a:gd name="T6" fmla="*/ 6 w 124"/>
                <a:gd name="T7" fmla="*/ 2 h 485"/>
                <a:gd name="T8" fmla="*/ 2 w 124"/>
                <a:gd name="T9" fmla="*/ 6 h 485"/>
                <a:gd name="T10" fmla="*/ 0 w 124"/>
                <a:gd name="T11" fmla="*/ 11 h 485"/>
                <a:gd name="T12" fmla="*/ 0 w 124"/>
                <a:gd name="T13" fmla="*/ 17 h 485"/>
                <a:gd name="T14" fmla="*/ 2 w 124"/>
                <a:gd name="T15" fmla="*/ 22 h 485"/>
                <a:gd name="T16" fmla="*/ 15 w 124"/>
                <a:gd name="T17" fmla="*/ 36 h 485"/>
                <a:gd name="T18" fmla="*/ 34 w 124"/>
                <a:gd name="T19" fmla="*/ 60 h 485"/>
                <a:gd name="T20" fmla="*/ 50 w 124"/>
                <a:gd name="T21" fmla="*/ 84 h 485"/>
                <a:gd name="T22" fmla="*/ 65 w 124"/>
                <a:gd name="T23" fmla="*/ 111 h 485"/>
                <a:gd name="T24" fmla="*/ 76 w 124"/>
                <a:gd name="T25" fmla="*/ 139 h 485"/>
                <a:gd name="T26" fmla="*/ 84 w 124"/>
                <a:gd name="T27" fmla="*/ 167 h 485"/>
                <a:gd name="T28" fmla="*/ 91 w 124"/>
                <a:gd name="T29" fmla="*/ 197 h 485"/>
                <a:gd name="T30" fmla="*/ 94 w 124"/>
                <a:gd name="T31" fmla="*/ 227 h 485"/>
                <a:gd name="T32" fmla="*/ 94 w 124"/>
                <a:gd name="T33" fmla="*/ 258 h 485"/>
                <a:gd name="T34" fmla="*/ 91 w 124"/>
                <a:gd name="T35" fmla="*/ 288 h 485"/>
                <a:gd name="T36" fmla="*/ 84 w 124"/>
                <a:gd name="T37" fmla="*/ 318 h 485"/>
                <a:gd name="T38" fmla="*/ 76 w 124"/>
                <a:gd name="T39" fmla="*/ 346 h 485"/>
                <a:gd name="T40" fmla="*/ 65 w 124"/>
                <a:gd name="T41" fmla="*/ 374 h 485"/>
                <a:gd name="T42" fmla="*/ 50 w 124"/>
                <a:gd name="T43" fmla="*/ 401 h 485"/>
                <a:gd name="T44" fmla="*/ 34 w 124"/>
                <a:gd name="T45" fmla="*/ 425 h 485"/>
                <a:gd name="T46" fmla="*/ 15 w 124"/>
                <a:gd name="T47" fmla="*/ 449 h 485"/>
                <a:gd name="T48" fmla="*/ 2 w 124"/>
                <a:gd name="T49" fmla="*/ 462 h 485"/>
                <a:gd name="T50" fmla="*/ 0 w 124"/>
                <a:gd name="T51" fmla="*/ 468 h 485"/>
                <a:gd name="T52" fmla="*/ 0 w 124"/>
                <a:gd name="T53" fmla="*/ 474 h 485"/>
                <a:gd name="T54" fmla="*/ 2 w 124"/>
                <a:gd name="T55" fmla="*/ 479 h 485"/>
                <a:gd name="T56" fmla="*/ 6 w 124"/>
                <a:gd name="T57" fmla="*/ 483 h 485"/>
                <a:gd name="T58" fmla="*/ 11 w 124"/>
                <a:gd name="T59" fmla="*/ 485 h 485"/>
                <a:gd name="T60" fmla="*/ 18 w 124"/>
                <a:gd name="T61" fmla="*/ 485 h 485"/>
                <a:gd name="T62" fmla="*/ 23 w 124"/>
                <a:gd name="T63" fmla="*/ 483 h 485"/>
                <a:gd name="T64" fmla="*/ 37 w 124"/>
                <a:gd name="T65" fmla="*/ 469 h 485"/>
                <a:gd name="T66" fmla="*/ 58 w 124"/>
                <a:gd name="T67" fmla="*/ 444 h 485"/>
                <a:gd name="T68" fmla="*/ 77 w 124"/>
                <a:gd name="T69" fmla="*/ 416 h 485"/>
                <a:gd name="T70" fmla="*/ 92 w 124"/>
                <a:gd name="T71" fmla="*/ 387 h 485"/>
                <a:gd name="T72" fmla="*/ 105 w 124"/>
                <a:gd name="T73" fmla="*/ 357 h 485"/>
                <a:gd name="T74" fmla="*/ 114 w 124"/>
                <a:gd name="T75" fmla="*/ 325 h 485"/>
                <a:gd name="T76" fmla="*/ 121 w 124"/>
                <a:gd name="T77" fmla="*/ 292 h 485"/>
                <a:gd name="T78" fmla="*/ 124 w 124"/>
                <a:gd name="T79" fmla="*/ 259 h 485"/>
                <a:gd name="T80" fmla="*/ 124 w 124"/>
                <a:gd name="T81" fmla="*/ 226 h 485"/>
                <a:gd name="T82" fmla="*/ 121 w 124"/>
                <a:gd name="T83" fmla="*/ 193 h 485"/>
                <a:gd name="T84" fmla="*/ 114 w 124"/>
                <a:gd name="T85" fmla="*/ 160 h 485"/>
                <a:gd name="T86" fmla="*/ 105 w 124"/>
                <a:gd name="T87" fmla="*/ 128 h 485"/>
                <a:gd name="T88" fmla="*/ 92 w 124"/>
                <a:gd name="T89" fmla="*/ 98 h 485"/>
                <a:gd name="T90" fmla="*/ 77 w 124"/>
                <a:gd name="T91" fmla="*/ 69 h 485"/>
                <a:gd name="T92" fmla="*/ 58 w 124"/>
                <a:gd name="T93" fmla="*/ 41 h 485"/>
                <a:gd name="T94" fmla="*/ 37 w 124"/>
                <a:gd name="T95" fmla="*/ 1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85">
                  <a:moveTo>
                    <a:pt x="25" y="4"/>
                  </a:moveTo>
                  <a:lnTo>
                    <a:pt x="23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15" y="36"/>
                  </a:lnTo>
                  <a:lnTo>
                    <a:pt x="24" y="48"/>
                  </a:lnTo>
                  <a:lnTo>
                    <a:pt x="34" y="60"/>
                  </a:lnTo>
                  <a:lnTo>
                    <a:pt x="42" y="71"/>
                  </a:lnTo>
                  <a:lnTo>
                    <a:pt x="50" y="84"/>
                  </a:lnTo>
                  <a:lnTo>
                    <a:pt x="58" y="97"/>
                  </a:lnTo>
                  <a:lnTo>
                    <a:pt x="65" y="111"/>
                  </a:lnTo>
                  <a:lnTo>
                    <a:pt x="70" y="125"/>
                  </a:lnTo>
                  <a:lnTo>
                    <a:pt x="76" y="139"/>
                  </a:lnTo>
                  <a:lnTo>
                    <a:pt x="81" y="153"/>
                  </a:lnTo>
                  <a:lnTo>
                    <a:pt x="84" y="167"/>
                  </a:lnTo>
                  <a:lnTo>
                    <a:pt x="88" y="182"/>
                  </a:lnTo>
                  <a:lnTo>
                    <a:pt x="91" y="197"/>
                  </a:lnTo>
                  <a:lnTo>
                    <a:pt x="93" y="212"/>
                  </a:lnTo>
                  <a:lnTo>
                    <a:pt x="94" y="227"/>
                  </a:lnTo>
                  <a:lnTo>
                    <a:pt x="94" y="242"/>
                  </a:lnTo>
                  <a:lnTo>
                    <a:pt x="94" y="258"/>
                  </a:lnTo>
                  <a:lnTo>
                    <a:pt x="93" y="273"/>
                  </a:lnTo>
                  <a:lnTo>
                    <a:pt x="91" y="288"/>
                  </a:lnTo>
                  <a:lnTo>
                    <a:pt x="88" y="303"/>
                  </a:lnTo>
                  <a:lnTo>
                    <a:pt x="84" y="318"/>
                  </a:lnTo>
                  <a:lnTo>
                    <a:pt x="81" y="332"/>
                  </a:lnTo>
                  <a:lnTo>
                    <a:pt x="76" y="346"/>
                  </a:lnTo>
                  <a:lnTo>
                    <a:pt x="70" y="360"/>
                  </a:lnTo>
                  <a:lnTo>
                    <a:pt x="65" y="374"/>
                  </a:lnTo>
                  <a:lnTo>
                    <a:pt x="58" y="388"/>
                  </a:lnTo>
                  <a:lnTo>
                    <a:pt x="50" y="401"/>
                  </a:lnTo>
                  <a:lnTo>
                    <a:pt x="42" y="414"/>
                  </a:lnTo>
                  <a:lnTo>
                    <a:pt x="34" y="425"/>
                  </a:lnTo>
                  <a:lnTo>
                    <a:pt x="24" y="437"/>
                  </a:lnTo>
                  <a:lnTo>
                    <a:pt x="15" y="449"/>
                  </a:lnTo>
                  <a:lnTo>
                    <a:pt x="4" y="460"/>
                  </a:lnTo>
                  <a:lnTo>
                    <a:pt x="2" y="462"/>
                  </a:lnTo>
                  <a:lnTo>
                    <a:pt x="1" y="465"/>
                  </a:lnTo>
                  <a:lnTo>
                    <a:pt x="0" y="468"/>
                  </a:lnTo>
                  <a:lnTo>
                    <a:pt x="0" y="470"/>
                  </a:lnTo>
                  <a:lnTo>
                    <a:pt x="0" y="474"/>
                  </a:lnTo>
                  <a:lnTo>
                    <a:pt x="1" y="476"/>
                  </a:lnTo>
                  <a:lnTo>
                    <a:pt x="2" y="479"/>
                  </a:lnTo>
                  <a:lnTo>
                    <a:pt x="4" y="481"/>
                  </a:lnTo>
                  <a:lnTo>
                    <a:pt x="6" y="483"/>
                  </a:lnTo>
                  <a:lnTo>
                    <a:pt x="9" y="484"/>
                  </a:lnTo>
                  <a:lnTo>
                    <a:pt x="11" y="485"/>
                  </a:lnTo>
                  <a:lnTo>
                    <a:pt x="15" y="485"/>
                  </a:lnTo>
                  <a:lnTo>
                    <a:pt x="18" y="485"/>
                  </a:lnTo>
                  <a:lnTo>
                    <a:pt x="20" y="484"/>
                  </a:lnTo>
                  <a:lnTo>
                    <a:pt x="23" y="483"/>
                  </a:lnTo>
                  <a:lnTo>
                    <a:pt x="25" y="481"/>
                  </a:lnTo>
                  <a:lnTo>
                    <a:pt x="37" y="469"/>
                  </a:lnTo>
                  <a:lnTo>
                    <a:pt x="48" y="457"/>
                  </a:lnTo>
                  <a:lnTo>
                    <a:pt x="58" y="444"/>
                  </a:lnTo>
                  <a:lnTo>
                    <a:pt x="67" y="430"/>
                  </a:lnTo>
                  <a:lnTo>
                    <a:pt x="77" y="416"/>
                  </a:lnTo>
                  <a:lnTo>
                    <a:pt x="84" y="402"/>
                  </a:lnTo>
                  <a:lnTo>
                    <a:pt x="92" y="387"/>
                  </a:lnTo>
                  <a:lnTo>
                    <a:pt x="98" y="372"/>
                  </a:lnTo>
                  <a:lnTo>
                    <a:pt x="105" y="357"/>
                  </a:lnTo>
                  <a:lnTo>
                    <a:pt x="110" y="341"/>
                  </a:lnTo>
                  <a:lnTo>
                    <a:pt x="114" y="325"/>
                  </a:lnTo>
                  <a:lnTo>
                    <a:pt x="118" y="308"/>
                  </a:lnTo>
                  <a:lnTo>
                    <a:pt x="121" y="292"/>
                  </a:lnTo>
                  <a:lnTo>
                    <a:pt x="122" y="276"/>
                  </a:lnTo>
                  <a:lnTo>
                    <a:pt x="124" y="259"/>
                  </a:lnTo>
                  <a:lnTo>
                    <a:pt x="124" y="242"/>
                  </a:lnTo>
                  <a:lnTo>
                    <a:pt x="124" y="226"/>
                  </a:lnTo>
                  <a:lnTo>
                    <a:pt x="122" y="209"/>
                  </a:lnTo>
                  <a:lnTo>
                    <a:pt x="121" y="193"/>
                  </a:lnTo>
                  <a:lnTo>
                    <a:pt x="118" y="177"/>
                  </a:lnTo>
                  <a:lnTo>
                    <a:pt x="114" y="160"/>
                  </a:lnTo>
                  <a:lnTo>
                    <a:pt x="110" y="144"/>
                  </a:lnTo>
                  <a:lnTo>
                    <a:pt x="105" y="128"/>
                  </a:lnTo>
                  <a:lnTo>
                    <a:pt x="98" y="113"/>
                  </a:lnTo>
                  <a:lnTo>
                    <a:pt x="92" y="98"/>
                  </a:lnTo>
                  <a:lnTo>
                    <a:pt x="84" y="83"/>
                  </a:lnTo>
                  <a:lnTo>
                    <a:pt x="77" y="69"/>
                  </a:lnTo>
                  <a:lnTo>
                    <a:pt x="67" y="55"/>
                  </a:lnTo>
                  <a:lnTo>
                    <a:pt x="58" y="41"/>
                  </a:lnTo>
                  <a:lnTo>
                    <a:pt x="48" y="29"/>
                  </a:lnTo>
                  <a:lnTo>
                    <a:pt x="37" y="16"/>
                  </a:lnTo>
                  <a:lnTo>
                    <a:pt x="2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86"/>
            <p:cNvSpPr>
              <a:spLocks/>
            </p:cNvSpPr>
            <p:nvPr/>
          </p:nvSpPr>
          <p:spPr bwMode="auto">
            <a:xfrm>
              <a:off x="5667375" y="1492250"/>
              <a:ext cx="25400" cy="85725"/>
            </a:xfrm>
            <a:custGeom>
              <a:avLst/>
              <a:gdLst>
                <a:gd name="T0" fmla="*/ 23 w 80"/>
                <a:gd name="T1" fmla="*/ 2 h 271"/>
                <a:gd name="T2" fmla="*/ 18 w 80"/>
                <a:gd name="T3" fmla="*/ 0 h 271"/>
                <a:gd name="T4" fmla="*/ 13 w 80"/>
                <a:gd name="T5" fmla="*/ 0 h 271"/>
                <a:gd name="T6" fmla="*/ 7 w 80"/>
                <a:gd name="T7" fmla="*/ 2 h 271"/>
                <a:gd name="T8" fmla="*/ 3 w 80"/>
                <a:gd name="T9" fmla="*/ 6 h 271"/>
                <a:gd name="T10" fmla="*/ 1 w 80"/>
                <a:gd name="T11" fmla="*/ 12 h 271"/>
                <a:gd name="T12" fmla="*/ 1 w 80"/>
                <a:gd name="T13" fmla="*/ 18 h 271"/>
                <a:gd name="T14" fmla="*/ 3 w 80"/>
                <a:gd name="T15" fmla="*/ 23 h 271"/>
                <a:gd name="T16" fmla="*/ 15 w 80"/>
                <a:gd name="T17" fmla="*/ 36 h 271"/>
                <a:gd name="T18" fmla="*/ 32 w 80"/>
                <a:gd name="T19" fmla="*/ 62 h 271"/>
                <a:gd name="T20" fmla="*/ 44 w 80"/>
                <a:gd name="T21" fmla="*/ 90 h 271"/>
                <a:gd name="T22" fmla="*/ 49 w 80"/>
                <a:gd name="T23" fmla="*/ 120 h 271"/>
                <a:gd name="T24" fmla="*/ 49 w 80"/>
                <a:gd name="T25" fmla="*/ 151 h 271"/>
                <a:gd name="T26" fmla="*/ 44 w 80"/>
                <a:gd name="T27" fmla="*/ 181 h 271"/>
                <a:gd name="T28" fmla="*/ 32 w 80"/>
                <a:gd name="T29" fmla="*/ 209 h 271"/>
                <a:gd name="T30" fmla="*/ 15 w 80"/>
                <a:gd name="T31" fmla="*/ 235 h 271"/>
                <a:gd name="T32" fmla="*/ 3 w 80"/>
                <a:gd name="T33" fmla="*/ 248 h 271"/>
                <a:gd name="T34" fmla="*/ 1 w 80"/>
                <a:gd name="T35" fmla="*/ 253 h 271"/>
                <a:gd name="T36" fmla="*/ 1 w 80"/>
                <a:gd name="T37" fmla="*/ 259 h 271"/>
                <a:gd name="T38" fmla="*/ 3 w 80"/>
                <a:gd name="T39" fmla="*/ 265 h 271"/>
                <a:gd name="T40" fmla="*/ 7 w 80"/>
                <a:gd name="T41" fmla="*/ 269 h 271"/>
                <a:gd name="T42" fmla="*/ 13 w 80"/>
                <a:gd name="T43" fmla="*/ 271 h 271"/>
                <a:gd name="T44" fmla="*/ 18 w 80"/>
                <a:gd name="T45" fmla="*/ 271 h 271"/>
                <a:gd name="T46" fmla="*/ 23 w 80"/>
                <a:gd name="T47" fmla="*/ 269 h 271"/>
                <a:gd name="T48" fmla="*/ 38 w 80"/>
                <a:gd name="T49" fmla="*/ 253 h 271"/>
                <a:gd name="T50" fmla="*/ 59 w 80"/>
                <a:gd name="T51" fmla="*/ 223 h 271"/>
                <a:gd name="T52" fmla="*/ 73 w 80"/>
                <a:gd name="T53" fmla="*/ 190 h 271"/>
                <a:gd name="T54" fmla="*/ 79 w 80"/>
                <a:gd name="T55" fmla="*/ 154 h 271"/>
                <a:gd name="T56" fmla="*/ 79 w 80"/>
                <a:gd name="T57" fmla="*/ 117 h 271"/>
                <a:gd name="T58" fmla="*/ 73 w 80"/>
                <a:gd name="T59" fmla="*/ 81 h 271"/>
                <a:gd name="T60" fmla="*/ 59 w 80"/>
                <a:gd name="T61" fmla="*/ 48 h 271"/>
                <a:gd name="T62" fmla="*/ 38 w 80"/>
                <a:gd name="T63" fmla="*/ 1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271">
                  <a:moveTo>
                    <a:pt x="25" y="4"/>
                  </a:moveTo>
                  <a:lnTo>
                    <a:pt x="23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15" y="36"/>
                  </a:lnTo>
                  <a:lnTo>
                    <a:pt x="24" y="49"/>
                  </a:lnTo>
                  <a:lnTo>
                    <a:pt x="32" y="62"/>
                  </a:lnTo>
                  <a:lnTo>
                    <a:pt x="38" y="76"/>
                  </a:lnTo>
                  <a:lnTo>
                    <a:pt x="44" y="90"/>
                  </a:lnTo>
                  <a:lnTo>
                    <a:pt x="47" y="105"/>
                  </a:lnTo>
                  <a:lnTo>
                    <a:pt x="49" y="120"/>
                  </a:lnTo>
                  <a:lnTo>
                    <a:pt x="50" y="135"/>
                  </a:lnTo>
                  <a:lnTo>
                    <a:pt x="49" y="151"/>
                  </a:lnTo>
                  <a:lnTo>
                    <a:pt x="47" y="166"/>
                  </a:lnTo>
                  <a:lnTo>
                    <a:pt x="44" y="181"/>
                  </a:lnTo>
                  <a:lnTo>
                    <a:pt x="38" y="195"/>
                  </a:lnTo>
                  <a:lnTo>
                    <a:pt x="32" y="209"/>
                  </a:lnTo>
                  <a:lnTo>
                    <a:pt x="24" y="222"/>
                  </a:lnTo>
                  <a:lnTo>
                    <a:pt x="15" y="235"/>
                  </a:lnTo>
                  <a:lnTo>
                    <a:pt x="4" y="245"/>
                  </a:lnTo>
                  <a:lnTo>
                    <a:pt x="3" y="248"/>
                  </a:lnTo>
                  <a:lnTo>
                    <a:pt x="1" y="251"/>
                  </a:lnTo>
                  <a:lnTo>
                    <a:pt x="1" y="253"/>
                  </a:lnTo>
                  <a:lnTo>
                    <a:pt x="0" y="256"/>
                  </a:lnTo>
                  <a:lnTo>
                    <a:pt x="1" y="259"/>
                  </a:lnTo>
                  <a:lnTo>
                    <a:pt x="1" y="262"/>
                  </a:lnTo>
                  <a:lnTo>
                    <a:pt x="3" y="265"/>
                  </a:lnTo>
                  <a:lnTo>
                    <a:pt x="4" y="267"/>
                  </a:lnTo>
                  <a:lnTo>
                    <a:pt x="7" y="269"/>
                  </a:lnTo>
                  <a:lnTo>
                    <a:pt x="9" y="270"/>
                  </a:lnTo>
                  <a:lnTo>
                    <a:pt x="13" y="271"/>
                  </a:lnTo>
                  <a:lnTo>
                    <a:pt x="15" y="271"/>
                  </a:lnTo>
                  <a:lnTo>
                    <a:pt x="18" y="271"/>
                  </a:lnTo>
                  <a:lnTo>
                    <a:pt x="21" y="270"/>
                  </a:lnTo>
                  <a:lnTo>
                    <a:pt x="23" y="269"/>
                  </a:lnTo>
                  <a:lnTo>
                    <a:pt x="25" y="267"/>
                  </a:lnTo>
                  <a:lnTo>
                    <a:pt x="38" y="253"/>
                  </a:lnTo>
                  <a:lnTo>
                    <a:pt x="49" y="239"/>
                  </a:lnTo>
                  <a:lnTo>
                    <a:pt x="59" y="223"/>
                  </a:lnTo>
                  <a:lnTo>
                    <a:pt x="66" y="207"/>
                  </a:lnTo>
                  <a:lnTo>
                    <a:pt x="73" y="190"/>
                  </a:lnTo>
                  <a:lnTo>
                    <a:pt x="77" y="173"/>
                  </a:lnTo>
                  <a:lnTo>
                    <a:pt x="79" y="154"/>
                  </a:lnTo>
                  <a:lnTo>
                    <a:pt x="80" y="135"/>
                  </a:lnTo>
                  <a:lnTo>
                    <a:pt x="79" y="117"/>
                  </a:lnTo>
                  <a:lnTo>
                    <a:pt x="77" y="99"/>
                  </a:lnTo>
                  <a:lnTo>
                    <a:pt x="73" y="81"/>
                  </a:lnTo>
                  <a:lnTo>
                    <a:pt x="66" y="64"/>
                  </a:lnTo>
                  <a:lnTo>
                    <a:pt x="59" y="48"/>
                  </a:lnTo>
                  <a:lnTo>
                    <a:pt x="49" y="32"/>
                  </a:lnTo>
                  <a:lnTo>
                    <a:pt x="38" y="18"/>
                  </a:lnTo>
                  <a:lnTo>
                    <a:pt x="25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87"/>
            <p:cNvSpPr>
              <a:spLocks noEditPoints="1"/>
            </p:cNvSpPr>
            <p:nvPr/>
          </p:nvSpPr>
          <p:spPr bwMode="auto">
            <a:xfrm>
              <a:off x="5465763" y="1385888"/>
              <a:ext cx="182563" cy="249238"/>
            </a:xfrm>
            <a:custGeom>
              <a:avLst/>
              <a:gdLst>
                <a:gd name="T0" fmla="*/ 151 w 572"/>
                <a:gd name="T1" fmla="*/ 404 h 783"/>
                <a:gd name="T2" fmla="*/ 153 w 572"/>
                <a:gd name="T3" fmla="*/ 398 h 783"/>
                <a:gd name="T4" fmla="*/ 157 w 572"/>
                <a:gd name="T5" fmla="*/ 394 h 783"/>
                <a:gd name="T6" fmla="*/ 162 w 572"/>
                <a:gd name="T7" fmla="*/ 392 h 783"/>
                <a:gd name="T8" fmla="*/ 251 w 572"/>
                <a:gd name="T9" fmla="*/ 392 h 783"/>
                <a:gd name="T10" fmla="*/ 400 w 572"/>
                <a:gd name="T11" fmla="*/ 273 h 783"/>
                <a:gd name="T12" fmla="*/ 409 w 572"/>
                <a:gd name="T13" fmla="*/ 272 h 783"/>
                <a:gd name="T14" fmla="*/ 416 w 572"/>
                <a:gd name="T15" fmla="*/ 275 h 783"/>
                <a:gd name="T16" fmla="*/ 420 w 572"/>
                <a:gd name="T17" fmla="*/ 282 h 783"/>
                <a:gd name="T18" fmla="*/ 421 w 572"/>
                <a:gd name="T19" fmla="*/ 647 h 783"/>
                <a:gd name="T20" fmla="*/ 419 w 572"/>
                <a:gd name="T21" fmla="*/ 656 h 783"/>
                <a:gd name="T22" fmla="*/ 413 w 572"/>
                <a:gd name="T23" fmla="*/ 661 h 783"/>
                <a:gd name="T24" fmla="*/ 406 w 572"/>
                <a:gd name="T25" fmla="*/ 662 h 783"/>
                <a:gd name="T26" fmla="*/ 397 w 572"/>
                <a:gd name="T27" fmla="*/ 659 h 783"/>
                <a:gd name="T28" fmla="*/ 165 w 572"/>
                <a:gd name="T29" fmla="*/ 542 h 783"/>
                <a:gd name="T30" fmla="*/ 160 w 572"/>
                <a:gd name="T31" fmla="*/ 541 h 783"/>
                <a:gd name="T32" fmla="*/ 154 w 572"/>
                <a:gd name="T33" fmla="*/ 538 h 783"/>
                <a:gd name="T34" fmla="*/ 151 w 572"/>
                <a:gd name="T35" fmla="*/ 533 h 783"/>
                <a:gd name="T36" fmla="*/ 150 w 572"/>
                <a:gd name="T37" fmla="*/ 527 h 783"/>
                <a:gd name="T38" fmla="*/ 572 w 572"/>
                <a:gd name="T39" fmla="*/ 15 h 783"/>
                <a:gd name="T40" fmla="*/ 571 w 572"/>
                <a:gd name="T41" fmla="*/ 9 h 783"/>
                <a:gd name="T42" fmla="*/ 567 w 572"/>
                <a:gd name="T43" fmla="*/ 5 h 783"/>
                <a:gd name="T44" fmla="*/ 563 w 572"/>
                <a:gd name="T45" fmla="*/ 1 h 783"/>
                <a:gd name="T46" fmla="*/ 557 w 572"/>
                <a:gd name="T47" fmla="*/ 0 h 783"/>
                <a:gd name="T48" fmla="*/ 94 w 572"/>
                <a:gd name="T49" fmla="*/ 0 h 783"/>
                <a:gd name="T50" fmla="*/ 74 w 572"/>
                <a:gd name="T51" fmla="*/ 5 h 783"/>
                <a:gd name="T52" fmla="*/ 55 w 572"/>
                <a:gd name="T53" fmla="*/ 13 h 783"/>
                <a:gd name="T54" fmla="*/ 39 w 572"/>
                <a:gd name="T55" fmla="*/ 24 h 783"/>
                <a:gd name="T56" fmla="*/ 24 w 572"/>
                <a:gd name="T57" fmla="*/ 39 h 783"/>
                <a:gd name="T58" fmla="*/ 13 w 572"/>
                <a:gd name="T59" fmla="*/ 55 h 783"/>
                <a:gd name="T60" fmla="*/ 4 w 572"/>
                <a:gd name="T61" fmla="*/ 74 h 783"/>
                <a:gd name="T62" fmla="*/ 0 w 572"/>
                <a:gd name="T63" fmla="*/ 95 h 783"/>
                <a:gd name="T64" fmla="*/ 0 w 572"/>
                <a:gd name="T65" fmla="*/ 692 h 783"/>
                <a:gd name="T66" fmla="*/ 2 w 572"/>
                <a:gd name="T67" fmla="*/ 711 h 783"/>
                <a:gd name="T68" fmla="*/ 6 w 572"/>
                <a:gd name="T69" fmla="*/ 728 h 783"/>
                <a:gd name="T70" fmla="*/ 15 w 572"/>
                <a:gd name="T71" fmla="*/ 744 h 783"/>
                <a:gd name="T72" fmla="*/ 26 w 572"/>
                <a:gd name="T73" fmla="*/ 757 h 783"/>
                <a:gd name="T74" fmla="*/ 40 w 572"/>
                <a:gd name="T75" fmla="*/ 767 h 783"/>
                <a:gd name="T76" fmla="*/ 55 w 572"/>
                <a:gd name="T77" fmla="*/ 776 h 783"/>
                <a:gd name="T78" fmla="*/ 72 w 572"/>
                <a:gd name="T79" fmla="*/ 781 h 783"/>
                <a:gd name="T80" fmla="*/ 90 w 572"/>
                <a:gd name="T81" fmla="*/ 783 h 783"/>
                <a:gd name="T82" fmla="*/ 572 w 572"/>
                <a:gd name="T83" fmla="*/ 181 h 783"/>
                <a:gd name="T84" fmla="*/ 98 w 572"/>
                <a:gd name="T85" fmla="*/ 181 h 783"/>
                <a:gd name="T86" fmla="*/ 83 w 572"/>
                <a:gd name="T87" fmla="*/ 177 h 783"/>
                <a:gd name="T88" fmla="*/ 70 w 572"/>
                <a:gd name="T89" fmla="*/ 172 h 783"/>
                <a:gd name="T90" fmla="*/ 58 w 572"/>
                <a:gd name="T91" fmla="*/ 163 h 783"/>
                <a:gd name="T92" fmla="*/ 47 w 572"/>
                <a:gd name="T93" fmla="*/ 154 h 783"/>
                <a:gd name="T94" fmla="*/ 39 w 572"/>
                <a:gd name="T95" fmla="*/ 141 h 783"/>
                <a:gd name="T96" fmla="*/ 33 w 572"/>
                <a:gd name="T97" fmla="*/ 128 h 783"/>
                <a:gd name="T98" fmla="*/ 30 w 572"/>
                <a:gd name="T99" fmla="*/ 113 h 783"/>
                <a:gd name="T100" fmla="*/ 30 w 572"/>
                <a:gd name="T101" fmla="*/ 98 h 783"/>
                <a:gd name="T102" fmla="*/ 33 w 572"/>
                <a:gd name="T103" fmla="*/ 83 h 783"/>
                <a:gd name="T104" fmla="*/ 39 w 572"/>
                <a:gd name="T105" fmla="*/ 70 h 783"/>
                <a:gd name="T106" fmla="*/ 47 w 572"/>
                <a:gd name="T107" fmla="*/ 57 h 783"/>
                <a:gd name="T108" fmla="*/ 58 w 572"/>
                <a:gd name="T109" fmla="*/ 48 h 783"/>
                <a:gd name="T110" fmla="*/ 70 w 572"/>
                <a:gd name="T111" fmla="*/ 39 h 783"/>
                <a:gd name="T112" fmla="*/ 83 w 572"/>
                <a:gd name="T113" fmla="*/ 34 h 783"/>
                <a:gd name="T114" fmla="*/ 98 w 572"/>
                <a:gd name="T115" fmla="*/ 30 h 783"/>
                <a:gd name="T116" fmla="*/ 557 w 572"/>
                <a:gd name="T117" fmla="*/ 30 h 783"/>
                <a:gd name="T118" fmla="*/ 563 w 572"/>
                <a:gd name="T119" fmla="*/ 29 h 783"/>
                <a:gd name="T120" fmla="*/ 567 w 572"/>
                <a:gd name="T121" fmla="*/ 26 h 783"/>
                <a:gd name="T122" fmla="*/ 571 w 572"/>
                <a:gd name="T123" fmla="*/ 21 h 783"/>
                <a:gd name="T124" fmla="*/ 572 w 572"/>
                <a:gd name="T125" fmla="*/ 15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2" h="783">
                  <a:moveTo>
                    <a:pt x="150" y="407"/>
                  </a:moveTo>
                  <a:lnTo>
                    <a:pt x="151" y="404"/>
                  </a:lnTo>
                  <a:lnTo>
                    <a:pt x="151" y="400"/>
                  </a:lnTo>
                  <a:lnTo>
                    <a:pt x="153" y="398"/>
                  </a:lnTo>
                  <a:lnTo>
                    <a:pt x="154" y="396"/>
                  </a:lnTo>
                  <a:lnTo>
                    <a:pt x="157" y="394"/>
                  </a:lnTo>
                  <a:lnTo>
                    <a:pt x="160" y="393"/>
                  </a:lnTo>
                  <a:lnTo>
                    <a:pt x="162" y="392"/>
                  </a:lnTo>
                  <a:lnTo>
                    <a:pt x="165" y="392"/>
                  </a:lnTo>
                  <a:lnTo>
                    <a:pt x="251" y="392"/>
                  </a:lnTo>
                  <a:lnTo>
                    <a:pt x="397" y="275"/>
                  </a:lnTo>
                  <a:lnTo>
                    <a:pt x="400" y="273"/>
                  </a:lnTo>
                  <a:lnTo>
                    <a:pt x="404" y="272"/>
                  </a:lnTo>
                  <a:lnTo>
                    <a:pt x="409" y="272"/>
                  </a:lnTo>
                  <a:lnTo>
                    <a:pt x="413" y="273"/>
                  </a:lnTo>
                  <a:lnTo>
                    <a:pt x="416" y="275"/>
                  </a:lnTo>
                  <a:lnTo>
                    <a:pt x="419" y="278"/>
                  </a:lnTo>
                  <a:lnTo>
                    <a:pt x="420" y="282"/>
                  </a:lnTo>
                  <a:lnTo>
                    <a:pt x="421" y="287"/>
                  </a:lnTo>
                  <a:lnTo>
                    <a:pt x="421" y="647"/>
                  </a:lnTo>
                  <a:lnTo>
                    <a:pt x="420" y="651"/>
                  </a:lnTo>
                  <a:lnTo>
                    <a:pt x="419" y="656"/>
                  </a:lnTo>
                  <a:lnTo>
                    <a:pt x="416" y="659"/>
                  </a:lnTo>
                  <a:lnTo>
                    <a:pt x="413" y="661"/>
                  </a:lnTo>
                  <a:lnTo>
                    <a:pt x="410" y="662"/>
                  </a:lnTo>
                  <a:lnTo>
                    <a:pt x="406" y="662"/>
                  </a:lnTo>
                  <a:lnTo>
                    <a:pt x="401" y="662"/>
                  </a:lnTo>
                  <a:lnTo>
                    <a:pt x="397" y="659"/>
                  </a:lnTo>
                  <a:lnTo>
                    <a:pt x="251" y="542"/>
                  </a:lnTo>
                  <a:lnTo>
                    <a:pt x="165" y="542"/>
                  </a:lnTo>
                  <a:lnTo>
                    <a:pt x="162" y="542"/>
                  </a:lnTo>
                  <a:lnTo>
                    <a:pt x="160" y="541"/>
                  </a:lnTo>
                  <a:lnTo>
                    <a:pt x="157" y="540"/>
                  </a:lnTo>
                  <a:lnTo>
                    <a:pt x="154" y="538"/>
                  </a:lnTo>
                  <a:lnTo>
                    <a:pt x="153" y="536"/>
                  </a:lnTo>
                  <a:lnTo>
                    <a:pt x="151" y="533"/>
                  </a:lnTo>
                  <a:lnTo>
                    <a:pt x="151" y="530"/>
                  </a:lnTo>
                  <a:lnTo>
                    <a:pt x="150" y="527"/>
                  </a:lnTo>
                  <a:lnTo>
                    <a:pt x="150" y="407"/>
                  </a:lnTo>
                  <a:close/>
                  <a:moveTo>
                    <a:pt x="572" y="15"/>
                  </a:moveTo>
                  <a:lnTo>
                    <a:pt x="572" y="12"/>
                  </a:lnTo>
                  <a:lnTo>
                    <a:pt x="571" y="9"/>
                  </a:lnTo>
                  <a:lnTo>
                    <a:pt x="569" y="7"/>
                  </a:lnTo>
                  <a:lnTo>
                    <a:pt x="567" y="5"/>
                  </a:lnTo>
                  <a:lnTo>
                    <a:pt x="565" y="2"/>
                  </a:lnTo>
                  <a:lnTo>
                    <a:pt x="563" y="1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105" y="0"/>
                  </a:lnTo>
                  <a:lnTo>
                    <a:pt x="94" y="0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39" y="24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6"/>
                  </a:lnTo>
                  <a:lnTo>
                    <a:pt x="13" y="55"/>
                  </a:lnTo>
                  <a:lnTo>
                    <a:pt x="9" y="65"/>
                  </a:lnTo>
                  <a:lnTo>
                    <a:pt x="4" y="74"/>
                  </a:lnTo>
                  <a:lnTo>
                    <a:pt x="2" y="84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2" y="711"/>
                  </a:lnTo>
                  <a:lnTo>
                    <a:pt x="4" y="720"/>
                  </a:lnTo>
                  <a:lnTo>
                    <a:pt x="6" y="728"/>
                  </a:lnTo>
                  <a:lnTo>
                    <a:pt x="11" y="736"/>
                  </a:lnTo>
                  <a:lnTo>
                    <a:pt x="15" y="744"/>
                  </a:lnTo>
                  <a:lnTo>
                    <a:pt x="20" y="750"/>
                  </a:lnTo>
                  <a:lnTo>
                    <a:pt x="26" y="757"/>
                  </a:lnTo>
                  <a:lnTo>
                    <a:pt x="32" y="763"/>
                  </a:lnTo>
                  <a:lnTo>
                    <a:pt x="40" y="767"/>
                  </a:lnTo>
                  <a:lnTo>
                    <a:pt x="47" y="773"/>
                  </a:lnTo>
                  <a:lnTo>
                    <a:pt x="55" y="776"/>
                  </a:lnTo>
                  <a:lnTo>
                    <a:pt x="63" y="779"/>
                  </a:lnTo>
                  <a:lnTo>
                    <a:pt x="72" y="781"/>
                  </a:lnTo>
                  <a:lnTo>
                    <a:pt x="80" y="782"/>
                  </a:lnTo>
                  <a:lnTo>
                    <a:pt x="90" y="783"/>
                  </a:lnTo>
                  <a:lnTo>
                    <a:pt x="572" y="783"/>
                  </a:lnTo>
                  <a:lnTo>
                    <a:pt x="572" y="181"/>
                  </a:lnTo>
                  <a:lnTo>
                    <a:pt x="105" y="181"/>
                  </a:lnTo>
                  <a:lnTo>
                    <a:pt x="98" y="181"/>
                  </a:lnTo>
                  <a:lnTo>
                    <a:pt x="90" y="179"/>
                  </a:lnTo>
                  <a:lnTo>
                    <a:pt x="83" y="177"/>
                  </a:lnTo>
                  <a:lnTo>
                    <a:pt x="76" y="175"/>
                  </a:lnTo>
                  <a:lnTo>
                    <a:pt x="70" y="172"/>
                  </a:lnTo>
                  <a:lnTo>
                    <a:pt x="63" y="168"/>
                  </a:lnTo>
                  <a:lnTo>
                    <a:pt x="58" y="163"/>
                  </a:lnTo>
                  <a:lnTo>
                    <a:pt x="53" y="159"/>
                  </a:lnTo>
                  <a:lnTo>
                    <a:pt x="47" y="154"/>
                  </a:lnTo>
                  <a:lnTo>
                    <a:pt x="43" y="147"/>
                  </a:lnTo>
                  <a:lnTo>
                    <a:pt x="39" y="141"/>
                  </a:lnTo>
                  <a:lnTo>
                    <a:pt x="35" y="134"/>
                  </a:lnTo>
                  <a:lnTo>
                    <a:pt x="33" y="128"/>
                  </a:lnTo>
                  <a:lnTo>
                    <a:pt x="31" y="120"/>
                  </a:lnTo>
                  <a:lnTo>
                    <a:pt x="30" y="113"/>
                  </a:lnTo>
                  <a:lnTo>
                    <a:pt x="30" y="105"/>
                  </a:lnTo>
                  <a:lnTo>
                    <a:pt x="30" y="98"/>
                  </a:lnTo>
                  <a:lnTo>
                    <a:pt x="31" y="90"/>
                  </a:lnTo>
                  <a:lnTo>
                    <a:pt x="33" y="83"/>
                  </a:lnTo>
                  <a:lnTo>
                    <a:pt x="35" y="77"/>
                  </a:lnTo>
                  <a:lnTo>
                    <a:pt x="39" y="70"/>
                  </a:lnTo>
                  <a:lnTo>
                    <a:pt x="43" y="64"/>
                  </a:lnTo>
                  <a:lnTo>
                    <a:pt x="47" y="57"/>
                  </a:lnTo>
                  <a:lnTo>
                    <a:pt x="53" y="52"/>
                  </a:lnTo>
                  <a:lnTo>
                    <a:pt x="58" y="48"/>
                  </a:lnTo>
                  <a:lnTo>
                    <a:pt x="63" y="43"/>
                  </a:lnTo>
                  <a:lnTo>
                    <a:pt x="70" y="39"/>
                  </a:lnTo>
                  <a:lnTo>
                    <a:pt x="76" y="36"/>
                  </a:lnTo>
                  <a:lnTo>
                    <a:pt x="83" y="34"/>
                  </a:lnTo>
                  <a:lnTo>
                    <a:pt x="90" y="31"/>
                  </a:lnTo>
                  <a:lnTo>
                    <a:pt x="98" y="30"/>
                  </a:lnTo>
                  <a:lnTo>
                    <a:pt x="105" y="30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563" y="29"/>
                  </a:lnTo>
                  <a:lnTo>
                    <a:pt x="565" y="28"/>
                  </a:lnTo>
                  <a:lnTo>
                    <a:pt x="567" y="26"/>
                  </a:lnTo>
                  <a:lnTo>
                    <a:pt x="569" y="24"/>
                  </a:lnTo>
                  <a:lnTo>
                    <a:pt x="571" y="21"/>
                  </a:lnTo>
                  <a:lnTo>
                    <a:pt x="572" y="19"/>
                  </a:lnTo>
                  <a:lnTo>
                    <a:pt x="57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0" name="Freeform 2972"/>
          <p:cNvSpPr>
            <a:spLocks noEditPoints="1"/>
          </p:cNvSpPr>
          <p:nvPr/>
        </p:nvSpPr>
        <p:spPr bwMode="auto">
          <a:xfrm>
            <a:off x="1562873" y="4233087"/>
            <a:ext cx="424394" cy="398312"/>
          </a:xfrm>
          <a:custGeom>
            <a:avLst/>
            <a:gdLst>
              <a:gd name="T0" fmla="*/ 373 w 719"/>
              <a:gd name="T1" fmla="*/ 471 h 671"/>
              <a:gd name="T2" fmla="*/ 314 w 719"/>
              <a:gd name="T3" fmla="*/ 424 h 671"/>
              <a:gd name="T4" fmla="*/ 241 w 719"/>
              <a:gd name="T5" fmla="*/ 344 h 671"/>
              <a:gd name="T6" fmla="*/ 206 w 719"/>
              <a:gd name="T7" fmla="*/ 281 h 671"/>
              <a:gd name="T8" fmla="*/ 204 w 719"/>
              <a:gd name="T9" fmla="*/ 244 h 671"/>
              <a:gd name="T10" fmla="*/ 215 w 719"/>
              <a:gd name="T11" fmla="*/ 206 h 671"/>
              <a:gd name="T12" fmla="*/ 237 w 719"/>
              <a:gd name="T13" fmla="*/ 177 h 671"/>
              <a:gd name="T14" fmla="*/ 267 w 719"/>
              <a:gd name="T15" fmla="*/ 161 h 671"/>
              <a:gd name="T16" fmla="*/ 303 w 719"/>
              <a:gd name="T17" fmla="*/ 158 h 671"/>
              <a:gd name="T18" fmla="*/ 348 w 719"/>
              <a:gd name="T19" fmla="*/ 182 h 671"/>
              <a:gd name="T20" fmla="*/ 372 w 719"/>
              <a:gd name="T21" fmla="*/ 215 h 671"/>
              <a:gd name="T22" fmla="*/ 387 w 719"/>
              <a:gd name="T23" fmla="*/ 200 h 671"/>
              <a:gd name="T24" fmla="*/ 424 w 719"/>
              <a:gd name="T25" fmla="*/ 166 h 671"/>
              <a:gd name="T26" fmla="*/ 467 w 719"/>
              <a:gd name="T27" fmla="*/ 158 h 671"/>
              <a:gd name="T28" fmla="*/ 499 w 719"/>
              <a:gd name="T29" fmla="*/ 168 h 671"/>
              <a:gd name="T30" fmla="*/ 525 w 719"/>
              <a:gd name="T31" fmla="*/ 191 h 671"/>
              <a:gd name="T32" fmla="*/ 543 w 719"/>
              <a:gd name="T33" fmla="*/ 224 h 671"/>
              <a:gd name="T34" fmla="*/ 546 w 719"/>
              <a:gd name="T35" fmla="*/ 264 h 671"/>
              <a:gd name="T36" fmla="*/ 532 w 719"/>
              <a:gd name="T37" fmla="*/ 308 h 671"/>
              <a:gd name="T38" fmla="*/ 481 w 719"/>
              <a:gd name="T39" fmla="*/ 378 h 671"/>
              <a:gd name="T40" fmla="*/ 388 w 719"/>
              <a:gd name="T41" fmla="*/ 463 h 671"/>
              <a:gd name="T42" fmla="*/ 342 w 719"/>
              <a:gd name="T43" fmla="*/ 0 h 671"/>
              <a:gd name="T44" fmla="*/ 270 w 719"/>
              <a:gd name="T45" fmla="*/ 10 h 671"/>
              <a:gd name="T46" fmla="*/ 204 w 719"/>
              <a:gd name="T47" fmla="*/ 30 h 671"/>
              <a:gd name="T48" fmla="*/ 144 w 719"/>
              <a:gd name="T49" fmla="*/ 60 h 671"/>
              <a:gd name="T50" fmla="*/ 94 w 719"/>
              <a:gd name="T51" fmla="*/ 98 h 671"/>
              <a:gd name="T52" fmla="*/ 53 w 719"/>
              <a:gd name="T53" fmla="*/ 143 h 671"/>
              <a:gd name="T54" fmla="*/ 22 w 719"/>
              <a:gd name="T55" fmla="*/ 194 h 671"/>
              <a:gd name="T56" fmla="*/ 5 w 719"/>
              <a:gd name="T57" fmla="*/ 251 h 671"/>
              <a:gd name="T58" fmla="*/ 0 w 719"/>
              <a:gd name="T59" fmla="*/ 311 h 671"/>
              <a:gd name="T60" fmla="*/ 11 w 719"/>
              <a:gd name="T61" fmla="*/ 367 h 671"/>
              <a:gd name="T62" fmla="*/ 34 w 719"/>
              <a:gd name="T63" fmla="*/ 420 h 671"/>
              <a:gd name="T64" fmla="*/ 68 w 719"/>
              <a:gd name="T65" fmla="*/ 469 h 671"/>
              <a:gd name="T66" fmla="*/ 25 w 719"/>
              <a:gd name="T67" fmla="*/ 653 h 671"/>
              <a:gd name="T68" fmla="*/ 28 w 719"/>
              <a:gd name="T69" fmla="*/ 667 h 671"/>
              <a:gd name="T70" fmla="*/ 42 w 719"/>
              <a:gd name="T71" fmla="*/ 670 h 671"/>
              <a:gd name="T72" fmla="*/ 329 w 719"/>
              <a:gd name="T73" fmla="*/ 590 h 671"/>
              <a:gd name="T74" fmla="*/ 414 w 719"/>
              <a:gd name="T75" fmla="*/ 588 h 671"/>
              <a:gd name="T76" fmla="*/ 483 w 719"/>
              <a:gd name="T77" fmla="*/ 574 h 671"/>
              <a:gd name="T78" fmla="*/ 546 w 719"/>
              <a:gd name="T79" fmla="*/ 549 h 671"/>
              <a:gd name="T80" fmla="*/ 601 w 719"/>
              <a:gd name="T81" fmla="*/ 514 h 671"/>
              <a:gd name="T82" fmla="*/ 648 w 719"/>
              <a:gd name="T83" fmla="*/ 472 h 671"/>
              <a:gd name="T84" fmla="*/ 683 w 719"/>
              <a:gd name="T85" fmla="*/ 424 h 671"/>
              <a:gd name="T86" fmla="*/ 708 w 719"/>
              <a:gd name="T87" fmla="*/ 369 h 671"/>
              <a:gd name="T88" fmla="*/ 719 w 719"/>
              <a:gd name="T89" fmla="*/ 311 h 671"/>
              <a:gd name="T90" fmla="*/ 715 w 719"/>
              <a:gd name="T91" fmla="*/ 251 h 671"/>
              <a:gd name="T92" fmla="*/ 698 w 719"/>
              <a:gd name="T93" fmla="*/ 194 h 671"/>
              <a:gd name="T94" fmla="*/ 667 w 719"/>
              <a:gd name="T95" fmla="*/ 143 h 671"/>
              <a:gd name="T96" fmla="*/ 626 w 719"/>
              <a:gd name="T97" fmla="*/ 98 h 671"/>
              <a:gd name="T98" fmla="*/ 575 w 719"/>
              <a:gd name="T99" fmla="*/ 60 h 671"/>
              <a:gd name="T100" fmla="*/ 516 w 719"/>
              <a:gd name="T101" fmla="*/ 30 h 671"/>
              <a:gd name="T102" fmla="*/ 450 w 719"/>
              <a:gd name="T103" fmla="*/ 10 h 671"/>
              <a:gd name="T104" fmla="*/ 379 w 719"/>
              <a:gd name="T105" fmla="*/ 1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19" h="671">
                <a:moveTo>
                  <a:pt x="379" y="470"/>
                </a:moveTo>
                <a:lnTo>
                  <a:pt x="376" y="471"/>
                </a:lnTo>
                <a:lnTo>
                  <a:pt x="375" y="471"/>
                </a:lnTo>
                <a:lnTo>
                  <a:pt x="373" y="471"/>
                </a:lnTo>
                <a:lnTo>
                  <a:pt x="372" y="470"/>
                </a:lnTo>
                <a:lnTo>
                  <a:pt x="362" y="463"/>
                </a:lnTo>
                <a:lnTo>
                  <a:pt x="342" y="447"/>
                </a:lnTo>
                <a:lnTo>
                  <a:pt x="314" y="424"/>
                </a:lnTo>
                <a:lnTo>
                  <a:pt x="285" y="395"/>
                </a:lnTo>
                <a:lnTo>
                  <a:pt x="269" y="378"/>
                </a:lnTo>
                <a:lnTo>
                  <a:pt x="254" y="362"/>
                </a:lnTo>
                <a:lnTo>
                  <a:pt x="241" y="344"/>
                </a:lnTo>
                <a:lnTo>
                  <a:pt x="228" y="326"/>
                </a:lnTo>
                <a:lnTo>
                  <a:pt x="218" y="308"/>
                </a:lnTo>
                <a:lnTo>
                  <a:pt x="210" y="290"/>
                </a:lnTo>
                <a:lnTo>
                  <a:pt x="206" y="281"/>
                </a:lnTo>
                <a:lnTo>
                  <a:pt x="205" y="273"/>
                </a:lnTo>
                <a:lnTo>
                  <a:pt x="204" y="264"/>
                </a:lnTo>
                <a:lnTo>
                  <a:pt x="203" y="255"/>
                </a:lnTo>
                <a:lnTo>
                  <a:pt x="204" y="244"/>
                </a:lnTo>
                <a:lnTo>
                  <a:pt x="205" y="233"/>
                </a:lnTo>
                <a:lnTo>
                  <a:pt x="207" y="224"/>
                </a:lnTo>
                <a:lnTo>
                  <a:pt x="211" y="214"/>
                </a:lnTo>
                <a:lnTo>
                  <a:pt x="215" y="206"/>
                </a:lnTo>
                <a:lnTo>
                  <a:pt x="219" y="198"/>
                </a:lnTo>
                <a:lnTo>
                  <a:pt x="225" y="191"/>
                </a:lnTo>
                <a:lnTo>
                  <a:pt x="231" y="183"/>
                </a:lnTo>
                <a:lnTo>
                  <a:pt x="237" y="177"/>
                </a:lnTo>
                <a:lnTo>
                  <a:pt x="244" y="173"/>
                </a:lnTo>
                <a:lnTo>
                  <a:pt x="251" y="168"/>
                </a:lnTo>
                <a:lnTo>
                  <a:pt x="259" y="164"/>
                </a:lnTo>
                <a:lnTo>
                  <a:pt x="267" y="161"/>
                </a:lnTo>
                <a:lnTo>
                  <a:pt x="275" y="160"/>
                </a:lnTo>
                <a:lnTo>
                  <a:pt x="282" y="158"/>
                </a:lnTo>
                <a:lnTo>
                  <a:pt x="291" y="157"/>
                </a:lnTo>
                <a:lnTo>
                  <a:pt x="303" y="158"/>
                </a:lnTo>
                <a:lnTo>
                  <a:pt x="314" y="161"/>
                </a:lnTo>
                <a:lnTo>
                  <a:pt x="326" y="166"/>
                </a:lnTo>
                <a:lnTo>
                  <a:pt x="337" y="173"/>
                </a:lnTo>
                <a:lnTo>
                  <a:pt x="348" y="182"/>
                </a:lnTo>
                <a:lnTo>
                  <a:pt x="359" y="193"/>
                </a:lnTo>
                <a:lnTo>
                  <a:pt x="363" y="200"/>
                </a:lnTo>
                <a:lnTo>
                  <a:pt x="367" y="207"/>
                </a:lnTo>
                <a:lnTo>
                  <a:pt x="372" y="215"/>
                </a:lnTo>
                <a:lnTo>
                  <a:pt x="375" y="224"/>
                </a:lnTo>
                <a:lnTo>
                  <a:pt x="379" y="215"/>
                </a:lnTo>
                <a:lnTo>
                  <a:pt x="382" y="207"/>
                </a:lnTo>
                <a:lnTo>
                  <a:pt x="387" y="200"/>
                </a:lnTo>
                <a:lnTo>
                  <a:pt x="392" y="193"/>
                </a:lnTo>
                <a:lnTo>
                  <a:pt x="401" y="182"/>
                </a:lnTo>
                <a:lnTo>
                  <a:pt x="412" y="173"/>
                </a:lnTo>
                <a:lnTo>
                  <a:pt x="424" y="166"/>
                </a:lnTo>
                <a:lnTo>
                  <a:pt x="436" y="161"/>
                </a:lnTo>
                <a:lnTo>
                  <a:pt x="448" y="158"/>
                </a:lnTo>
                <a:lnTo>
                  <a:pt x="458" y="157"/>
                </a:lnTo>
                <a:lnTo>
                  <a:pt x="467" y="158"/>
                </a:lnTo>
                <a:lnTo>
                  <a:pt x="475" y="160"/>
                </a:lnTo>
                <a:lnTo>
                  <a:pt x="483" y="161"/>
                </a:lnTo>
                <a:lnTo>
                  <a:pt x="491" y="164"/>
                </a:lnTo>
                <a:lnTo>
                  <a:pt x="499" y="168"/>
                </a:lnTo>
                <a:lnTo>
                  <a:pt x="506" y="173"/>
                </a:lnTo>
                <a:lnTo>
                  <a:pt x="513" y="177"/>
                </a:lnTo>
                <a:lnTo>
                  <a:pt x="519" y="183"/>
                </a:lnTo>
                <a:lnTo>
                  <a:pt x="525" y="191"/>
                </a:lnTo>
                <a:lnTo>
                  <a:pt x="531" y="198"/>
                </a:lnTo>
                <a:lnTo>
                  <a:pt x="536" y="206"/>
                </a:lnTo>
                <a:lnTo>
                  <a:pt x="539" y="214"/>
                </a:lnTo>
                <a:lnTo>
                  <a:pt x="543" y="224"/>
                </a:lnTo>
                <a:lnTo>
                  <a:pt x="545" y="233"/>
                </a:lnTo>
                <a:lnTo>
                  <a:pt x="546" y="244"/>
                </a:lnTo>
                <a:lnTo>
                  <a:pt x="546" y="255"/>
                </a:lnTo>
                <a:lnTo>
                  <a:pt x="546" y="264"/>
                </a:lnTo>
                <a:lnTo>
                  <a:pt x="545" y="273"/>
                </a:lnTo>
                <a:lnTo>
                  <a:pt x="543" y="281"/>
                </a:lnTo>
                <a:lnTo>
                  <a:pt x="541" y="290"/>
                </a:lnTo>
                <a:lnTo>
                  <a:pt x="532" y="308"/>
                </a:lnTo>
                <a:lnTo>
                  <a:pt x="521" y="326"/>
                </a:lnTo>
                <a:lnTo>
                  <a:pt x="510" y="344"/>
                </a:lnTo>
                <a:lnTo>
                  <a:pt x="495" y="362"/>
                </a:lnTo>
                <a:lnTo>
                  <a:pt x="481" y="378"/>
                </a:lnTo>
                <a:lnTo>
                  <a:pt x="466" y="395"/>
                </a:lnTo>
                <a:lnTo>
                  <a:pt x="435" y="424"/>
                </a:lnTo>
                <a:lnTo>
                  <a:pt x="407" y="447"/>
                </a:lnTo>
                <a:lnTo>
                  <a:pt x="388" y="463"/>
                </a:lnTo>
                <a:lnTo>
                  <a:pt x="379" y="470"/>
                </a:lnTo>
                <a:lnTo>
                  <a:pt x="379" y="470"/>
                </a:lnTo>
                <a:close/>
                <a:moveTo>
                  <a:pt x="360" y="0"/>
                </a:moveTo>
                <a:lnTo>
                  <a:pt x="342" y="0"/>
                </a:lnTo>
                <a:lnTo>
                  <a:pt x="323" y="1"/>
                </a:lnTo>
                <a:lnTo>
                  <a:pt x="305" y="4"/>
                </a:lnTo>
                <a:lnTo>
                  <a:pt x="287" y="6"/>
                </a:lnTo>
                <a:lnTo>
                  <a:pt x="270" y="10"/>
                </a:lnTo>
                <a:lnTo>
                  <a:pt x="253" y="13"/>
                </a:lnTo>
                <a:lnTo>
                  <a:pt x="236" y="18"/>
                </a:lnTo>
                <a:lnTo>
                  <a:pt x="221" y="24"/>
                </a:lnTo>
                <a:lnTo>
                  <a:pt x="204" y="30"/>
                </a:lnTo>
                <a:lnTo>
                  <a:pt x="188" y="36"/>
                </a:lnTo>
                <a:lnTo>
                  <a:pt x="174" y="43"/>
                </a:lnTo>
                <a:lnTo>
                  <a:pt x="159" y="51"/>
                </a:lnTo>
                <a:lnTo>
                  <a:pt x="144" y="60"/>
                </a:lnTo>
                <a:lnTo>
                  <a:pt x="131" y="68"/>
                </a:lnTo>
                <a:lnTo>
                  <a:pt x="118" y="78"/>
                </a:lnTo>
                <a:lnTo>
                  <a:pt x="106" y="87"/>
                </a:lnTo>
                <a:lnTo>
                  <a:pt x="94" y="98"/>
                </a:lnTo>
                <a:lnTo>
                  <a:pt x="83" y="108"/>
                </a:lnTo>
                <a:lnTo>
                  <a:pt x="72" y="119"/>
                </a:lnTo>
                <a:lnTo>
                  <a:pt x="62" y="131"/>
                </a:lnTo>
                <a:lnTo>
                  <a:pt x="53" y="143"/>
                </a:lnTo>
                <a:lnTo>
                  <a:pt x="44" y="155"/>
                </a:lnTo>
                <a:lnTo>
                  <a:pt x="36" y="168"/>
                </a:lnTo>
                <a:lnTo>
                  <a:pt x="29" y="181"/>
                </a:lnTo>
                <a:lnTo>
                  <a:pt x="22" y="194"/>
                </a:lnTo>
                <a:lnTo>
                  <a:pt x="17" y="208"/>
                </a:lnTo>
                <a:lnTo>
                  <a:pt x="12" y="223"/>
                </a:lnTo>
                <a:lnTo>
                  <a:pt x="8" y="237"/>
                </a:lnTo>
                <a:lnTo>
                  <a:pt x="5" y="251"/>
                </a:lnTo>
                <a:lnTo>
                  <a:pt x="3" y="265"/>
                </a:lnTo>
                <a:lnTo>
                  <a:pt x="0" y="281"/>
                </a:lnTo>
                <a:lnTo>
                  <a:pt x="0" y="296"/>
                </a:lnTo>
                <a:lnTo>
                  <a:pt x="0" y="311"/>
                </a:lnTo>
                <a:lnTo>
                  <a:pt x="2" y="325"/>
                </a:lnTo>
                <a:lnTo>
                  <a:pt x="4" y="339"/>
                </a:lnTo>
                <a:lnTo>
                  <a:pt x="8" y="352"/>
                </a:lnTo>
                <a:lnTo>
                  <a:pt x="11" y="367"/>
                </a:lnTo>
                <a:lnTo>
                  <a:pt x="15" y="381"/>
                </a:lnTo>
                <a:lnTo>
                  <a:pt x="21" y="394"/>
                </a:lnTo>
                <a:lnTo>
                  <a:pt x="27" y="407"/>
                </a:lnTo>
                <a:lnTo>
                  <a:pt x="34" y="420"/>
                </a:lnTo>
                <a:lnTo>
                  <a:pt x="41" y="432"/>
                </a:lnTo>
                <a:lnTo>
                  <a:pt x="49" y="445"/>
                </a:lnTo>
                <a:lnTo>
                  <a:pt x="59" y="457"/>
                </a:lnTo>
                <a:lnTo>
                  <a:pt x="68" y="469"/>
                </a:lnTo>
                <a:lnTo>
                  <a:pt x="79" y="480"/>
                </a:lnTo>
                <a:lnTo>
                  <a:pt x="90" y="490"/>
                </a:lnTo>
                <a:lnTo>
                  <a:pt x="102" y="501"/>
                </a:lnTo>
                <a:lnTo>
                  <a:pt x="25" y="653"/>
                </a:lnTo>
                <a:lnTo>
                  <a:pt x="24" y="657"/>
                </a:lnTo>
                <a:lnTo>
                  <a:pt x="24" y="662"/>
                </a:lnTo>
                <a:lnTo>
                  <a:pt x="25" y="665"/>
                </a:lnTo>
                <a:lnTo>
                  <a:pt x="28" y="667"/>
                </a:lnTo>
                <a:lnTo>
                  <a:pt x="31" y="670"/>
                </a:lnTo>
                <a:lnTo>
                  <a:pt x="36" y="671"/>
                </a:lnTo>
                <a:lnTo>
                  <a:pt x="39" y="671"/>
                </a:lnTo>
                <a:lnTo>
                  <a:pt x="42" y="670"/>
                </a:lnTo>
                <a:lnTo>
                  <a:pt x="240" y="574"/>
                </a:lnTo>
                <a:lnTo>
                  <a:pt x="268" y="582"/>
                </a:lnTo>
                <a:lnTo>
                  <a:pt x="299" y="587"/>
                </a:lnTo>
                <a:lnTo>
                  <a:pt x="329" y="590"/>
                </a:lnTo>
                <a:lnTo>
                  <a:pt x="360" y="591"/>
                </a:lnTo>
                <a:lnTo>
                  <a:pt x="379" y="590"/>
                </a:lnTo>
                <a:lnTo>
                  <a:pt x="397" y="590"/>
                </a:lnTo>
                <a:lnTo>
                  <a:pt x="414" y="588"/>
                </a:lnTo>
                <a:lnTo>
                  <a:pt x="432" y="585"/>
                </a:lnTo>
                <a:lnTo>
                  <a:pt x="450" y="582"/>
                </a:lnTo>
                <a:lnTo>
                  <a:pt x="467" y="578"/>
                </a:lnTo>
                <a:lnTo>
                  <a:pt x="483" y="574"/>
                </a:lnTo>
                <a:lnTo>
                  <a:pt x="500" y="568"/>
                </a:lnTo>
                <a:lnTo>
                  <a:pt x="516" y="562"/>
                </a:lnTo>
                <a:lnTo>
                  <a:pt x="531" y="556"/>
                </a:lnTo>
                <a:lnTo>
                  <a:pt x="546" y="549"/>
                </a:lnTo>
                <a:lnTo>
                  <a:pt x="561" y="540"/>
                </a:lnTo>
                <a:lnTo>
                  <a:pt x="575" y="532"/>
                </a:lnTo>
                <a:lnTo>
                  <a:pt x="588" y="524"/>
                </a:lnTo>
                <a:lnTo>
                  <a:pt x="601" y="514"/>
                </a:lnTo>
                <a:lnTo>
                  <a:pt x="614" y="505"/>
                </a:lnTo>
                <a:lnTo>
                  <a:pt x="626" y="494"/>
                </a:lnTo>
                <a:lnTo>
                  <a:pt x="637" y="483"/>
                </a:lnTo>
                <a:lnTo>
                  <a:pt x="648" y="472"/>
                </a:lnTo>
                <a:lnTo>
                  <a:pt x="658" y="461"/>
                </a:lnTo>
                <a:lnTo>
                  <a:pt x="667" y="449"/>
                </a:lnTo>
                <a:lnTo>
                  <a:pt x="676" y="437"/>
                </a:lnTo>
                <a:lnTo>
                  <a:pt x="683" y="424"/>
                </a:lnTo>
                <a:lnTo>
                  <a:pt x="690" y="411"/>
                </a:lnTo>
                <a:lnTo>
                  <a:pt x="698" y="397"/>
                </a:lnTo>
                <a:lnTo>
                  <a:pt x="703" y="383"/>
                </a:lnTo>
                <a:lnTo>
                  <a:pt x="708" y="369"/>
                </a:lnTo>
                <a:lnTo>
                  <a:pt x="712" y="355"/>
                </a:lnTo>
                <a:lnTo>
                  <a:pt x="715" y="340"/>
                </a:lnTo>
                <a:lnTo>
                  <a:pt x="718" y="326"/>
                </a:lnTo>
                <a:lnTo>
                  <a:pt x="719" y="311"/>
                </a:lnTo>
                <a:lnTo>
                  <a:pt x="719" y="296"/>
                </a:lnTo>
                <a:lnTo>
                  <a:pt x="719" y="281"/>
                </a:lnTo>
                <a:lnTo>
                  <a:pt x="718" y="265"/>
                </a:lnTo>
                <a:lnTo>
                  <a:pt x="715" y="251"/>
                </a:lnTo>
                <a:lnTo>
                  <a:pt x="712" y="237"/>
                </a:lnTo>
                <a:lnTo>
                  <a:pt x="708" y="223"/>
                </a:lnTo>
                <a:lnTo>
                  <a:pt x="703" y="208"/>
                </a:lnTo>
                <a:lnTo>
                  <a:pt x="698" y="194"/>
                </a:lnTo>
                <a:lnTo>
                  <a:pt x="690" y="181"/>
                </a:lnTo>
                <a:lnTo>
                  <a:pt x="683" y="168"/>
                </a:lnTo>
                <a:lnTo>
                  <a:pt x="676" y="155"/>
                </a:lnTo>
                <a:lnTo>
                  <a:pt x="667" y="143"/>
                </a:lnTo>
                <a:lnTo>
                  <a:pt x="658" y="131"/>
                </a:lnTo>
                <a:lnTo>
                  <a:pt x="648" y="119"/>
                </a:lnTo>
                <a:lnTo>
                  <a:pt x="637" y="108"/>
                </a:lnTo>
                <a:lnTo>
                  <a:pt x="626" y="98"/>
                </a:lnTo>
                <a:lnTo>
                  <a:pt x="614" y="87"/>
                </a:lnTo>
                <a:lnTo>
                  <a:pt x="601" y="78"/>
                </a:lnTo>
                <a:lnTo>
                  <a:pt x="588" y="68"/>
                </a:lnTo>
                <a:lnTo>
                  <a:pt x="575" y="60"/>
                </a:lnTo>
                <a:lnTo>
                  <a:pt x="561" y="51"/>
                </a:lnTo>
                <a:lnTo>
                  <a:pt x="546" y="43"/>
                </a:lnTo>
                <a:lnTo>
                  <a:pt x="531" y="36"/>
                </a:lnTo>
                <a:lnTo>
                  <a:pt x="516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3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1"/>
                </a:lnTo>
                <a:lnTo>
                  <a:pt x="360" y="0"/>
                </a:lnTo>
                <a:lnTo>
                  <a:pt x="360" y="0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1" name="Group 120"/>
          <p:cNvGrpSpPr/>
          <p:nvPr/>
        </p:nvGrpSpPr>
        <p:grpSpPr>
          <a:xfrm>
            <a:off x="6750360" y="4222417"/>
            <a:ext cx="419652" cy="419652"/>
            <a:chOff x="6445250" y="2535238"/>
            <a:chExt cx="280988" cy="280988"/>
          </a:xfrm>
          <a:solidFill>
            <a:srgbClr val="125680"/>
          </a:solidFill>
          <a:effectLst/>
        </p:grpSpPr>
        <p:sp>
          <p:nvSpPr>
            <p:cNvPr id="122" name="Freeform 2270"/>
            <p:cNvSpPr>
              <a:spLocks/>
            </p:cNvSpPr>
            <p:nvPr/>
          </p:nvSpPr>
          <p:spPr bwMode="auto">
            <a:xfrm>
              <a:off x="6538913" y="2630488"/>
              <a:ext cx="93663" cy="173038"/>
            </a:xfrm>
            <a:custGeom>
              <a:avLst/>
              <a:gdLst>
                <a:gd name="T0" fmla="*/ 0 w 292"/>
                <a:gd name="T1" fmla="*/ 0 h 543"/>
                <a:gd name="T2" fmla="*/ 147 w 292"/>
                <a:gd name="T3" fmla="*/ 543 h 543"/>
                <a:gd name="T4" fmla="*/ 292 w 292"/>
                <a:gd name="T5" fmla="*/ 0 h 543"/>
                <a:gd name="T6" fmla="*/ 0 w 292"/>
                <a:gd name="T7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2" h="543">
                  <a:moveTo>
                    <a:pt x="0" y="0"/>
                  </a:moveTo>
                  <a:lnTo>
                    <a:pt x="147" y="543"/>
                  </a:lnTo>
                  <a:lnTo>
                    <a:pt x="29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271"/>
            <p:cNvSpPr>
              <a:spLocks/>
            </p:cNvSpPr>
            <p:nvPr/>
          </p:nvSpPr>
          <p:spPr bwMode="auto">
            <a:xfrm>
              <a:off x="6542088" y="2544763"/>
              <a:ext cx="87313" cy="76200"/>
            </a:xfrm>
            <a:custGeom>
              <a:avLst/>
              <a:gdLst>
                <a:gd name="T0" fmla="*/ 278 w 278"/>
                <a:gd name="T1" fmla="*/ 242 h 242"/>
                <a:gd name="T2" fmla="*/ 139 w 278"/>
                <a:gd name="T3" fmla="*/ 0 h 242"/>
                <a:gd name="T4" fmla="*/ 0 w 278"/>
                <a:gd name="T5" fmla="*/ 242 h 242"/>
                <a:gd name="T6" fmla="*/ 278 w 278"/>
                <a:gd name="T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8" h="242">
                  <a:moveTo>
                    <a:pt x="278" y="242"/>
                  </a:moveTo>
                  <a:lnTo>
                    <a:pt x="139" y="0"/>
                  </a:lnTo>
                  <a:lnTo>
                    <a:pt x="0" y="242"/>
                  </a:lnTo>
                  <a:lnTo>
                    <a:pt x="278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272"/>
            <p:cNvSpPr>
              <a:spLocks/>
            </p:cNvSpPr>
            <p:nvPr/>
          </p:nvSpPr>
          <p:spPr bwMode="auto">
            <a:xfrm>
              <a:off x="6591300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144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144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273"/>
            <p:cNvSpPr>
              <a:spLocks/>
            </p:cNvSpPr>
            <p:nvPr/>
          </p:nvSpPr>
          <p:spPr bwMode="auto">
            <a:xfrm>
              <a:off x="6645275" y="2541588"/>
              <a:ext cx="80963" cy="79375"/>
            </a:xfrm>
            <a:custGeom>
              <a:avLst/>
              <a:gdLst>
                <a:gd name="T0" fmla="*/ 257 w 257"/>
                <a:gd name="T1" fmla="*/ 253 h 253"/>
                <a:gd name="T2" fmla="*/ 75 w 257"/>
                <a:gd name="T3" fmla="*/ 0 h 253"/>
                <a:gd name="T4" fmla="*/ 0 w 257"/>
                <a:gd name="T5" fmla="*/ 253 h 253"/>
                <a:gd name="T6" fmla="*/ 257 w 257"/>
                <a:gd name="T7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257" y="253"/>
                  </a:moveTo>
                  <a:lnTo>
                    <a:pt x="75" y="0"/>
                  </a:lnTo>
                  <a:lnTo>
                    <a:pt x="0" y="253"/>
                  </a:lnTo>
                  <a:lnTo>
                    <a:pt x="257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274"/>
            <p:cNvSpPr>
              <a:spLocks/>
            </p:cNvSpPr>
            <p:nvPr/>
          </p:nvSpPr>
          <p:spPr bwMode="auto">
            <a:xfrm>
              <a:off x="6510338" y="2535238"/>
              <a:ext cx="69850" cy="79375"/>
            </a:xfrm>
            <a:custGeom>
              <a:avLst/>
              <a:gdLst>
                <a:gd name="T0" fmla="*/ 219 w 219"/>
                <a:gd name="T1" fmla="*/ 0 h 248"/>
                <a:gd name="T2" fmla="*/ 0 w 219"/>
                <a:gd name="T3" fmla="*/ 0 h 248"/>
                <a:gd name="T4" fmla="*/ 75 w 219"/>
                <a:gd name="T5" fmla="*/ 248 h 248"/>
                <a:gd name="T6" fmla="*/ 219 w 219"/>
                <a:gd name="T7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48">
                  <a:moveTo>
                    <a:pt x="219" y="0"/>
                  </a:moveTo>
                  <a:lnTo>
                    <a:pt x="0" y="0"/>
                  </a:lnTo>
                  <a:lnTo>
                    <a:pt x="75" y="248"/>
                  </a:lnTo>
                  <a:lnTo>
                    <a:pt x="2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275"/>
            <p:cNvSpPr>
              <a:spLocks/>
            </p:cNvSpPr>
            <p:nvPr/>
          </p:nvSpPr>
          <p:spPr bwMode="auto">
            <a:xfrm>
              <a:off x="6445250" y="2541588"/>
              <a:ext cx="80963" cy="79375"/>
            </a:xfrm>
            <a:custGeom>
              <a:avLst/>
              <a:gdLst>
                <a:gd name="T0" fmla="*/ 182 w 257"/>
                <a:gd name="T1" fmla="*/ 0 h 253"/>
                <a:gd name="T2" fmla="*/ 0 w 257"/>
                <a:gd name="T3" fmla="*/ 253 h 253"/>
                <a:gd name="T4" fmla="*/ 257 w 257"/>
                <a:gd name="T5" fmla="*/ 253 h 253"/>
                <a:gd name="T6" fmla="*/ 182 w 257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3">
                  <a:moveTo>
                    <a:pt x="182" y="0"/>
                  </a:moveTo>
                  <a:lnTo>
                    <a:pt x="0" y="253"/>
                  </a:lnTo>
                  <a:lnTo>
                    <a:pt x="257" y="253"/>
                  </a:lnTo>
                  <a:lnTo>
                    <a:pt x="1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276"/>
            <p:cNvSpPr>
              <a:spLocks/>
            </p:cNvSpPr>
            <p:nvPr/>
          </p:nvSpPr>
          <p:spPr bwMode="auto">
            <a:xfrm>
              <a:off x="6445250" y="2630488"/>
              <a:ext cx="133350" cy="185738"/>
            </a:xfrm>
            <a:custGeom>
              <a:avLst/>
              <a:gdLst>
                <a:gd name="T0" fmla="*/ 0 w 422"/>
                <a:gd name="T1" fmla="*/ 0 h 585"/>
                <a:gd name="T2" fmla="*/ 422 w 422"/>
                <a:gd name="T3" fmla="*/ 585 h 585"/>
                <a:gd name="T4" fmla="*/ 266 w 422"/>
                <a:gd name="T5" fmla="*/ 0 h 585"/>
                <a:gd name="T6" fmla="*/ 0 w 422"/>
                <a:gd name="T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2" h="585">
                  <a:moveTo>
                    <a:pt x="0" y="0"/>
                  </a:moveTo>
                  <a:lnTo>
                    <a:pt x="422" y="585"/>
                  </a:lnTo>
                  <a:lnTo>
                    <a:pt x="26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277"/>
            <p:cNvSpPr>
              <a:spLocks/>
            </p:cNvSpPr>
            <p:nvPr/>
          </p:nvSpPr>
          <p:spPr bwMode="auto">
            <a:xfrm>
              <a:off x="6591300" y="2630488"/>
              <a:ext cx="134938" cy="185738"/>
            </a:xfrm>
            <a:custGeom>
              <a:avLst/>
              <a:gdLst>
                <a:gd name="T0" fmla="*/ 0 w 424"/>
                <a:gd name="T1" fmla="*/ 585 h 585"/>
                <a:gd name="T2" fmla="*/ 424 w 424"/>
                <a:gd name="T3" fmla="*/ 0 h 585"/>
                <a:gd name="T4" fmla="*/ 158 w 424"/>
                <a:gd name="T5" fmla="*/ 0 h 585"/>
                <a:gd name="T6" fmla="*/ 0 w 424"/>
                <a:gd name="T7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4" h="585">
                  <a:moveTo>
                    <a:pt x="0" y="585"/>
                  </a:moveTo>
                  <a:lnTo>
                    <a:pt x="424" y="0"/>
                  </a:lnTo>
                  <a:lnTo>
                    <a:pt x="158" y="0"/>
                  </a:lnTo>
                  <a:lnTo>
                    <a:pt x="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8518718" y="4174132"/>
            <a:ext cx="426764" cy="429136"/>
            <a:chOff x="9882188" y="3108325"/>
            <a:chExt cx="285750" cy="287338"/>
          </a:xfrm>
          <a:solidFill>
            <a:srgbClr val="125680"/>
          </a:solidFill>
          <a:effectLst/>
        </p:grpSpPr>
        <p:sp>
          <p:nvSpPr>
            <p:cNvPr id="131" name="Freeform 2284"/>
            <p:cNvSpPr>
              <a:spLocks/>
            </p:cNvSpPr>
            <p:nvPr/>
          </p:nvSpPr>
          <p:spPr bwMode="auto">
            <a:xfrm>
              <a:off x="9882188" y="3175000"/>
              <a:ext cx="219075" cy="220663"/>
            </a:xfrm>
            <a:custGeom>
              <a:avLst/>
              <a:gdLst>
                <a:gd name="T0" fmla="*/ 549 w 691"/>
                <a:gd name="T1" fmla="*/ 251 h 693"/>
                <a:gd name="T2" fmla="*/ 568 w 691"/>
                <a:gd name="T3" fmla="*/ 313 h 693"/>
                <a:gd name="T4" fmla="*/ 566 w 691"/>
                <a:gd name="T5" fmla="*/ 392 h 693"/>
                <a:gd name="T6" fmla="*/ 532 w 691"/>
                <a:gd name="T7" fmla="*/ 473 h 693"/>
                <a:gd name="T8" fmla="*/ 471 w 691"/>
                <a:gd name="T9" fmla="*/ 534 h 693"/>
                <a:gd name="T10" fmla="*/ 391 w 691"/>
                <a:gd name="T11" fmla="*/ 567 h 693"/>
                <a:gd name="T12" fmla="*/ 300 w 691"/>
                <a:gd name="T13" fmla="*/ 567 h 693"/>
                <a:gd name="T14" fmla="*/ 220 w 691"/>
                <a:gd name="T15" fmla="*/ 534 h 693"/>
                <a:gd name="T16" fmla="*/ 159 w 691"/>
                <a:gd name="T17" fmla="*/ 473 h 693"/>
                <a:gd name="T18" fmla="*/ 124 w 691"/>
                <a:gd name="T19" fmla="*/ 392 h 693"/>
                <a:gd name="T20" fmla="*/ 124 w 691"/>
                <a:gd name="T21" fmla="*/ 301 h 693"/>
                <a:gd name="T22" fmla="*/ 159 w 691"/>
                <a:gd name="T23" fmla="*/ 220 h 693"/>
                <a:gd name="T24" fmla="*/ 220 w 691"/>
                <a:gd name="T25" fmla="*/ 159 h 693"/>
                <a:gd name="T26" fmla="*/ 300 w 691"/>
                <a:gd name="T27" fmla="*/ 125 h 693"/>
                <a:gd name="T28" fmla="*/ 378 w 691"/>
                <a:gd name="T29" fmla="*/ 124 h 693"/>
                <a:gd name="T30" fmla="*/ 442 w 691"/>
                <a:gd name="T31" fmla="*/ 142 h 693"/>
                <a:gd name="T32" fmla="*/ 533 w 691"/>
                <a:gd name="T33" fmla="*/ 56 h 693"/>
                <a:gd name="T34" fmla="*/ 431 w 691"/>
                <a:gd name="T35" fmla="*/ 11 h 693"/>
                <a:gd name="T36" fmla="*/ 360 w 691"/>
                <a:gd name="T37" fmla="*/ 0 h 693"/>
                <a:gd name="T38" fmla="*/ 293 w 691"/>
                <a:gd name="T39" fmla="*/ 4 h 693"/>
                <a:gd name="T40" fmla="*/ 227 w 691"/>
                <a:gd name="T41" fmla="*/ 21 h 693"/>
                <a:gd name="T42" fmla="*/ 166 w 691"/>
                <a:gd name="T43" fmla="*/ 50 h 693"/>
                <a:gd name="T44" fmla="*/ 112 w 691"/>
                <a:gd name="T45" fmla="*/ 91 h 693"/>
                <a:gd name="T46" fmla="*/ 68 w 691"/>
                <a:gd name="T47" fmla="*/ 139 h 693"/>
                <a:gd name="T48" fmla="*/ 34 w 691"/>
                <a:gd name="T49" fmla="*/ 197 h 693"/>
                <a:gd name="T50" fmla="*/ 9 w 691"/>
                <a:gd name="T51" fmla="*/ 260 h 693"/>
                <a:gd name="T52" fmla="*/ 0 w 691"/>
                <a:gd name="T53" fmla="*/ 329 h 693"/>
                <a:gd name="T54" fmla="*/ 2 w 691"/>
                <a:gd name="T55" fmla="*/ 396 h 693"/>
                <a:gd name="T56" fmla="*/ 18 w 691"/>
                <a:gd name="T57" fmla="*/ 459 h 693"/>
                <a:gd name="T58" fmla="*/ 44 w 691"/>
                <a:gd name="T59" fmla="*/ 517 h 693"/>
                <a:gd name="T60" fmla="*/ 80 w 691"/>
                <a:gd name="T61" fmla="*/ 568 h 693"/>
                <a:gd name="T62" fmla="*/ 0 w 691"/>
                <a:gd name="T63" fmla="*/ 677 h 693"/>
                <a:gd name="T64" fmla="*/ 14 w 691"/>
                <a:gd name="T65" fmla="*/ 693 h 693"/>
                <a:gd name="T66" fmla="*/ 123 w 691"/>
                <a:gd name="T67" fmla="*/ 611 h 693"/>
                <a:gd name="T68" fmla="*/ 174 w 691"/>
                <a:gd name="T69" fmla="*/ 647 h 693"/>
                <a:gd name="T70" fmla="*/ 233 w 691"/>
                <a:gd name="T71" fmla="*/ 673 h 693"/>
                <a:gd name="T72" fmla="*/ 295 w 691"/>
                <a:gd name="T73" fmla="*/ 689 h 693"/>
                <a:gd name="T74" fmla="*/ 362 w 691"/>
                <a:gd name="T75" fmla="*/ 691 h 693"/>
                <a:gd name="T76" fmla="*/ 427 w 691"/>
                <a:gd name="T77" fmla="*/ 683 h 693"/>
                <a:gd name="T78" fmla="*/ 487 w 691"/>
                <a:gd name="T79" fmla="*/ 662 h 693"/>
                <a:gd name="T80" fmla="*/ 542 w 691"/>
                <a:gd name="T81" fmla="*/ 630 h 693"/>
                <a:gd name="T82" fmla="*/ 665 w 691"/>
                <a:gd name="T83" fmla="*/ 688 h 693"/>
                <a:gd name="T84" fmla="*/ 686 w 691"/>
                <a:gd name="T85" fmla="*/ 688 h 693"/>
                <a:gd name="T86" fmla="*/ 686 w 691"/>
                <a:gd name="T87" fmla="*/ 667 h 693"/>
                <a:gd name="T88" fmla="*/ 630 w 691"/>
                <a:gd name="T89" fmla="*/ 544 h 693"/>
                <a:gd name="T90" fmla="*/ 661 w 691"/>
                <a:gd name="T91" fmla="*/ 489 h 693"/>
                <a:gd name="T92" fmla="*/ 681 w 691"/>
                <a:gd name="T93" fmla="*/ 428 h 693"/>
                <a:gd name="T94" fmla="*/ 691 w 691"/>
                <a:gd name="T95" fmla="*/ 363 h 693"/>
                <a:gd name="T96" fmla="*/ 689 w 691"/>
                <a:gd name="T97" fmla="*/ 303 h 693"/>
                <a:gd name="T98" fmla="*/ 662 w 691"/>
                <a:gd name="T99" fmla="*/ 207 h 693"/>
                <a:gd name="T100" fmla="*/ 619 w 691"/>
                <a:gd name="T101" fmla="*/ 13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1" h="693">
                  <a:moveTo>
                    <a:pt x="619" y="136"/>
                  </a:moveTo>
                  <a:lnTo>
                    <a:pt x="533" y="222"/>
                  </a:lnTo>
                  <a:lnTo>
                    <a:pt x="542" y="236"/>
                  </a:lnTo>
                  <a:lnTo>
                    <a:pt x="549" y="251"/>
                  </a:lnTo>
                  <a:lnTo>
                    <a:pt x="555" y="265"/>
                  </a:lnTo>
                  <a:lnTo>
                    <a:pt x="560" y="280"/>
                  </a:lnTo>
                  <a:lnTo>
                    <a:pt x="565" y="296"/>
                  </a:lnTo>
                  <a:lnTo>
                    <a:pt x="568" y="313"/>
                  </a:lnTo>
                  <a:lnTo>
                    <a:pt x="570" y="329"/>
                  </a:lnTo>
                  <a:lnTo>
                    <a:pt x="571" y="346"/>
                  </a:lnTo>
                  <a:lnTo>
                    <a:pt x="570" y="369"/>
                  </a:lnTo>
                  <a:lnTo>
                    <a:pt x="566" y="392"/>
                  </a:lnTo>
                  <a:lnTo>
                    <a:pt x="560" y="413"/>
                  </a:lnTo>
                  <a:lnTo>
                    <a:pt x="553" y="434"/>
                  </a:lnTo>
                  <a:lnTo>
                    <a:pt x="543" y="453"/>
                  </a:lnTo>
                  <a:lnTo>
                    <a:pt x="532" y="473"/>
                  </a:lnTo>
                  <a:lnTo>
                    <a:pt x="519" y="490"/>
                  </a:lnTo>
                  <a:lnTo>
                    <a:pt x="504" y="506"/>
                  </a:lnTo>
                  <a:lnTo>
                    <a:pt x="488" y="520"/>
                  </a:lnTo>
                  <a:lnTo>
                    <a:pt x="471" y="534"/>
                  </a:lnTo>
                  <a:lnTo>
                    <a:pt x="453" y="545"/>
                  </a:lnTo>
                  <a:lnTo>
                    <a:pt x="433" y="555"/>
                  </a:lnTo>
                  <a:lnTo>
                    <a:pt x="413" y="562"/>
                  </a:lnTo>
                  <a:lnTo>
                    <a:pt x="391" y="567"/>
                  </a:lnTo>
                  <a:lnTo>
                    <a:pt x="369" y="571"/>
                  </a:lnTo>
                  <a:lnTo>
                    <a:pt x="345" y="572"/>
                  </a:lnTo>
                  <a:lnTo>
                    <a:pt x="322" y="571"/>
                  </a:lnTo>
                  <a:lnTo>
                    <a:pt x="300" y="567"/>
                  </a:lnTo>
                  <a:lnTo>
                    <a:pt x="278" y="562"/>
                  </a:lnTo>
                  <a:lnTo>
                    <a:pt x="257" y="555"/>
                  </a:lnTo>
                  <a:lnTo>
                    <a:pt x="238" y="545"/>
                  </a:lnTo>
                  <a:lnTo>
                    <a:pt x="220" y="534"/>
                  </a:lnTo>
                  <a:lnTo>
                    <a:pt x="201" y="520"/>
                  </a:lnTo>
                  <a:lnTo>
                    <a:pt x="185" y="506"/>
                  </a:lnTo>
                  <a:lnTo>
                    <a:pt x="171" y="490"/>
                  </a:lnTo>
                  <a:lnTo>
                    <a:pt x="159" y="473"/>
                  </a:lnTo>
                  <a:lnTo>
                    <a:pt x="146" y="453"/>
                  </a:lnTo>
                  <a:lnTo>
                    <a:pt x="138" y="434"/>
                  </a:lnTo>
                  <a:lnTo>
                    <a:pt x="129" y="413"/>
                  </a:lnTo>
                  <a:lnTo>
                    <a:pt x="124" y="392"/>
                  </a:lnTo>
                  <a:lnTo>
                    <a:pt x="121" y="369"/>
                  </a:lnTo>
                  <a:lnTo>
                    <a:pt x="119" y="346"/>
                  </a:lnTo>
                  <a:lnTo>
                    <a:pt x="121" y="324"/>
                  </a:lnTo>
                  <a:lnTo>
                    <a:pt x="124" y="301"/>
                  </a:lnTo>
                  <a:lnTo>
                    <a:pt x="129" y="280"/>
                  </a:lnTo>
                  <a:lnTo>
                    <a:pt x="138" y="259"/>
                  </a:lnTo>
                  <a:lnTo>
                    <a:pt x="146" y="238"/>
                  </a:lnTo>
                  <a:lnTo>
                    <a:pt x="159" y="220"/>
                  </a:lnTo>
                  <a:lnTo>
                    <a:pt x="171" y="203"/>
                  </a:lnTo>
                  <a:lnTo>
                    <a:pt x="185" y="187"/>
                  </a:lnTo>
                  <a:lnTo>
                    <a:pt x="201" y="172"/>
                  </a:lnTo>
                  <a:lnTo>
                    <a:pt x="220" y="159"/>
                  </a:lnTo>
                  <a:lnTo>
                    <a:pt x="238" y="148"/>
                  </a:lnTo>
                  <a:lnTo>
                    <a:pt x="257" y="138"/>
                  </a:lnTo>
                  <a:lnTo>
                    <a:pt x="278" y="131"/>
                  </a:lnTo>
                  <a:lnTo>
                    <a:pt x="300" y="125"/>
                  </a:lnTo>
                  <a:lnTo>
                    <a:pt x="322" y="122"/>
                  </a:lnTo>
                  <a:lnTo>
                    <a:pt x="345" y="121"/>
                  </a:lnTo>
                  <a:lnTo>
                    <a:pt x="362" y="121"/>
                  </a:lnTo>
                  <a:lnTo>
                    <a:pt x="378" y="124"/>
                  </a:lnTo>
                  <a:lnTo>
                    <a:pt x="395" y="126"/>
                  </a:lnTo>
                  <a:lnTo>
                    <a:pt x="411" y="131"/>
                  </a:lnTo>
                  <a:lnTo>
                    <a:pt x="426" y="136"/>
                  </a:lnTo>
                  <a:lnTo>
                    <a:pt x="442" y="142"/>
                  </a:lnTo>
                  <a:lnTo>
                    <a:pt x="455" y="149"/>
                  </a:lnTo>
                  <a:lnTo>
                    <a:pt x="470" y="158"/>
                  </a:lnTo>
                  <a:lnTo>
                    <a:pt x="555" y="72"/>
                  </a:lnTo>
                  <a:lnTo>
                    <a:pt x="533" y="56"/>
                  </a:lnTo>
                  <a:lnTo>
                    <a:pt x="509" y="42"/>
                  </a:lnTo>
                  <a:lnTo>
                    <a:pt x="485" y="30"/>
                  </a:lnTo>
                  <a:lnTo>
                    <a:pt x="458" y="20"/>
                  </a:lnTo>
                  <a:lnTo>
                    <a:pt x="431" y="11"/>
                  </a:lnTo>
                  <a:lnTo>
                    <a:pt x="403" y="5"/>
                  </a:lnTo>
                  <a:lnTo>
                    <a:pt x="389" y="3"/>
                  </a:lnTo>
                  <a:lnTo>
                    <a:pt x="375" y="1"/>
                  </a:lnTo>
                  <a:lnTo>
                    <a:pt x="360" y="0"/>
                  </a:lnTo>
                  <a:lnTo>
                    <a:pt x="345" y="0"/>
                  </a:lnTo>
                  <a:lnTo>
                    <a:pt x="327" y="1"/>
                  </a:lnTo>
                  <a:lnTo>
                    <a:pt x="310" y="3"/>
                  </a:lnTo>
                  <a:lnTo>
                    <a:pt x="293" y="4"/>
                  </a:lnTo>
                  <a:lnTo>
                    <a:pt x="276" y="8"/>
                  </a:lnTo>
                  <a:lnTo>
                    <a:pt x="259" y="11"/>
                  </a:lnTo>
                  <a:lnTo>
                    <a:pt x="243" y="16"/>
                  </a:lnTo>
                  <a:lnTo>
                    <a:pt x="227" y="21"/>
                  </a:lnTo>
                  <a:lnTo>
                    <a:pt x="211" y="27"/>
                  </a:lnTo>
                  <a:lnTo>
                    <a:pt x="195" y="34"/>
                  </a:lnTo>
                  <a:lnTo>
                    <a:pt x="180" y="42"/>
                  </a:lnTo>
                  <a:lnTo>
                    <a:pt x="166" y="50"/>
                  </a:lnTo>
                  <a:lnTo>
                    <a:pt x="152" y="60"/>
                  </a:lnTo>
                  <a:lnTo>
                    <a:pt x="138" y="69"/>
                  </a:lnTo>
                  <a:lnTo>
                    <a:pt x="126" y="80"/>
                  </a:lnTo>
                  <a:lnTo>
                    <a:pt x="112" y="91"/>
                  </a:lnTo>
                  <a:lnTo>
                    <a:pt x="101" y="102"/>
                  </a:lnTo>
                  <a:lnTo>
                    <a:pt x="89" y="114"/>
                  </a:lnTo>
                  <a:lnTo>
                    <a:pt x="78" y="126"/>
                  </a:lnTo>
                  <a:lnTo>
                    <a:pt x="68" y="139"/>
                  </a:lnTo>
                  <a:lnTo>
                    <a:pt x="58" y="153"/>
                  </a:lnTo>
                  <a:lnTo>
                    <a:pt x="50" y="168"/>
                  </a:lnTo>
                  <a:lnTo>
                    <a:pt x="41" y="182"/>
                  </a:lnTo>
                  <a:lnTo>
                    <a:pt x="34" y="197"/>
                  </a:lnTo>
                  <a:lnTo>
                    <a:pt x="27" y="212"/>
                  </a:lnTo>
                  <a:lnTo>
                    <a:pt x="20" y="227"/>
                  </a:lnTo>
                  <a:lnTo>
                    <a:pt x="14" y="243"/>
                  </a:lnTo>
                  <a:lnTo>
                    <a:pt x="9" y="260"/>
                  </a:lnTo>
                  <a:lnTo>
                    <a:pt x="6" y="276"/>
                  </a:lnTo>
                  <a:lnTo>
                    <a:pt x="3" y="293"/>
                  </a:lnTo>
                  <a:lnTo>
                    <a:pt x="1" y="310"/>
                  </a:lnTo>
                  <a:lnTo>
                    <a:pt x="0" y="329"/>
                  </a:lnTo>
                  <a:lnTo>
                    <a:pt x="0" y="346"/>
                  </a:lnTo>
                  <a:lnTo>
                    <a:pt x="0" y="363"/>
                  </a:lnTo>
                  <a:lnTo>
                    <a:pt x="1" y="380"/>
                  </a:lnTo>
                  <a:lnTo>
                    <a:pt x="2" y="396"/>
                  </a:lnTo>
                  <a:lnTo>
                    <a:pt x="6" y="412"/>
                  </a:lnTo>
                  <a:lnTo>
                    <a:pt x="9" y="428"/>
                  </a:lnTo>
                  <a:lnTo>
                    <a:pt x="13" y="444"/>
                  </a:lnTo>
                  <a:lnTo>
                    <a:pt x="18" y="459"/>
                  </a:lnTo>
                  <a:lnTo>
                    <a:pt x="23" y="474"/>
                  </a:lnTo>
                  <a:lnTo>
                    <a:pt x="30" y="489"/>
                  </a:lnTo>
                  <a:lnTo>
                    <a:pt x="36" y="502"/>
                  </a:lnTo>
                  <a:lnTo>
                    <a:pt x="44" y="517"/>
                  </a:lnTo>
                  <a:lnTo>
                    <a:pt x="52" y="530"/>
                  </a:lnTo>
                  <a:lnTo>
                    <a:pt x="61" y="544"/>
                  </a:lnTo>
                  <a:lnTo>
                    <a:pt x="71" y="556"/>
                  </a:lnTo>
                  <a:lnTo>
                    <a:pt x="80" y="568"/>
                  </a:lnTo>
                  <a:lnTo>
                    <a:pt x="90" y="580"/>
                  </a:lnTo>
                  <a:lnTo>
                    <a:pt x="3" y="667"/>
                  </a:lnTo>
                  <a:lnTo>
                    <a:pt x="0" y="672"/>
                  </a:lnTo>
                  <a:lnTo>
                    <a:pt x="0" y="677"/>
                  </a:lnTo>
                  <a:lnTo>
                    <a:pt x="0" y="683"/>
                  </a:lnTo>
                  <a:lnTo>
                    <a:pt x="3" y="688"/>
                  </a:lnTo>
                  <a:lnTo>
                    <a:pt x="8" y="691"/>
                  </a:lnTo>
                  <a:lnTo>
                    <a:pt x="14" y="693"/>
                  </a:lnTo>
                  <a:lnTo>
                    <a:pt x="20" y="691"/>
                  </a:lnTo>
                  <a:lnTo>
                    <a:pt x="25" y="688"/>
                  </a:lnTo>
                  <a:lnTo>
                    <a:pt x="112" y="601"/>
                  </a:lnTo>
                  <a:lnTo>
                    <a:pt x="123" y="611"/>
                  </a:lnTo>
                  <a:lnTo>
                    <a:pt x="135" y="622"/>
                  </a:lnTo>
                  <a:lnTo>
                    <a:pt x="149" y="630"/>
                  </a:lnTo>
                  <a:lnTo>
                    <a:pt x="161" y="639"/>
                  </a:lnTo>
                  <a:lnTo>
                    <a:pt x="174" y="647"/>
                  </a:lnTo>
                  <a:lnTo>
                    <a:pt x="189" y="655"/>
                  </a:lnTo>
                  <a:lnTo>
                    <a:pt x="202" y="662"/>
                  </a:lnTo>
                  <a:lnTo>
                    <a:pt x="217" y="668"/>
                  </a:lnTo>
                  <a:lnTo>
                    <a:pt x="233" y="673"/>
                  </a:lnTo>
                  <a:lnTo>
                    <a:pt x="248" y="678"/>
                  </a:lnTo>
                  <a:lnTo>
                    <a:pt x="264" y="683"/>
                  </a:lnTo>
                  <a:lnTo>
                    <a:pt x="279" y="687"/>
                  </a:lnTo>
                  <a:lnTo>
                    <a:pt x="295" y="689"/>
                  </a:lnTo>
                  <a:lnTo>
                    <a:pt x="311" y="690"/>
                  </a:lnTo>
                  <a:lnTo>
                    <a:pt x="328" y="691"/>
                  </a:lnTo>
                  <a:lnTo>
                    <a:pt x="345" y="693"/>
                  </a:lnTo>
                  <a:lnTo>
                    <a:pt x="362" y="691"/>
                  </a:lnTo>
                  <a:lnTo>
                    <a:pt x="378" y="690"/>
                  </a:lnTo>
                  <a:lnTo>
                    <a:pt x="394" y="689"/>
                  </a:lnTo>
                  <a:lnTo>
                    <a:pt x="411" y="687"/>
                  </a:lnTo>
                  <a:lnTo>
                    <a:pt x="427" y="683"/>
                  </a:lnTo>
                  <a:lnTo>
                    <a:pt x="442" y="678"/>
                  </a:lnTo>
                  <a:lnTo>
                    <a:pt x="458" y="673"/>
                  </a:lnTo>
                  <a:lnTo>
                    <a:pt x="472" y="668"/>
                  </a:lnTo>
                  <a:lnTo>
                    <a:pt x="487" y="662"/>
                  </a:lnTo>
                  <a:lnTo>
                    <a:pt x="502" y="655"/>
                  </a:lnTo>
                  <a:lnTo>
                    <a:pt x="515" y="647"/>
                  </a:lnTo>
                  <a:lnTo>
                    <a:pt x="529" y="639"/>
                  </a:lnTo>
                  <a:lnTo>
                    <a:pt x="542" y="630"/>
                  </a:lnTo>
                  <a:lnTo>
                    <a:pt x="554" y="622"/>
                  </a:lnTo>
                  <a:lnTo>
                    <a:pt x="566" y="612"/>
                  </a:lnTo>
                  <a:lnTo>
                    <a:pt x="579" y="601"/>
                  </a:lnTo>
                  <a:lnTo>
                    <a:pt x="665" y="688"/>
                  </a:lnTo>
                  <a:lnTo>
                    <a:pt x="670" y="691"/>
                  </a:lnTo>
                  <a:lnTo>
                    <a:pt x="676" y="693"/>
                  </a:lnTo>
                  <a:lnTo>
                    <a:pt x="681" y="691"/>
                  </a:lnTo>
                  <a:lnTo>
                    <a:pt x="686" y="688"/>
                  </a:lnTo>
                  <a:lnTo>
                    <a:pt x="690" y="683"/>
                  </a:lnTo>
                  <a:lnTo>
                    <a:pt x="691" y="677"/>
                  </a:lnTo>
                  <a:lnTo>
                    <a:pt x="690" y="672"/>
                  </a:lnTo>
                  <a:lnTo>
                    <a:pt x="686" y="667"/>
                  </a:lnTo>
                  <a:lnTo>
                    <a:pt x="601" y="580"/>
                  </a:lnTo>
                  <a:lnTo>
                    <a:pt x="610" y="568"/>
                  </a:lnTo>
                  <a:lnTo>
                    <a:pt x="620" y="556"/>
                  </a:lnTo>
                  <a:lnTo>
                    <a:pt x="630" y="544"/>
                  </a:lnTo>
                  <a:lnTo>
                    <a:pt x="639" y="530"/>
                  </a:lnTo>
                  <a:lnTo>
                    <a:pt x="646" y="517"/>
                  </a:lnTo>
                  <a:lnTo>
                    <a:pt x="653" y="502"/>
                  </a:lnTo>
                  <a:lnTo>
                    <a:pt x="661" y="489"/>
                  </a:lnTo>
                  <a:lnTo>
                    <a:pt x="667" y="474"/>
                  </a:lnTo>
                  <a:lnTo>
                    <a:pt x="673" y="459"/>
                  </a:lnTo>
                  <a:lnTo>
                    <a:pt x="678" y="444"/>
                  </a:lnTo>
                  <a:lnTo>
                    <a:pt x="681" y="428"/>
                  </a:lnTo>
                  <a:lnTo>
                    <a:pt x="685" y="412"/>
                  </a:lnTo>
                  <a:lnTo>
                    <a:pt x="687" y="396"/>
                  </a:lnTo>
                  <a:lnTo>
                    <a:pt x="690" y="380"/>
                  </a:lnTo>
                  <a:lnTo>
                    <a:pt x="691" y="363"/>
                  </a:lnTo>
                  <a:lnTo>
                    <a:pt x="691" y="346"/>
                  </a:lnTo>
                  <a:lnTo>
                    <a:pt x="691" y="331"/>
                  </a:lnTo>
                  <a:lnTo>
                    <a:pt x="690" y="317"/>
                  </a:lnTo>
                  <a:lnTo>
                    <a:pt x="689" y="303"/>
                  </a:lnTo>
                  <a:lnTo>
                    <a:pt x="686" y="288"/>
                  </a:lnTo>
                  <a:lnTo>
                    <a:pt x="680" y="260"/>
                  </a:lnTo>
                  <a:lnTo>
                    <a:pt x="672" y="233"/>
                  </a:lnTo>
                  <a:lnTo>
                    <a:pt x="662" y="207"/>
                  </a:lnTo>
                  <a:lnTo>
                    <a:pt x="650" y="182"/>
                  </a:lnTo>
                  <a:lnTo>
                    <a:pt x="635" y="158"/>
                  </a:lnTo>
                  <a:lnTo>
                    <a:pt x="619" y="136"/>
                  </a:lnTo>
                  <a:lnTo>
                    <a:pt x="619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285"/>
            <p:cNvSpPr>
              <a:spLocks/>
            </p:cNvSpPr>
            <p:nvPr/>
          </p:nvSpPr>
          <p:spPr bwMode="auto">
            <a:xfrm>
              <a:off x="9929813" y="3222625"/>
              <a:ext cx="123825" cy="125413"/>
            </a:xfrm>
            <a:custGeom>
              <a:avLst/>
              <a:gdLst>
                <a:gd name="T0" fmla="*/ 286 w 391"/>
                <a:gd name="T1" fmla="*/ 24 h 392"/>
                <a:gd name="T2" fmla="*/ 263 w 391"/>
                <a:gd name="T3" fmla="*/ 13 h 392"/>
                <a:gd name="T4" fmla="*/ 236 w 391"/>
                <a:gd name="T5" fmla="*/ 5 h 392"/>
                <a:gd name="T6" fmla="*/ 209 w 391"/>
                <a:gd name="T7" fmla="*/ 2 h 392"/>
                <a:gd name="T8" fmla="*/ 175 w 391"/>
                <a:gd name="T9" fmla="*/ 2 h 392"/>
                <a:gd name="T10" fmla="*/ 137 w 391"/>
                <a:gd name="T11" fmla="*/ 10 h 392"/>
                <a:gd name="T12" fmla="*/ 103 w 391"/>
                <a:gd name="T13" fmla="*/ 25 h 392"/>
                <a:gd name="T14" fmla="*/ 71 w 391"/>
                <a:gd name="T15" fmla="*/ 46 h 392"/>
                <a:gd name="T16" fmla="*/ 44 w 391"/>
                <a:gd name="T17" fmla="*/ 72 h 392"/>
                <a:gd name="T18" fmla="*/ 23 w 391"/>
                <a:gd name="T19" fmla="*/ 103 h 392"/>
                <a:gd name="T20" fmla="*/ 9 w 391"/>
                <a:gd name="T21" fmla="*/ 138 h 392"/>
                <a:gd name="T22" fmla="*/ 1 w 391"/>
                <a:gd name="T23" fmla="*/ 176 h 392"/>
                <a:gd name="T24" fmla="*/ 1 w 391"/>
                <a:gd name="T25" fmla="*/ 217 h 392"/>
                <a:gd name="T26" fmla="*/ 9 w 391"/>
                <a:gd name="T27" fmla="*/ 254 h 392"/>
                <a:gd name="T28" fmla="*/ 23 w 391"/>
                <a:gd name="T29" fmla="*/ 290 h 392"/>
                <a:gd name="T30" fmla="*/ 44 w 391"/>
                <a:gd name="T31" fmla="*/ 320 h 392"/>
                <a:gd name="T32" fmla="*/ 71 w 391"/>
                <a:gd name="T33" fmla="*/ 347 h 392"/>
                <a:gd name="T34" fmla="*/ 103 w 391"/>
                <a:gd name="T35" fmla="*/ 368 h 392"/>
                <a:gd name="T36" fmla="*/ 137 w 391"/>
                <a:gd name="T37" fmla="*/ 383 h 392"/>
                <a:gd name="T38" fmla="*/ 175 w 391"/>
                <a:gd name="T39" fmla="*/ 391 h 392"/>
                <a:gd name="T40" fmla="*/ 215 w 391"/>
                <a:gd name="T41" fmla="*/ 391 h 392"/>
                <a:gd name="T42" fmla="*/ 253 w 391"/>
                <a:gd name="T43" fmla="*/ 383 h 392"/>
                <a:gd name="T44" fmla="*/ 288 w 391"/>
                <a:gd name="T45" fmla="*/ 368 h 392"/>
                <a:gd name="T46" fmla="*/ 320 w 391"/>
                <a:gd name="T47" fmla="*/ 347 h 392"/>
                <a:gd name="T48" fmla="*/ 346 w 391"/>
                <a:gd name="T49" fmla="*/ 320 h 392"/>
                <a:gd name="T50" fmla="*/ 368 w 391"/>
                <a:gd name="T51" fmla="*/ 290 h 392"/>
                <a:gd name="T52" fmla="*/ 382 w 391"/>
                <a:gd name="T53" fmla="*/ 254 h 392"/>
                <a:gd name="T54" fmla="*/ 390 w 391"/>
                <a:gd name="T55" fmla="*/ 217 h 392"/>
                <a:gd name="T56" fmla="*/ 390 w 391"/>
                <a:gd name="T57" fmla="*/ 182 h 392"/>
                <a:gd name="T58" fmla="*/ 386 w 391"/>
                <a:gd name="T59" fmla="*/ 156 h 392"/>
                <a:gd name="T60" fmla="*/ 379 w 391"/>
                <a:gd name="T61" fmla="*/ 130 h 392"/>
                <a:gd name="T62" fmla="*/ 368 w 391"/>
                <a:gd name="T63" fmla="*/ 105 h 392"/>
                <a:gd name="T64" fmla="*/ 294 w 391"/>
                <a:gd name="T65" fmla="*/ 160 h 392"/>
                <a:gd name="T66" fmla="*/ 299 w 391"/>
                <a:gd name="T67" fmla="*/ 179 h 392"/>
                <a:gd name="T68" fmla="*/ 300 w 391"/>
                <a:gd name="T69" fmla="*/ 196 h 392"/>
                <a:gd name="T70" fmla="*/ 298 w 391"/>
                <a:gd name="T71" fmla="*/ 218 h 392"/>
                <a:gd name="T72" fmla="*/ 292 w 391"/>
                <a:gd name="T73" fmla="*/ 237 h 392"/>
                <a:gd name="T74" fmla="*/ 282 w 391"/>
                <a:gd name="T75" fmla="*/ 256 h 392"/>
                <a:gd name="T76" fmla="*/ 270 w 391"/>
                <a:gd name="T77" fmla="*/ 270 h 392"/>
                <a:gd name="T78" fmla="*/ 254 w 391"/>
                <a:gd name="T79" fmla="*/ 284 h 392"/>
                <a:gd name="T80" fmla="*/ 236 w 391"/>
                <a:gd name="T81" fmla="*/ 294 h 392"/>
                <a:gd name="T82" fmla="*/ 216 w 391"/>
                <a:gd name="T83" fmla="*/ 300 h 392"/>
                <a:gd name="T84" fmla="*/ 195 w 391"/>
                <a:gd name="T85" fmla="*/ 302 h 392"/>
                <a:gd name="T86" fmla="*/ 173 w 391"/>
                <a:gd name="T87" fmla="*/ 300 h 392"/>
                <a:gd name="T88" fmla="*/ 154 w 391"/>
                <a:gd name="T89" fmla="*/ 294 h 392"/>
                <a:gd name="T90" fmla="*/ 137 w 391"/>
                <a:gd name="T91" fmla="*/ 284 h 392"/>
                <a:gd name="T92" fmla="*/ 121 w 391"/>
                <a:gd name="T93" fmla="*/ 270 h 392"/>
                <a:gd name="T94" fmla="*/ 107 w 391"/>
                <a:gd name="T95" fmla="*/ 256 h 392"/>
                <a:gd name="T96" fmla="*/ 98 w 391"/>
                <a:gd name="T97" fmla="*/ 237 h 392"/>
                <a:gd name="T98" fmla="*/ 92 w 391"/>
                <a:gd name="T99" fmla="*/ 218 h 392"/>
                <a:gd name="T100" fmla="*/ 90 w 391"/>
                <a:gd name="T101" fmla="*/ 196 h 392"/>
                <a:gd name="T102" fmla="*/ 92 w 391"/>
                <a:gd name="T103" fmla="*/ 175 h 392"/>
                <a:gd name="T104" fmla="*/ 98 w 391"/>
                <a:gd name="T105" fmla="*/ 156 h 392"/>
                <a:gd name="T106" fmla="*/ 107 w 391"/>
                <a:gd name="T107" fmla="*/ 137 h 392"/>
                <a:gd name="T108" fmla="*/ 121 w 391"/>
                <a:gd name="T109" fmla="*/ 121 h 392"/>
                <a:gd name="T110" fmla="*/ 137 w 391"/>
                <a:gd name="T111" fmla="*/ 109 h 392"/>
                <a:gd name="T112" fmla="*/ 154 w 391"/>
                <a:gd name="T113" fmla="*/ 99 h 392"/>
                <a:gd name="T114" fmla="*/ 173 w 391"/>
                <a:gd name="T115" fmla="*/ 93 h 392"/>
                <a:gd name="T116" fmla="*/ 195 w 391"/>
                <a:gd name="T117" fmla="*/ 91 h 392"/>
                <a:gd name="T118" fmla="*/ 214 w 391"/>
                <a:gd name="T119" fmla="*/ 93 h 392"/>
                <a:gd name="T120" fmla="*/ 231 w 391"/>
                <a:gd name="T121" fmla="*/ 9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92">
                  <a:moveTo>
                    <a:pt x="298" y="30"/>
                  </a:moveTo>
                  <a:lnTo>
                    <a:pt x="286" y="24"/>
                  </a:lnTo>
                  <a:lnTo>
                    <a:pt x="275" y="18"/>
                  </a:lnTo>
                  <a:lnTo>
                    <a:pt x="263" y="13"/>
                  </a:lnTo>
                  <a:lnTo>
                    <a:pt x="249" y="9"/>
                  </a:lnTo>
                  <a:lnTo>
                    <a:pt x="236" y="5"/>
                  </a:lnTo>
                  <a:lnTo>
                    <a:pt x="222" y="3"/>
                  </a:lnTo>
                  <a:lnTo>
                    <a:pt x="209" y="2"/>
                  </a:lnTo>
                  <a:lnTo>
                    <a:pt x="195" y="0"/>
                  </a:lnTo>
                  <a:lnTo>
                    <a:pt x="175" y="2"/>
                  </a:lnTo>
                  <a:lnTo>
                    <a:pt x="156" y="5"/>
                  </a:lnTo>
                  <a:lnTo>
                    <a:pt x="137" y="10"/>
                  </a:lnTo>
                  <a:lnTo>
                    <a:pt x="120" y="16"/>
                  </a:lnTo>
                  <a:lnTo>
                    <a:pt x="103" y="25"/>
                  </a:lnTo>
                  <a:lnTo>
                    <a:pt x="85" y="35"/>
                  </a:lnTo>
                  <a:lnTo>
                    <a:pt x="71" y="46"/>
                  </a:lnTo>
                  <a:lnTo>
                    <a:pt x="57" y="58"/>
                  </a:lnTo>
                  <a:lnTo>
                    <a:pt x="44" y="72"/>
                  </a:lnTo>
                  <a:lnTo>
                    <a:pt x="33" y="87"/>
                  </a:lnTo>
                  <a:lnTo>
                    <a:pt x="23" y="103"/>
                  </a:lnTo>
                  <a:lnTo>
                    <a:pt x="15" y="120"/>
                  </a:lnTo>
                  <a:lnTo>
                    <a:pt x="9" y="138"/>
                  </a:lnTo>
                  <a:lnTo>
                    <a:pt x="4" y="157"/>
                  </a:lnTo>
                  <a:lnTo>
                    <a:pt x="1" y="176"/>
                  </a:lnTo>
                  <a:lnTo>
                    <a:pt x="0" y="196"/>
                  </a:lnTo>
                  <a:lnTo>
                    <a:pt x="1" y="217"/>
                  </a:lnTo>
                  <a:lnTo>
                    <a:pt x="4" y="236"/>
                  </a:lnTo>
                  <a:lnTo>
                    <a:pt x="9" y="254"/>
                  </a:lnTo>
                  <a:lnTo>
                    <a:pt x="15" y="273"/>
                  </a:lnTo>
                  <a:lnTo>
                    <a:pt x="23" y="290"/>
                  </a:lnTo>
                  <a:lnTo>
                    <a:pt x="33" y="306"/>
                  </a:lnTo>
                  <a:lnTo>
                    <a:pt x="44" y="320"/>
                  </a:lnTo>
                  <a:lnTo>
                    <a:pt x="57" y="335"/>
                  </a:lnTo>
                  <a:lnTo>
                    <a:pt x="71" y="347"/>
                  </a:lnTo>
                  <a:lnTo>
                    <a:pt x="85" y="358"/>
                  </a:lnTo>
                  <a:lnTo>
                    <a:pt x="103" y="368"/>
                  </a:lnTo>
                  <a:lnTo>
                    <a:pt x="120" y="377"/>
                  </a:lnTo>
                  <a:lnTo>
                    <a:pt x="137" y="383"/>
                  </a:lnTo>
                  <a:lnTo>
                    <a:pt x="156" y="388"/>
                  </a:lnTo>
                  <a:lnTo>
                    <a:pt x="175" y="391"/>
                  </a:lnTo>
                  <a:lnTo>
                    <a:pt x="195" y="392"/>
                  </a:lnTo>
                  <a:lnTo>
                    <a:pt x="215" y="391"/>
                  </a:lnTo>
                  <a:lnTo>
                    <a:pt x="234" y="388"/>
                  </a:lnTo>
                  <a:lnTo>
                    <a:pt x="253" y="383"/>
                  </a:lnTo>
                  <a:lnTo>
                    <a:pt x="271" y="377"/>
                  </a:lnTo>
                  <a:lnTo>
                    <a:pt x="288" y="368"/>
                  </a:lnTo>
                  <a:lnTo>
                    <a:pt x="304" y="358"/>
                  </a:lnTo>
                  <a:lnTo>
                    <a:pt x="320" y="347"/>
                  </a:lnTo>
                  <a:lnTo>
                    <a:pt x="333" y="335"/>
                  </a:lnTo>
                  <a:lnTo>
                    <a:pt x="346" y="320"/>
                  </a:lnTo>
                  <a:lnTo>
                    <a:pt x="358" y="306"/>
                  </a:lnTo>
                  <a:lnTo>
                    <a:pt x="368" y="290"/>
                  </a:lnTo>
                  <a:lnTo>
                    <a:pt x="375" y="273"/>
                  </a:lnTo>
                  <a:lnTo>
                    <a:pt x="382" y="254"/>
                  </a:lnTo>
                  <a:lnTo>
                    <a:pt x="387" y="236"/>
                  </a:lnTo>
                  <a:lnTo>
                    <a:pt x="390" y="217"/>
                  </a:lnTo>
                  <a:lnTo>
                    <a:pt x="391" y="196"/>
                  </a:lnTo>
                  <a:lnTo>
                    <a:pt x="390" y="182"/>
                  </a:lnTo>
                  <a:lnTo>
                    <a:pt x="388" y="169"/>
                  </a:lnTo>
                  <a:lnTo>
                    <a:pt x="386" y="156"/>
                  </a:lnTo>
                  <a:lnTo>
                    <a:pt x="383" y="142"/>
                  </a:lnTo>
                  <a:lnTo>
                    <a:pt x="379" y="130"/>
                  </a:lnTo>
                  <a:lnTo>
                    <a:pt x="374" y="118"/>
                  </a:lnTo>
                  <a:lnTo>
                    <a:pt x="368" y="105"/>
                  </a:lnTo>
                  <a:lnTo>
                    <a:pt x="361" y="94"/>
                  </a:lnTo>
                  <a:lnTo>
                    <a:pt x="294" y="160"/>
                  </a:lnTo>
                  <a:lnTo>
                    <a:pt x="297" y="169"/>
                  </a:lnTo>
                  <a:lnTo>
                    <a:pt x="299" y="179"/>
                  </a:lnTo>
                  <a:lnTo>
                    <a:pt x="300" y="187"/>
                  </a:lnTo>
                  <a:lnTo>
                    <a:pt x="300" y="196"/>
                  </a:lnTo>
                  <a:lnTo>
                    <a:pt x="300" y="207"/>
                  </a:lnTo>
                  <a:lnTo>
                    <a:pt x="298" y="218"/>
                  </a:lnTo>
                  <a:lnTo>
                    <a:pt x="296" y="228"/>
                  </a:lnTo>
                  <a:lnTo>
                    <a:pt x="292" y="237"/>
                  </a:lnTo>
                  <a:lnTo>
                    <a:pt x="288" y="246"/>
                  </a:lnTo>
                  <a:lnTo>
                    <a:pt x="282" y="256"/>
                  </a:lnTo>
                  <a:lnTo>
                    <a:pt x="276" y="263"/>
                  </a:lnTo>
                  <a:lnTo>
                    <a:pt x="270" y="270"/>
                  </a:lnTo>
                  <a:lnTo>
                    <a:pt x="263" y="278"/>
                  </a:lnTo>
                  <a:lnTo>
                    <a:pt x="254" y="284"/>
                  </a:lnTo>
                  <a:lnTo>
                    <a:pt x="245" y="289"/>
                  </a:lnTo>
                  <a:lnTo>
                    <a:pt x="236" y="294"/>
                  </a:lnTo>
                  <a:lnTo>
                    <a:pt x="226" y="297"/>
                  </a:lnTo>
                  <a:lnTo>
                    <a:pt x="216" y="300"/>
                  </a:lnTo>
                  <a:lnTo>
                    <a:pt x="206" y="301"/>
                  </a:lnTo>
                  <a:lnTo>
                    <a:pt x="195" y="302"/>
                  </a:lnTo>
                  <a:lnTo>
                    <a:pt x="184" y="301"/>
                  </a:lnTo>
                  <a:lnTo>
                    <a:pt x="173" y="300"/>
                  </a:lnTo>
                  <a:lnTo>
                    <a:pt x="164" y="297"/>
                  </a:lnTo>
                  <a:lnTo>
                    <a:pt x="154" y="294"/>
                  </a:lnTo>
                  <a:lnTo>
                    <a:pt x="145" y="289"/>
                  </a:lnTo>
                  <a:lnTo>
                    <a:pt x="137" y="284"/>
                  </a:lnTo>
                  <a:lnTo>
                    <a:pt x="128" y="278"/>
                  </a:lnTo>
                  <a:lnTo>
                    <a:pt x="121" y="270"/>
                  </a:lnTo>
                  <a:lnTo>
                    <a:pt x="114" y="263"/>
                  </a:lnTo>
                  <a:lnTo>
                    <a:pt x="107" y="256"/>
                  </a:lnTo>
                  <a:lnTo>
                    <a:pt x="103" y="246"/>
                  </a:lnTo>
                  <a:lnTo>
                    <a:pt x="98" y="237"/>
                  </a:lnTo>
                  <a:lnTo>
                    <a:pt x="94" y="228"/>
                  </a:lnTo>
                  <a:lnTo>
                    <a:pt x="92" y="218"/>
                  </a:lnTo>
                  <a:lnTo>
                    <a:pt x="90" y="207"/>
                  </a:lnTo>
                  <a:lnTo>
                    <a:pt x="90" y="196"/>
                  </a:lnTo>
                  <a:lnTo>
                    <a:pt x="90" y="186"/>
                  </a:lnTo>
                  <a:lnTo>
                    <a:pt x="92" y="175"/>
                  </a:lnTo>
                  <a:lnTo>
                    <a:pt x="94" y="165"/>
                  </a:lnTo>
                  <a:lnTo>
                    <a:pt x="98" y="156"/>
                  </a:lnTo>
                  <a:lnTo>
                    <a:pt x="103" y="146"/>
                  </a:lnTo>
                  <a:lnTo>
                    <a:pt x="107" y="137"/>
                  </a:lnTo>
                  <a:lnTo>
                    <a:pt x="114" y="130"/>
                  </a:lnTo>
                  <a:lnTo>
                    <a:pt x="121" y="121"/>
                  </a:lnTo>
                  <a:lnTo>
                    <a:pt x="128" y="115"/>
                  </a:lnTo>
                  <a:lnTo>
                    <a:pt x="137" y="109"/>
                  </a:lnTo>
                  <a:lnTo>
                    <a:pt x="145" y="104"/>
                  </a:lnTo>
                  <a:lnTo>
                    <a:pt x="154" y="99"/>
                  </a:lnTo>
                  <a:lnTo>
                    <a:pt x="164" y="96"/>
                  </a:lnTo>
                  <a:lnTo>
                    <a:pt x="173" y="93"/>
                  </a:lnTo>
                  <a:lnTo>
                    <a:pt x="184" y="92"/>
                  </a:lnTo>
                  <a:lnTo>
                    <a:pt x="195" y="91"/>
                  </a:lnTo>
                  <a:lnTo>
                    <a:pt x="204" y="92"/>
                  </a:lnTo>
                  <a:lnTo>
                    <a:pt x="214" y="93"/>
                  </a:lnTo>
                  <a:lnTo>
                    <a:pt x="222" y="94"/>
                  </a:lnTo>
                  <a:lnTo>
                    <a:pt x="231" y="97"/>
                  </a:lnTo>
                  <a:lnTo>
                    <a:pt x="29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286"/>
            <p:cNvSpPr>
              <a:spLocks/>
            </p:cNvSpPr>
            <p:nvPr/>
          </p:nvSpPr>
          <p:spPr bwMode="auto">
            <a:xfrm>
              <a:off x="9967913" y="3260725"/>
              <a:ext cx="47625" cy="49213"/>
            </a:xfrm>
            <a:custGeom>
              <a:avLst/>
              <a:gdLst>
                <a:gd name="T0" fmla="*/ 80 w 150"/>
                <a:gd name="T1" fmla="*/ 0 h 151"/>
                <a:gd name="T2" fmla="*/ 68 w 150"/>
                <a:gd name="T3" fmla="*/ 0 h 151"/>
                <a:gd name="T4" fmla="*/ 52 w 150"/>
                <a:gd name="T5" fmla="*/ 4 h 151"/>
                <a:gd name="T6" fmla="*/ 39 w 150"/>
                <a:gd name="T7" fmla="*/ 9 h 151"/>
                <a:gd name="T8" fmla="*/ 28 w 150"/>
                <a:gd name="T9" fmla="*/ 17 h 151"/>
                <a:gd name="T10" fmla="*/ 17 w 150"/>
                <a:gd name="T11" fmla="*/ 27 h 151"/>
                <a:gd name="T12" fmla="*/ 9 w 150"/>
                <a:gd name="T13" fmla="*/ 39 h 151"/>
                <a:gd name="T14" fmla="*/ 3 w 150"/>
                <a:gd name="T15" fmla="*/ 53 h 151"/>
                <a:gd name="T16" fmla="*/ 1 w 150"/>
                <a:gd name="T17" fmla="*/ 68 h 151"/>
                <a:gd name="T18" fmla="*/ 1 w 150"/>
                <a:gd name="T19" fmla="*/ 83 h 151"/>
                <a:gd name="T20" fmla="*/ 3 w 150"/>
                <a:gd name="T21" fmla="*/ 98 h 151"/>
                <a:gd name="T22" fmla="*/ 9 w 150"/>
                <a:gd name="T23" fmla="*/ 111 h 151"/>
                <a:gd name="T24" fmla="*/ 17 w 150"/>
                <a:gd name="T25" fmla="*/ 124 h 151"/>
                <a:gd name="T26" fmla="*/ 28 w 150"/>
                <a:gd name="T27" fmla="*/ 133 h 151"/>
                <a:gd name="T28" fmla="*/ 39 w 150"/>
                <a:gd name="T29" fmla="*/ 142 h 151"/>
                <a:gd name="T30" fmla="*/ 52 w 150"/>
                <a:gd name="T31" fmla="*/ 147 h 151"/>
                <a:gd name="T32" fmla="*/ 68 w 150"/>
                <a:gd name="T33" fmla="*/ 151 h 151"/>
                <a:gd name="T34" fmla="*/ 83 w 150"/>
                <a:gd name="T35" fmla="*/ 151 h 151"/>
                <a:gd name="T36" fmla="*/ 97 w 150"/>
                <a:gd name="T37" fmla="*/ 147 h 151"/>
                <a:gd name="T38" fmla="*/ 111 w 150"/>
                <a:gd name="T39" fmla="*/ 142 h 151"/>
                <a:gd name="T40" fmla="*/ 123 w 150"/>
                <a:gd name="T41" fmla="*/ 133 h 151"/>
                <a:gd name="T42" fmla="*/ 133 w 150"/>
                <a:gd name="T43" fmla="*/ 124 h 151"/>
                <a:gd name="T44" fmla="*/ 141 w 150"/>
                <a:gd name="T45" fmla="*/ 111 h 151"/>
                <a:gd name="T46" fmla="*/ 147 w 150"/>
                <a:gd name="T47" fmla="*/ 98 h 151"/>
                <a:gd name="T48" fmla="*/ 150 w 150"/>
                <a:gd name="T49" fmla="*/ 83 h 151"/>
                <a:gd name="T50" fmla="*/ 150 w 150"/>
                <a:gd name="T51" fmla="*/ 70 h 151"/>
                <a:gd name="T52" fmla="*/ 107 w 150"/>
                <a:gd name="T53" fmla="*/ 108 h 151"/>
                <a:gd name="T54" fmla="*/ 92 w 150"/>
                <a:gd name="T55" fmla="*/ 118 h 151"/>
                <a:gd name="T56" fmla="*/ 75 w 150"/>
                <a:gd name="T57" fmla="*/ 120 h 151"/>
                <a:gd name="T58" fmla="*/ 58 w 150"/>
                <a:gd name="T59" fmla="*/ 118 h 151"/>
                <a:gd name="T60" fmla="*/ 44 w 150"/>
                <a:gd name="T61" fmla="*/ 108 h 151"/>
                <a:gd name="T62" fmla="*/ 34 w 150"/>
                <a:gd name="T63" fmla="*/ 93 h 151"/>
                <a:gd name="T64" fmla="*/ 30 w 150"/>
                <a:gd name="T65" fmla="*/ 75 h 151"/>
                <a:gd name="T66" fmla="*/ 34 w 150"/>
                <a:gd name="T67" fmla="*/ 58 h 151"/>
                <a:gd name="T68" fmla="*/ 44 w 150"/>
                <a:gd name="T69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151">
                  <a:moveTo>
                    <a:pt x="85" y="2"/>
                  </a:moveTo>
                  <a:lnTo>
                    <a:pt x="80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1" y="91"/>
                  </a:lnTo>
                  <a:lnTo>
                    <a:pt x="3" y="98"/>
                  </a:lnTo>
                  <a:lnTo>
                    <a:pt x="6" y="104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4"/>
                  </a:lnTo>
                  <a:lnTo>
                    <a:pt x="22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6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8" y="151"/>
                  </a:lnTo>
                  <a:lnTo>
                    <a:pt x="75" y="151"/>
                  </a:lnTo>
                  <a:lnTo>
                    <a:pt x="83" y="151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5" y="144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9"/>
                  </a:lnTo>
                  <a:lnTo>
                    <a:pt x="133" y="124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5" y="104"/>
                  </a:lnTo>
                  <a:lnTo>
                    <a:pt x="147" y="98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70"/>
                  </a:lnTo>
                  <a:lnTo>
                    <a:pt x="150" y="65"/>
                  </a:lnTo>
                  <a:lnTo>
                    <a:pt x="107" y="108"/>
                  </a:lnTo>
                  <a:lnTo>
                    <a:pt x="100" y="113"/>
                  </a:lnTo>
                  <a:lnTo>
                    <a:pt x="92" y="118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7" y="120"/>
                  </a:lnTo>
                  <a:lnTo>
                    <a:pt x="58" y="118"/>
                  </a:lnTo>
                  <a:lnTo>
                    <a:pt x="50" y="113"/>
                  </a:lnTo>
                  <a:lnTo>
                    <a:pt x="44" y="108"/>
                  </a:lnTo>
                  <a:lnTo>
                    <a:pt x="38" y="100"/>
                  </a:lnTo>
                  <a:lnTo>
                    <a:pt x="34" y="93"/>
                  </a:lnTo>
                  <a:lnTo>
                    <a:pt x="31" y="85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4" y="43"/>
                  </a:lnTo>
                  <a:lnTo>
                    <a:pt x="8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287"/>
            <p:cNvSpPr>
              <a:spLocks/>
            </p:cNvSpPr>
            <p:nvPr/>
          </p:nvSpPr>
          <p:spPr bwMode="auto">
            <a:xfrm>
              <a:off x="9986963" y="3108325"/>
              <a:ext cx="180975" cy="182563"/>
            </a:xfrm>
            <a:custGeom>
              <a:avLst/>
              <a:gdLst>
                <a:gd name="T0" fmla="*/ 566 w 571"/>
                <a:gd name="T1" fmla="*/ 94 h 572"/>
                <a:gd name="T2" fmla="*/ 560 w 571"/>
                <a:gd name="T3" fmla="*/ 91 h 572"/>
                <a:gd name="T4" fmla="*/ 509 w 571"/>
                <a:gd name="T5" fmla="*/ 91 h 572"/>
                <a:gd name="T6" fmla="*/ 482 w 571"/>
                <a:gd name="T7" fmla="*/ 62 h 572"/>
                <a:gd name="T8" fmla="*/ 481 w 571"/>
                <a:gd name="T9" fmla="*/ 11 h 572"/>
                <a:gd name="T10" fmla="*/ 478 w 571"/>
                <a:gd name="T11" fmla="*/ 5 h 572"/>
                <a:gd name="T12" fmla="*/ 472 w 571"/>
                <a:gd name="T13" fmla="*/ 1 h 572"/>
                <a:gd name="T14" fmla="*/ 465 w 571"/>
                <a:gd name="T15" fmla="*/ 0 h 572"/>
                <a:gd name="T16" fmla="*/ 455 w 571"/>
                <a:gd name="T17" fmla="*/ 3 h 572"/>
                <a:gd name="T18" fmla="*/ 417 w 571"/>
                <a:gd name="T19" fmla="*/ 17 h 572"/>
                <a:gd name="T20" fmla="*/ 392 w 571"/>
                <a:gd name="T21" fmla="*/ 29 h 572"/>
                <a:gd name="T22" fmla="*/ 390 w 571"/>
                <a:gd name="T23" fmla="*/ 171 h 572"/>
                <a:gd name="T24" fmla="*/ 382 w 571"/>
                <a:gd name="T25" fmla="*/ 180 h 572"/>
                <a:gd name="T26" fmla="*/ 371 w 571"/>
                <a:gd name="T27" fmla="*/ 180 h 572"/>
                <a:gd name="T28" fmla="*/ 362 w 571"/>
                <a:gd name="T29" fmla="*/ 171 h 572"/>
                <a:gd name="T30" fmla="*/ 361 w 571"/>
                <a:gd name="T31" fmla="*/ 45 h 572"/>
                <a:gd name="T32" fmla="*/ 324 w 571"/>
                <a:gd name="T33" fmla="*/ 70 h 572"/>
                <a:gd name="T34" fmla="*/ 290 w 571"/>
                <a:gd name="T35" fmla="*/ 97 h 572"/>
                <a:gd name="T36" fmla="*/ 263 w 571"/>
                <a:gd name="T37" fmla="*/ 130 h 572"/>
                <a:gd name="T38" fmla="*/ 254 w 571"/>
                <a:gd name="T39" fmla="*/ 147 h 572"/>
                <a:gd name="T40" fmla="*/ 247 w 571"/>
                <a:gd name="T41" fmla="*/ 165 h 572"/>
                <a:gd name="T42" fmla="*/ 245 w 571"/>
                <a:gd name="T43" fmla="*/ 186 h 572"/>
                <a:gd name="T44" fmla="*/ 246 w 571"/>
                <a:gd name="T45" fmla="*/ 205 h 572"/>
                <a:gd name="T46" fmla="*/ 252 w 571"/>
                <a:gd name="T47" fmla="*/ 226 h 572"/>
                <a:gd name="T48" fmla="*/ 262 w 571"/>
                <a:gd name="T49" fmla="*/ 246 h 572"/>
                <a:gd name="T50" fmla="*/ 280 w 571"/>
                <a:gd name="T51" fmla="*/ 270 h 572"/>
                <a:gd name="T52" fmla="*/ 249 w 571"/>
                <a:gd name="T53" fmla="*/ 302 h 572"/>
                <a:gd name="T54" fmla="*/ 142 w 571"/>
                <a:gd name="T55" fmla="*/ 408 h 572"/>
                <a:gd name="T56" fmla="*/ 57 w 571"/>
                <a:gd name="T57" fmla="*/ 494 h 572"/>
                <a:gd name="T58" fmla="*/ 4 w 571"/>
                <a:gd name="T59" fmla="*/ 546 h 572"/>
                <a:gd name="T60" fmla="*/ 1 w 571"/>
                <a:gd name="T61" fmla="*/ 551 h 572"/>
                <a:gd name="T62" fmla="*/ 0 w 571"/>
                <a:gd name="T63" fmla="*/ 556 h 572"/>
                <a:gd name="T64" fmla="*/ 1 w 571"/>
                <a:gd name="T65" fmla="*/ 562 h 572"/>
                <a:gd name="T66" fmla="*/ 4 w 571"/>
                <a:gd name="T67" fmla="*/ 567 h 572"/>
                <a:gd name="T68" fmla="*/ 4 w 571"/>
                <a:gd name="T69" fmla="*/ 567 h 572"/>
                <a:gd name="T70" fmla="*/ 15 w 571"/>
                <a:gd name="T71" fmla="*/ 572 h 572"/>
                <a:gd name="T72" fmla="*/ 25 w 571"/>
                <a:gd name="T73" fmla="*/ 567 h 572"/>
                <a:gd name="T74" fmla="*/ 26 w 571"/>
                <a:gd name="T75" fmla="*/ 567 h 572"/>
                <a:gd name="T76" fmla="*/ 78 w 571"/>
                <a:gd name="T77" fmla="*/ 514 h 572"/>
                <a:gd name="T78" fmla="*/ 163 w 571"/>
                <a:gd name="T79" fmla="*/ 429 h 572"/>
                <a:gd name="T80" fmla="*/ 271 w 571"/>
                <a:gd name="T81" fmla="*/ 323 h 572"/>
                <a:gd name="T82" fmla="*/ 313 w 571"/>
                <a:gd name="T83" fmla="*/ 302 h 572"/>
                <a:gd name="T84" fmla="*/ 340 w 571"/>
                <a:gd name="T85" fmla="*/ 316 h 572"/>
                <a:gd name="T86" fmla="*/ 368 w 571"/>
                <a:gd name="T87" fmla="*/ 325 h 572"/>
                <a:gd name="T88" fmla="*/ 394 w 571"/>
                <a:gd name="T89" fmla="*/ 326 h 572"/>
                <a:gd name="T90" fmla="*/ 415 w 571"/>
                <a:gd name="T91" fmla="*/ 321 h 572"/>
                <a:gd name="T92" fmla="*/ 434 w 571"/>
                <a:gd name="T93" fmla="*/ 313 h 572"/>
                <a:gd name="T94" fmla="*/ 451 w 571"/>
                <a:gd name="T95" fmla="*/ 301 h 572"/>
                <a:gd name="T96" fmla="*/ 477 w 571"/>
                <a:gd name="T97" fmla="*/ 279 h 572"/>
                <a:gd name="T98" fmla="*/ 506 w 571"/>
                <a:gd name="T99" fmla="*/ 241 h 572"/>
                <a:gd name="T100" fmla="*/ 531 w 571"/>
                <a:gd name="T101" fmla="*/ 202 h 572"/>
                <a:gd name="T102" fmla="*/ 549 w 571"/>
                <a:gd name="T103" fmla="*/ 164 h 572"/>
                <a:gd name="T104" fmla="*/ 566 w 571"/>
                <a:gd name="T105" fmla="*/ 121 h 572"/>
                <a:gd name="T106" fmla="*/ 571 w 571"/>
                <a:gd name="T107" fmla="*/ 106 h 572"/>
                <a:gd name="T108" fmla="*/ 571 w 571"/>
                <a:gd name="T109" fmla="*/ 99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71" h="572">
                  <a:moveTo>
                    <a:pt x="569" y="97"/>
                  </a:moveTo>
                  <a:lnTo>
                    <a:pt x="566" y="94"/>
                  </a:lnTo>
                  <a:lnTo>
                    <a:pt x="564" y="92"/>
                  </a:lnTo>
                  <a:lnTo>
                    <a:pt x="560" y="91"/>
                  </a:lnTo>
                  <a:lnTo>
                    <a:pt x="556" y="91"/>
                  </a:lnTo>
                  <a:lnTo>
                    <a:pt x="509" y="91"/>
                  </a:lnTo>
                  <a:lnTo>
                    <a:pt x="482" y="91"/>
                  </a:lnTo>
                  <a:lnTo>
                    <a:pt x="482" y="62"/>
                  </a:lnTo>
                  <a:lnTo>
                    <a:pt x="482" y="15"/>
                  </a:lnTo>
                  <a:lnTo>
                    <a:pt x="481" y="11"/>
                  </a:lnTo>
                  <a:lnTo>
                    <a:pt x="480" y="8"/>
                  </a:lnTo>
                  <a:lnTo>
                    <a:pt x="478" y="5"/>
                  </a:lnTo>
                  <a:lnTo>
                    <a:pt x="476" y="3"/>
                  </a:lnTo>
                  <a:lnTo>
                    <a:pt x="472" y="1"/>
                  </a:lnTo>
                  <a:lnTo>
                    <a:pt x="469" y="0"/>
                  </a:lnTo>
                  <a:lnTo>
                    <a:pt x="465" y="0"/>
                  </a:lnTo>
                  <a:lnTo>
                    <a:pt x="461" y="0"/>
                  </a:lnTo>
                  <a:lnTo>
                    <a:pt x="455" y="3"/>
                  </a:lnTo>
                  <a:lnTo>
                    <a:pt x="439" y="9"/>
                  </a:lnTo>
                  <a:lnTo>
                    <a:pt x="417" y="17"/>
                  </a:lnTo>
                  <a:lnTo>
                    <a:pt x="392" y="29"/>
                  </a:lnTo>
                  <a:lnTo>
                    <a:pt x="392" y="29"/>
                  </a:lnTo>
                  <a:lnTo>
                    <a:pt x="392" y="165"/>
                  </a:lnTo>
                  <a:lnTo>
                    <a:pt x="390" y="171"/>
                  </a:lnTo>
                  <a:lnTo>
                    <a:pt x="387" y="176"/>
                  </a:lnTo>
                  <a:lnTo>
                    <a:pt x="382" y="180"/>
                  </a:lnTo>
                  <a:lnTo>
                    <a:pt x="376" y="181"/>
                  </a:lnTo>
                  <a:lnTo>
                    <a:pt x="371" y="180"/>
                  </a:lnTo>
                  <a:lnTo>
                    <a:pt x="366" y="176"/>
                  </a:lnTo>
                  <a:lnTo>
                    <a:pt x="362" y="171"/>
                  </a:lnTo>
                  <a:lnTo>
                    <a:pt x="361" y="165"/>
                  </a:lnTo>
                  <a:lnTo>
                    <a:pt x="361" y="45"/>
                  </a:lnTo>
                  <a:lnTo>
                    <a:pt x="343" y="56"/>
                  </a:lnTo>
                  <a:lnTo>
                    <a:pt x="324" y="70"/>
                  </a:lnTo>
                  <a:lnTo>
                    <a:pt x="306" y="83"/>
                  </a:lnTo>
                  <a:lnTo>
                    <a:pt x="290" y="97"/>
                  </a:lnTo>
                  <a:lnTo>
                    <a:pt x="276" y="113"/>
                  </a:lnTo>
                  <a:lnTo>
                    <a:pt x="263" y="130"/>
                  </a:lnTo>
                  <a:lnTo>
                    <a:pt x="258" y="138"/>
                  </a:lnTo>
                  <a:lnTo>
                    <a:pt x="254" y="147"/>
                  </a:lnTo>
                  <a:lnTo>
                    <a:pt x="250" y="156"/>
                  </a:lnTo>
                  <a:lnTo>
                    <a:pt x="247" y="165"/>
                  </a:lnTo>
                  <a:lnTo>
                    <a:pt x="246" y="176"/>
                  </a:lnTo>
                  <a:lnTo>
                    <a:pt x="245" y="186"/>
                  </a:lnTo>
                  <a:lnTo>
                    <a:pt x="245" y="196"/>
                  </a:lnTo>
                  <a:lnTo>
                    <a:pt x="246" y="205"/>
                  </a:lnTo>
                  <a:lnTo>
                    <a:pt x="249" y="216"/>
                  </a:lnTo>
                  <a:lnTo>
                    <a:pt x="252" y="226"/>
                  </a:lnTo>
                  <a:lnTo>
                    <a:pt x="257" y="236"/>
                  </a:lnTo>
                  <a:lnTo>
                    <a:pt x="262" y="246"/>
                  </a:lnTo>
                  <a:lnTo>
                    <a:pt x="271" y="25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49" y="302"/>
                  </a:lnTo>
                  <a:lnTo>
                    <a:pt x="163" y="386"/>
                  </a:lnTo>
                  <a:lnTo>
                    <a:pt x="142" y="408"/>
                  </a:lnTo>
                  <a:lnTo>
                    <a:pt x="78" y="472"/>
                  </a:lnTo>
                  <a:lnTo>
                    <a:pt x="57" y="494"/>
                  </a:lnTo>
                  <a:lnTo>
                    <a:pt x="23" y="528"/>
                  </a:lnTo>
                  <a:lnTo>
                    <a:pt x="4" y="546"/>
                  </a:lnTo>
                  <a:lnTo>
                    <a:pt x="2" y="549"/>
                  </a:lnTo>
                  <a:lnTo>
                    <a:pt x="1" y="551"/>
                  </a:lnTo>
                  <a:lnTo>
                    <a:pt x="1" y="553"/>
                  </a:lnTo>
                  <a:lnTo>
                    <a:pt x="0" y="556"/>
                  </a:lnTo>
                  <a:lnTo>
                    <a:pt x="1" y="560"/>
                  </a:lnTo>
                  <a:lnTo>
                    <a:pt x="1" y="562"/>
                  </a:lnTo>
                  <a:lnTo>
                    <a:pt x="2" y="564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4" y="567"/>
                  </a:lnTo>
                  <a:lnTo>
                    <a:pt x="9" y="571"/>
                  </a:lnTo>
                  <a:lnTo>
                    <a:pt x="15" y="572"/>
                  </a:lnTo>
                  <a:lnTo>
                    <a:pt x="20" y="571"/>
                  </a:lnTo>
                  <a:lnTo>
                    <a:pt x="25" y="567"/>
                  </a:lnTo>
                  <a:lnTo>
                    <a:pt x="25" y="567"/>
                  </a:lnTo>
                  <a:lnTo>
                    <a:pt x="26" y="567"/>
                  </a:lnTo>
                  <a:lnTo>
                    <a:pt x="43" y="549"/>
                  </a:lnTo>
                  <a:lnTo>
                    <a:pt x="78" y="514"/>
                  </a:lnTo>
                  <a:lnTo>
                    <a:pt x="100" y="494"/>
                  </a:lnTo>
                  <a:lnTo>
                    <a:pt x="163" y="429"/>
                  </a:lnTo>
                  <a:lnTo>
                    <a:pt x="185" y="408"/>
                  </a:lnTo>
                  <a:lnTo>
                    <a:pt x="271" y="323"/>
                  </a:lnTo>
                  <a:lnTo>
                    <a:pt x="301" y="291"/>
                  </a:lnTo>
                  <a:lnTo>
                    <a:pt x="313" y="302"/>
                  </a:lnTo>
                  <a:lnTo>
                    <a:pt x="326" y="309"/>
                  </a:lnTo>
                  <a:lnTo>
                    <a:pt x="340" y="316"/>
                  </a:lnTo>
                  <a:lnTo>
                    <a:pt x="354" y="323"/>
                  </a:lnTo>
                  <a:lnTo>
                    <a:pt x="368" y="325"/>
                  </a:lnTo>
                  <a:lnTo>
                    <a:pt x="383" y="326"/>
                  </a:lnTo>
                  <a:lnTo>
                    <a:pt x="394" y="326"/>
                  </a:lnTo>
                  <a:lnTo>
                    <a:pt x="404" y="324"/>
                  </a:lnTo>
                  <a:lnTo>
                    <a:pt x="415" y="321"/>
                  </a:lnTo>
                  <a:lnTo>
                    <a:pt x="425" y="318"/>
                  </a:lnTo>
                  <a:lnTo>
                    <a:pt x="434" y="313"/>
                  </a:lnTo>
                  <a:lnTo>
                    <a:pt x="443" y="308"/>
                  </a:lnTo>
                  <a:lnTo>
                    <a:pt x="451" y="301"/>
                  </a:lnTo>
                  <a:lnTo>
                    <a:pt x="461" y="294"/>
                  </a:lnTo>
                  <a:lnTo>
                    <a:pt x="477" y="279"/>
                  </a:lnTo>
                  <a:lnTo>
                    <a:pt x="493" y="260"/>
                  </a:lnTo>
                  <a:lnTo>
                    <a:pt x="506" y="241"/>
                  </a:lnTo>
                  <a:lnTo>
                    <a:pt x="519" y="221"/>
                  </a:lnTo>
                  <a:lnTo>
                    <a:pt x="531" y="202"/>
                  </a:lnTo>
                  <a:lnTo>
                    <a:pt x="541" y="182"/>
                  </a:lnTo>
                  <a:lnTo>
                    <a:pt x="549" y="164"/>
                  </a:lnTo>
                  <a:lnTo>
                    <a:pt x="556" y="148"/>
                  </a:lnTo>
                  <a:lnTo>
                    <a:pt x="566" y="121"/>
                  </a:lnTo>
                  <a:lnTo>
                    <a:pt x="571" y="110"/>
                  </a:lnTo>
                  <a:lnTo>
                    <a:pt x="571" y="106"/>
                  </a:lnTo>
                  <a:lnTo>
                    <a:pt x="571" y="103"/>
                  </a:lnTo>
                  <a:lnTo>
                    <a:pt x="571" y="99"/>
                  </a:lnTo>
                  <a:lnTo>
                    <a:pt x="569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5" name="Freeform 725"/>
          <p:cNvSpPr>
            <a:spLocks noEditPoints="1"/>
          </p:cNvSpPr>
          <p:nvPr/>
        </p:nvSpPr>
        <p:spPr bwMode="auto">
          <a:xfrm>
            <a:off x="10203549" y="4217674"/>
            <a:ext cx="426764" cy="429136"/>
          </a:xfrm>
          <a:custGeom>
            <a:avLst/>
            <a:gdLst>
              <a:gd name="T0" fmla="*/ 611 w 903"/>
              <a:gd name="T1" fmla="*/ 631 h 903"/>
              <a:gd name="T2" fmla="*/ 603 w 903"/>
              <a:gd name="T3" fmla="*/ 623 h 903"/>
              <a:gd name="T4" fmla="*/ 603 w 903"/>
              <a:gd name="T5" fmla="*/ 611 h 903"/>
              <a:gd name="T6" fmla="*/ 611 w 903"/>
              <a:gd name="T7" fmla="*/ 603 h 903"/>
              <a:gd name="T8" fmla="*/ 801 w 903"/>
              <a:gd name="T9" fmla="*/ 603 h 903"/>
              <a:gd name="T10" fmla="*/ 810 w 903"/>
              <a:gd name="T11" fmla="*/ 608 h 903"/>
              <a:gd name="T12" fmla="*/ 813 w 903"/>
              <a:gd name="T13" fmla="*/ 620 h 903"/>
              <a:gd name="T14" fmla="*/ 806 w 903"/>
              <a:gd name="T15" fmla="*/ 629 h 903"/>
              <a:gd name="T16" fmla="*/ 406 w 903"/>
              <a:gd name="T17" fmla="*/ 90 h 903"/>
              <a:gd name="T18" fmla="*/ 595 w 903"/>
              <a:gd name="T19" fmla="*/ 92 h 903"/>
              <a:gd name="T20" fmla="*/ 601 w 903"/>
              <a:gd name="T21" fmla="*/ 102 h 903"/>
              <a:gd name="T22" fmla="*/ 599 w 903"/>
              <a:gd name="T23" fmla="*/ 114 h 903"/>
              <a:gd name="T24" fmla="*/ 589 w 903"/>
              <a:gd name="T25" fmla="*/ 120 h 903"/>
              <a:gd name="T26" fmla="*/ 401 w 903"/>
              <a:gd name="T27" fmla="*/ 119 h 903"/>
              <a:gd name="T28" fmla="*/ 392 w 903"/>
              <a:gd name="T29" fmla="*/ 111 h 903"/>
              <a:gd name="T30" fmla="*/ 392 w 903"/>
              <a:gd name="T31" fmla="*/ 100 h 903"/>
              <a:gd name="T32" fmla="*/ 401 w 903"/>
              <a:gd name="T33" fmla="*/ 91 h 903"/>
              <a:gd name="T34" fmla="*/ 106 w 903"/>
              <a:gd name="T35" fmla="*/ 632 h 903"/>
              <a:gd name="T36" fmla="*/ 95 w 903"/>
              <a:gd name="T37" fmla="*/ 627 h 903"/>
              <a:gd name="T38" fmla="*/ 90 w 903"/>
              <a:gd name="T39" fmla="*/ 617 h 903"/>
              <a:gd name="T40" fmla="*/ 95 w 903"/>
              <a:gd name="T41" fmla="*/ 606 h 903"/>
              <a:gd name="T42" fmla="*/ 106 w 903"/>
              <a:gd name="T43" fmla="*/ 602 h 903"/>
              <a:gd name="T44" fmla="*/ 295 w 903"/>
              <a:gd name="T45" fmla="*/ 605 h 903"/>
              <a:gd name="T46" fmla="*/ 301 w 903"/>
              <a:gd name="T47" fmla="*/ 614 h 903"/>
              <a:gd name="T48" fmla="*/ 299 w 903"/>
              <a:gd name="T49" fmla="*/ 625 h 903"/>
              <a:gd name="T50" fmla="*/ 289 w 903"/>
              <a:gd name="T51" fmla="*/ 632 h 903"/>
              <a:gd name="T52" fmla="*/ 783 w 903"/>
              <a:gd name="T53" fmla="*/ 512 h 903"/>
              <a:gd name="T54" fmla="*/ 780 w 903"/>
              <a:gd name="T55" fmla="*/ 428 h 903"/>
              <a:gd name="T56" fmla="*/ 771 w 903"/>
              <a:gd name="T57" fmla="*/ 421 h 903"/>
              <a:gd name="T58" fmla="*/ 677 w 903"/>
              <a:gd name="T59" fmla="*/ 391 h 903"/>
              <a:gd name="T60" fmla="*/ 688 w 903"/>
              <a:gd name="T61" fmla="*/ 387 h 903"/>
              <a:gd name="T62" fmla="*/ 692 w 903"/>
              <a:gd name="T63" fmla="*/ 376 h 903"/>
              <a:gd name="T64" fmla="*/ 689 w 903"/>
              <a:gd name="T65" fmla="*/ 6 h 903"/>
              <a:gd name="T66" fmla="*/ 681 w 903"/>
              <a:gd name="T67" fmla="*/ 0 h 903"/>
              <a:gd name="T68" fmla="*/ 311 w 903"/>
              <a:gd name="T69" fmla="*/ 1 h 903"/>
              <a:gd name="T70" fmla="*/ 302 w 903"/>
              <a:gd name="T71" fmla="*/ 8 h 903"/>
              <a:gd name="T72" fmla="*/ 301 w 903"/>
              <a:gd name="T73" fmla="*/ 380 h 903"/>
              <a:gd name="T74" fmla="*/ 307 w 903"/>
              <a:gd name="T75" fmla="*/ 388 h 903"/>
              <a:gd name="T76" fmla="*/ 481 w 903"/>
              <a:gd name="T77" fmla="*/ 391 h 903"/>
              <a:gd name="T78" fmla="*/ 129 w 903"/>
              <a:gd name="T79" fmla="*/ 422 h 903"/>
              <a:gd name="T80" fmla="*/ 122 w 903"/>
              <a:gd name="T81" fmla="*/ 430 h 903"/>
              <a:gd name="T82" fmla="*/ 15 w 903"/>
              <a:gd name="T83" fmla="*/ 512 h 903"/>
              <a:gd name="T84" fmla="*/ 4 w 903"/>
              <a:gd name="T85" fmla="*/ 516 h 903"/>
              <a:gd name="T86" fmla="*/ 0 w 903"/>
              <a:gd name="T87" fmla="*/ 527 h 903"/>
              <a:gd name="T88" fmla="*/ 3 w 903"/>
              <a:gd name="T89" fmla="*/ 897 h 903"/>
              <a:gd name="T90" fmla="*/ 11 w 903"/>
              <a:gd name="T91" fmla="*/ 903 h 903"/>
              <a:gd name="T92" fmla="*/ 382 w 903"/>
              <a:gd name="T93" fmla="*/ 902 h 903"/>
              <a:gd name="T94" fmla="*/ 390 w 903"/>
              <a:gd name="T95" fmla="*/ 893 h 903"/>
              <a:gd name="T96" fmla="*/ 391 w 903"/>
              <a:gd name="T97" fmla="*/ 523 h 903"/>
              <a:gd name="T98" fmla="*/ 385 w 903"/>
              <a:gd name="T99" fmla="*/ 514 h 903"/>
              <a:gd name="T100" fmla="*/ 151 w 903"/>
              <a:gd name="T101" fmla="*/ 512 h 903"/>
              <a:gd name="T102" fmla="*/ 526 w 903"/>
              <a:gd name="T103" fmla="*/ 512 h 903"/>
              <a:gd name="T104" fmla="*/ 517 w 903"/>
              <a:gd name="T105" fmla="*/ 516 h 903"/>
              <a:gd name="T106" fmla="*/ 511 w 903"/>
              <a:gd name="T107" fmla="*/ 527 h 903"/>
              <a:gd name="T108" fmla="*/ 514 w 903"/>
              <a:gd name="T109" fmla="*/ 897 h 903"/>
              <a:gd name="T110" fmla="*/ 524 w 903"/>
              <a:gd name="T111" fmla="*/ 903 h 903"/>
              <a:gd name="T112" fmla="*/ 894 w 903"/>
              <a:gd name="T113" fmla="*/ 902 h 903"/>
              <a:gd name="T114" fmla="*/ 902 w 903"/>
              <a:gd name="T115" fmla="*/ 893 h 903"/>
              <a:gd name="T116" fmla="*/ 903 w 903"/>
              <a:gd name="T117" fmla="*/ 523 h 903"/>
              <a:gd name="T118" fmla="*/ 896 w 903"/>
              <a:gd name="T119" fmla="*/ 514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3" h="903">
                <a:moveTo>
                  <a:pt x="798" y="632"/>
                </a:moveTo>
                <a:lnTo>
                  <a:pt x="617" y="632"/>
                </a:lnTo>
                <a:lnTo>
                  <a:pt x="614" y="632"/>
                </a:lnTo>
                <a:lnTo>
                  <a:pt x="611" y="631"/>
                </a:lnTo>
                <a:lnTo>
                  <a:pt x="609" y="629"/>
                </a:lnTo>
                <a:lnTo>
                  <a:pt x="607" y="627"/>
                </a:lnTo>
                <a:lnTo>
                  <a:pt x="605" y="625"/>
                </a:lnTo>
                <a:lnTo>
                  <a:pt x="603" y="623"/>
                </a:lnTo>
                <a:lnTo>
                  <a:pt x="602" y="620"/>
                </a:lnTo>
                <a:lnTo>
                  <a:pt x="602" y="617"/>
                </a:lnTo>
                <a:lnTo>
                  <a:pt x="602" y="614"/>
                </a:lnTo>
                <a:lnTo>
                  <a:pt x="603" y="611"/>
                </a:lnTo>
                <a:lnTo>
                  <a:pt x="605" y="608"/>
                </a:lnTo>
                <a:lnTo>
                  <a:pt x="607" y="606"/>
                </a:lnTo>
                <a:lnTo>
                  <a:pt x="609" y="605"/>
                </a:lnTo>
                <a:lnTo>
                  <a:pt x="611" y="603"/>
                </a:lnTo>
                <a:lnTo>
                  <a:pt x="614" y="603"/>
                </a:lnTo>
                <a:lnTo>
                  <a:pt x="617" y="602"/>
                </a:lnTo>
                <a:lnTo>
                  <a:pt x="798" y="602"/>
                </a:lnTo>
                <a:lnTo>
                  <a:pt x="801" y="603"/>
                </a:lnTo>
                <a:lnTo>
                  <a:pt x="804" y="603"/>
                </a:lnTo>
                <a:lnTo>
                  <a:pt x="806" y="605"/>
                </a:lnTo>
                <a:lnTo>
                  <a:pt x="808" y="606"/>
                </a:lnTo>
                <a:lnTo>
                  <a:pt x="810" y="608"/>
                </a:lnTo>
                <a:lnTo>
                  <a:pt x="811" y="611"/>
                </a:lnTo>
                <a:lnTo>
                  <a:pt x="813" y="614"/>
                </a:lnTo>
                <a:lnTo>
                  <a:pt x="813" y="617"/>
                </a:lnTo>
                <a:lnTo>
                  <a:pt x="813" y="620"/>
                </a:lnTo>
                <a:lnTo>
                  <a:pt x="811" y="623"/>
                </a:lnTo>
                <a:lnTo>
                  <a:pt x="810" y="625"/>
                </a:lnTo>
                <a:lnTo>
                  <a:pt x="808" y="627"/>
                </a:lnTo>
                <a:lnTo>
                  <a:pt x="806" y="629"/>
                </a:lnTo>
                <a:lnTo>
                  <a:pt x="804" y="631"/>
                </a:lnTo>
                <a:lnTo>
                  <a:pt x="801" y="632"/>
                </a:lnTo>
                <a:lnTo>
                  <a:pt x="798" y="632"/>
                </a:lnTo>
                <a:close/>
                <a:moveTo>
                  <a:pt x="406" y="90"/>
                </a:moveTo>
                <a:lnTo>
                  <a:pt x="587" y="90"/>
                </a:lnTo>
                <a:lnTo>
                  <a:pt x="589" y="90"/>
                </a:lnTo>
                <a:lnTo>
                  <a:pt x="593" y="91"/>
                </a:lnTo>
                <a:lnTo>
                  <a:pt x="595" y="92"/>
                </a:lnTo>
                <a:lnTo>
                  <a:pt x="598" y="94"/>
                </a:lnTo>
                <a:lnTo>
                  <a:pt x="599" y="96"/>
                </a:lnTo>
                <a:lnTo>
                  <a:pt x="601" y="100"/>
                </a:lnTo>
                <a:lnTo>
                  <a:pt x="601" y="102"/>
                </a:lnTo>
                <a:lnTo>
                  <a:pt x="602" y="105"/>
                </a:lnTo>
                <a:lnTo>
                  <a:pt x="601" y="108"/>
                </a:lnTo>
                <a:lnTo>
                  <a:pt x="601" y="111"/>
                </a:lnTo>
                <a:lnTo>
                  <a:pt x="599" y="114"/>
                </a:lnTo>
                <a:lnTo>
                  <a:pt x="598" y="116"/>
                </a:lnTo>
                <a:lnTo>
                  <a:pt x="595" y="118"/>
                </a:lnTo>
                <a:lnTo>
                  <a:pt x="593" y="119"/>
                </a:lnTo>
                <a:lnTo>
                  <a:pt x="589" y="120"/>
                </a:lnTo>
                <a:lnTo>
                  <a:pt x="587" y="120"/>
                </a:lnTo>
                <a:lnTo>
                  <a:pt x="406" y="120"/>
                </a:lnTo>
                <a:lnTo>
                  <a:pt x="403" y="120"/>
                </a:lnTo>
                <a:lnTo>
                  <a:pt x="401" y="119"/>
                </a:lnTo>
                <a:lnTo>
                  <a:pt x="398" y="118"/>
                </a:lnTo>
                <a:lnTo>
                  <a:pt x="395" y="116"/>
                </a:lnTo>
                <a:lnTo>
                  <a:pt x="394" y="114"/>
                </a:lnTo>
                <a:lnTo>
                  <a:pt x="392" y="111"/>
                </a:lnTo>
                <a:lnTo>
                  <a:pt x="391" y="108"/>
                </a:lnTo>
                <a:lnTo>
                  <a:pt x="391" y="105"/>
                </a:lnTo>
                <a:lnTo>
                  <a:pt x="391" y="102"/>
                </a:lnTo>
                <a:lnTo>
                  <a:pt x="392" y="100"/>
                </a:lnTo>
                <a:lnTo>
                  <a:pt x="394" y="96"/>
                </a:lnTo>
                <a:lnTo>
                  <a:pt x="395" y="94"/>
                </a:lnTo>
                <a:lnTo>
                  <a:pt x="398" y="92"/>
                </a:lnTo>
                <a:lnTo>
                  <a:pt x="401" y="91"/>
                </a:lnTo>
                <a:lnTo>
                  <a:pt x="403" y="90"/>
                </a:lnTo>
                <a:lnTo>
                  <a:pt x="406" y="90"/>
                </a:lnTo>
                <a:close/>
                <a:moveTo>
                  <a:pt x="286" y="632"/>
                </a:moveTo>
                <a:lnTo>
                  <a:pt x="106" y="632"/>
                </a:lnTo>
                <a:lnTo>
                  <a:pt x="103" y="632"/>
                </a:lnTo>
                <a:lnTo>
                  <a:pt x="99" y="631"/>
                </a:lnTo>
                <a:lnTo>
                  <a:pt x="97" y="629"/>
                </a:lnTo>
                <a:lnTo>
                  <a:pt x="95" y="627"/>
                </a:lnTo>
                <a:lnTo>
                  <a:pt x="93" y="625"/>
                </a:lnTo>
                <a:lnTo>
                  <a:pt x="92" y="623"/>
                </a:lnTo>
                <a:lnTo>
                  <a:pt x="91" y="620"/>
                </a:lnTo>
                <a:lnTo>
                  <a:pt x="90" y="617"/>
                </a:lnTo>
                <a:lnTo>
                  <a:pt x="91" y="614"/>
                </a:lnTo>
                <a:lnTo>
                  <a:pt x="92" y="611"/>
                </a:lnTo>
                <a:lnTo>
                  <a:pt x="93" y="608"/>
                </a:lnTo>
                <a:lnTo>
                  <a:pt x="95" y="606"/>
                </a:lnTo>
                <a:lnTo>
                  <a:pt x="97" y="605"/>
                </a:lnTo>
                <a:lnTo>
                  <a:pt x="99" y="603"/>
                </a:lnTo>
                <a:lnTo>
                  <a:pt x="103" y="603"/>
                </a:lnTo>
                <a:lnTo>
                  <a:pt x="106" y="602"/>
                </a:lnTo>
                <a:lnTo>
                  <a:pt x="286" y="602"/>
                </a:lnTo>
                <a:lnTo>
                  <a:pt x="289" y="603"/>
                </a:lnTo>
                <a:lnTo>
                  <a:pt x="291" y="603"/>
                </a:lnTo>
                <a:lnTo>
                  <a:pt x="295" y="605"/>
                </a:lnTo>
                <a:lnTo>
                  <a:pt x="297" y="606"/>
                </a:lnTo>
                <a:lnTo>
                  <a:pt x="299" y="608"/>
                </a:lnTo>
                <a:lnTo>
                  <a:pt x="300" y="611"/>
                </a:lnTo>
                <a:lnTo>
                  <a:pt x="301" y="614"/>
                </a:lnTo>
                <a:lnTo>
                  <a:pt x="301" y="617"/>
                </a:lnTo>
                <a:lnTo>
                  <a:pt x="301" y="620"/>
                </a:lnTo>
                <a:lnTo>
                  <a:pt x="300" y="623"/>
                </a:lnTo>
                <a:lnTo>
                  <a:pt x="299" y="625"/>
                </a:lnTo>
                <a:lnTo>
                  <a:pt x="297" y="627"/>
                </a:lnTo>
                <a:lnTo>
                  <a:pt x="295" y="629"/>
                </a:lnTo>
                <a:lnTo>
                  <a:pt x="291" y="631"/>
                </a:lnTo>
                <a:lnTo>
                  <a:pt x="289" y="632"/>
                </a:lnTo>
                <a:lnTo>
                  <a:pt x="286" y="632"/>
                </a:lnTo>
                <a:lnTo>
                  <a:pt x="286" y="632"/>
                </a:lnTo>
                <a:close/>
                <a:moveTo>
                  <a:pt x="888" y="512"/>
                </a:moveTo>
                <a:lnTo>
                  <a:pt x="783" y="512"/>
                </a:lnTo>
                <a:lnTo>
                  <a:pt x="783" y="436"/>
                </a:lnTo>
                <a:lnTo>
                  <a:pt x="783" y="433"/>
                </a:lnTo>
                <a:lnTo>
                  <a:pt x="781" y="430"/>
                </a:lnTo>
                <a:lnTo>
                  <a:pt x="780" y="428"/>
                </a:lnTo>
                <a:lnTo>
                  <a:pt x="778" y="426"/>
                </a:lnTo>
                <a:lnTo>
                  <a:pt x="776" y="424"/>
                </a:lnTo>
                <a:lnTo>
                  <a:pt x="774" y="422"/>
                </a:lnTo>
                <a:lnTo>
                  <a:pt x="771" y="421"/>
                </a:lnTo>
                <a:lnTo>
                  <a:pt x="768" y="421"/>
                </a:lnTo>
                <a:lnTo>
                  <a:pt x="511" y="421"/>
                </a:lnTo>
                <a:lnTo>
                  <a:pt x="511" y="391"/>
                </a:lnTo>
                <a:lnTo>
                  <a:pt x="677" y="391"/>
                </a:lnTo>
                <a:lnTo>
                  <a:pt x="681" y="391"/>
                </a:lnTo>
                <a:lnTo>
                  <a:pt x="683" y="390"/>
                </a:lnTo>
                <a:lnTo>
                  <a:pt x="686" y="388"/>
                </a:lnTo>
                <a:lnTo>
                  <a:pt x="688" y="387"/>
                </a:lnTo>
                <a:lnTo>
                  <a:pt x="689" y="385"/>
                </a:lnTo>
                <a:lnTo>
                  <a:pt x="691" y="382"/>
                </a:lnTo>
                <a:lnTo>
                  <a:pt x="692" y="380"/>
                </a:lnTo>
                <a:lnTo>
                  <a:pt x="692" y="376"/>
                </a:lnTo>
                <a:lnTo>
                  <a:pt x="692" y="15"/>
                </a:lnTo>
                <a:lnTo>
                  <a:pt x="692" y="12"/>
                </a:lnTo>
                <a:lnTo>
                  <a:pt x="691" y="8"/>
                </a:lnTo>
                <a:lnTo>
                  <a:pt x="689" y="6"/>
                </a:lnTo>
                <a:lnTo>
                  <a:pt x="688" y="4"/>
                </a:lnTo>
                <a:lnTo>
                  <a:pt x="686" y="2"/>
                </a:lnTo>
                <a:lnTo>
                  <a:pt x="683" y="1"/>
                </a:lnTo>
                <a:lnTo>
                  <a:pt x="681" y="0"/>
                </a:lnTo>
                <a:lnTo>
                  <a:pt x="677" y="0"/>
                </a:lnTo>
                <a:lnTo>
                  <a:pt x="316" y="0"/>
                </a:lnTo>
                <a:lnTo>
                  <a:pt x="313" y="0"/>
                </a:lnTo>
                <a:lnTo>
                  <a:pt x="311" y="1"/>
                </a:lnTo>
                <a:lnTo>
                  <a:pt x="307" y="2"/>
                </a:lnTo>
                <a:lnTo>
                  <a:pt x="305" y="4"/>
                </a:lnTo>
                <a:lnTo>
                  <a:pt x="303" y="6"/>
                </a:lnTo>
                <a:lnTo>
                  <a:pt x="302" y="8"/>
                </a:lnTo>
                <a:lnTo>
                  <a:pt x="301" y="12"/>
                </a:lnTo>
                <a:lnTo>
                  <a:pt x="301" y="15"/>
                </a:lnTo>
                <a:lnTo>
                  <a:pt x="301" y="376"/>
                </a:lnTo>
                <a:lnTo>
                  <a:pt x="301" y="380"/>
                </a:lnTo>
                <a:lnTo>
                  <a:pt x="302" y="382"/>
                </a:lnTo>
                <a:lnTo>
                  <a:pt x="303" y="385"/>
                </a:lnTo>
                <a:lnTo>
                  <a:pt x="305" y="387"/>
                </a:lnTo>
                <a:lnTo>
                  <a:pt x="307" y="388"/>
                </a:lnTo>
                <a:lnTo>
                  <a:pt x="311" y="390"/>
                </a:lnTo>
                <a:lnTo>
                  <a:pt x="313" y="391"/>
                </a:lnTo>
                <a:lnTo>
                  <a:pt x="316" y="391"/>
                </a:lnTo>
                <a:lnTo>
                  <a:pt x="481" y="391"/>
                </a:lnTo>
                <a:lnTo>
                  <a:pt x="481" y="421"/>
                </a:lnTo>
                <a:lnTo>
                  <a:pt x="136" y="421"/>
                </a:lnTo>
                <a:lnTo>
                  <a:pt x="133" y="421"/>
                </a:lnTo>
                <a:lnTo>
                  <a:pt x="129" y="422"/>
                </a:lnTo>
                <a:lnTo>
                  <a:pt x="127" y="424"/>
                </a:lnTo>
                <a:lnTo>
                  <a:pt x="125" y="426"/>
                </a:lnTo>
                <a:lnTo>
                  <a:pt x="123" y="428"/>
                </a:lnTo>
                <a:lnTo>
                  <a:pt x="122" y="430"/>
                </a:lnTo>
                <a:lnTo>
                  <a:pt x="121" y="433"/>
                </a:lnTo>
                <a:lnTo>
                  <a:pt x="121" y="436"/>
                </a:lnTo>
                <a:lnTo>
                  <a:pt x="121" y="512"/>
                </a:lnTo>
                <a:lnTo>
                  <a:pt x="15" y="512"/>
                </a:lnTo>
                <a:lnTo>
                  <a:pt x="11" y="512"/>
                </a:lnTo>
                <a:lnTo>
                  <a:pt x="9" y="513"/>
                </a:lnTo>
                <a:lnTo>
                  <a:pt x="6" y="514"/>
                </a:lnTo>
                <a:lnTo>
                  <a:pt x="4" y="516"/>
                </a:lnTo>
                <a:lnTo>
                  <a:pt x="3" y="518"/>
                </a:lnTo>
                <a:lnTo>
                  <a:pt x="1" y="521"/>
                </a:lnTo>
                <a:lnTo>
                  <a:pt x="1" y="523"/>
                </a:lnTo>
                <a:lnTo>
                  <a:pt x="0" y="527"/>
                </a:lnTo>
                <a:lnTo>
                  <a:pt x="0" y="888"/>
                </a:lnTo>
                <a:lnTo>
                  <a:pt x="1" y="891"/>
                </a:lnTo>
                <a:lnTo>
                  <a:pt x="1" y="893"/>
                </a:lnTo>
                <a:lnTo>
                  <a:pt x="3" y="897"/>
                </a:lnTo>
                <a:lnTo>
                  <a:pt x="4" y="899"/>
                </a:lnTo>
                <a:lnTo>
                  <a:pt x="6" y="901"/>
                </a:lnTo>
                <a:lnTo>
                  <a:pt x="9" y="902"/>
                </a:lnTo>
                <a:lnTo>
                  <a:pt x="11" y="903"/>
                </a:lnTo>
                <a:lnTo>
                  <a:pt x="15" y="903"/>
                </a:lnTo>
                <a:lnTo>
                  <a:pt x="376" y="903"/>
                </a:lnTo>
                <a:lnTo>
                  <a:pt x="379" y="903"/>
                </a:lnTo>
                <a:lnTo>
                  <a:pt x="382" y="902"/>
                </a:lnTo>
                <a:lnTo>
                  <a:pt x="385" y="901"/>
                </a:lnTo>
                <a:lnTo>
                  <a:pt x="387" y="899"/>
                </a:lnTo>
                <a:lnTo>
                  <a:pt x="389" y="897"/>
                </a:lnTo>
                <a:lnTo>
                  <a:pt x="390" y="893"/>
                </a:lnTo>
                <a:lnTo>
                  <a:pt x="391" y="891"/>
                </a:lnTo>
                <a:lnTo>
                  <a:pt x="391" y="888"/>
                </a:lnTo>
                <a:lnTo>
                  <a:pt x="391" y="527"/>
                </a:lnTo>
                <a:lnTo>
                  <a:pt x="391" y="523"/>
                </a:lnTo>
                <a:lnTo>
                  <a:pt x="390" y="521"/>
                </a:lnTo>
                <a:lnTo>
                  <a:pt x="389" y="518"/>
                </a:lnTo>
                <a:lnTo>
                  <a:pt x="387" y="516"/>
                </a:lnTo>
                <a:lnTo>
                  <a:pt x="385" y="514"/>
                </a:lnTo>
                <a:lnTo>
                  <a:pt x="382" y="513"/>
                </a:lnTo>
                <a:lnTo>
                  <a:pt x="379" y="512"/>
                </a:lnTo>
                <a:lnTo>
                  <a:pt x="376" y="512"/>
                </a:lnTo>
                <a:lnTo>
                  <a:pt x="151" y="512"/>
                </a:lnTo>
                <a:lnTo>
                  <a:pt x="151" y="451"/>
                </a:lnTo>
                <a:lnTo>
                  <a:pt x="753" y="451"/>
                </a:lnTo>
                <a:lnTo>
                  <a:pt x="753" y="512"/>
                </a:lnTo>
                <a:lnTo>
                  <a:pt x="526" y="512"/>
                </a:lnTo>
                <a:lnTo>
                  <a:pt x="524" y="512"/>
                </a:lnTo>
                <a:lnTo>
                  <a:pt x="521" y="513"/>
                </a:lnTo>
                <a:lnTo>
                  <a:pt x="519" y="514"/>
                </a:lnTo>
                <a:lnTo>
                  <a:pt x="517" y="516"/>
                </a:lnTo>
                <a:lnTo>
                  <a:pt x="514" y="518"/>
                </a:lnTo>
                <a:lnTo>
                  <a:pt x="513" y="521"/>
                </a:lnTo>
                <a:lnTo>
                  <a:pt x="512" y="523"/>
                </a:lnTo>
                <a:lnTo>
                  <a:pt x="511" y="527"/>
                </a:lnTo>
                <a:lnTo>
                  <a:pt x="511" y="888"/>
                </a:lnTo>
                <a:lnTo>
                  <a:pt x="512" y="891"/>
                </a:lnTo>
                <a:lnTo>
                  <a:pt x="513" y="893"/>
                </a:lnTo>
                <a:lnTo>
                  <a:pt x="514" y="897"/>
                </a:lnTo>
                <a:lnTo>
                  <a:pt x="517" y="899"/>
                </a:lnTo>
                <a:lnTo>
                  <a:pt x="519" y="901"/>
                </a:lnTo>
                <a:lnTo>
                  <a:pt x="521" y="902"/>
                </a:lnTo>
                <a:lnTo>
                  <a:pt x="524" y="903"/>
                </a:lnTo>
                <a:lnTo>
                  <a:pt x="526" y="903"/>
                </a:lnTo>
                <a:lnTo>
                  <a:pt x="888" y="903"/>
                </a:lnTo>
                <a:lnTo>
                  <a:pt x="891" y="903"/>
                </a:lnTo>
                <a:lnTo>
                  <a:pt x="894" y="902"/>
                </a:lnTo>
                <a:lnTo>
                  <a:pt x="896" y="901"/>
                </a:lnTo>
                <a:lnTo>
                  <a:pt x="898" y="899"/>
                </a:lnTo>
                <a:lnTo>
                  <a:pt x="901" y="897"/>
                </a:lnTo>
                <a:lnTo>
                  <a:pt x="902" y="893"/>
                </a:lnTo>
                <a:lnTo>
                  <a:pt x="903" y="891"/>
                </a:lnTo>
                <a:lnTo>
                  <a:pt x="903" y="888"/>
                </a:lnTo>
                <a:lnTo>
                  <a:pt x="903" y="527"/>
                </a:lnTo>
                <a:lnTo>
                  <a:pt x="903" y="523"/>
                </a:lnTo>
                <a:lnTo>
                  <a:pt x="902" y="521"/>
                </a:lnTo>
                <a:lnTo>
                  <a:pt x="901" y="518"/>
                </a:lnTo>
                <a:lnTo>
                  <a:pt x="898" y="516"/>
                </a:lnTo>
                <a:lnTo>
                  <a:pt x="896" y="514"/>
                </a:lnTo>
                <a:lnTo>
                  <a:pt x="894" y="513"/>
                </a:lnTo>
                <a:lnTo>
                  <a:pt x="891" y="512"/>
                </a:lnTo>
                <a:lnTo>
                  <a:pt x="888" y="512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8" name="Group 137"/>
          <p:cNvGrpSpPr/>
          <p:nvPr/>
        </p:nvGrpSpPr>
        <p:grpSpPr>
          <a:xfrm>
            <a:off x="5717388" y="1821209"/>
            <a:ext cx="670140" cy="670140"/>
            <a:chOff x="3198093" y="3638838"/>
            <a:chExt cx="670140" cy="670140"/>
          </a:xfrm>
        </p:grpSpPr>
        <p:sp>
          <p:nvSpPr>
            <p:cNvPr id="136" name="Freeform 4359"/>
            <p:cNvSpPr>
              <a:spLocks noEditPoints="1"/>
            </p:cNvSpPr>
            <p:nvPr/>
          </p:nvSpPr>
          <p:spPr bwMode="auto">
            <a:xfrm>
              <a:off x="3198093" y="3837260"/>
              <a:ext cx="471718" cy="471718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solidFill>
              <a:srgbClr val="F6443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360"/>
            <p:cNvSpPr>
              <a:spLocks noEditPoints="1"/>
            </p:cNvSpPr>
            <p:nvPr/>
          </p:nvSpPr>
          <p:spPr bwMode="auto">
            <a:xfrm>
              <a:off x="3594935" y="3638838"/>
              <a:ext cx="273298" cy="277041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solidFill>
              <a:srgbClr val="F6443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5388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00" b="22989"/>
          <a:stretch/>
        </p:blipFill>
        <p:spPr>
          <a:xfrm>
            <a:off x="-1" y="4476289"/>
            <a:ext cx="12188891" cy="238171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4473574"/>
            <a:ext cx="12192000" cy="2384426"/>
          </a:xfrm>
          <a:prstGeom prst="rect">
            <a:avLst/>
          </a:prstGeom>
          <a:gradFill flip="none" rotWithShape="1">
            <a:gsLst>
              <a:gs pos="36000">
                <a:srgbClr val="09192F">
                  <a:alpha val="72000"/>
                </a:srgbClr>
              </a:gs>
              <a:gs pos="100000">
                <a:srgbClr val="125680">
                  <a:alpha val="64000"/>
                </a:srgbClr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88891" cy="447357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826809" y="589490"/>
            <a:ext cx="169758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EVIC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038361" y="5269154"/>
            <a:ext cx="793266" cy="793266"/>
            <a:chOff x="1038361" y="5034396"/>
            <a:chExt cx="1021462" cy="1021462"/>
          </a:xfrm>
        </p:grpSpPr>
        <p:sp>
          <p:nvSpPr>
            <p:cNvPr id="37" name="Rectangle 36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Freeform 2972"/>
            <p:cNvSpPr>
              <a:spLocks noEditPoints="1"/>
            </p:cNvSpPr>
            <p:nvPr/>
          </p:nvSpPr>
          <p:spPr bwMode="auto">
            <a:xfrm>
              <a:off x="1336895" y="5345971"/>
              <a:ext cx="424394" cy="398312"/>
            </a:xfrm>
            <a:custGeom>
              <a:avLst/>
              <a:gdLst>
                <a:gd name="T0" fmla="*/ 373 w 719"/>
                <a:gd name="T1" fmla="*/ 471 h 671"/>
                <a:gd name="T2" fmla="*/ 314 w 719"/>
                <a:gd name="T3" fmla="*/ 424 h 671"/>
                <a:gd name="T4" fmla="*/ 241 w 719"/>
                <a:gd name="T5" fmla="*/ 344 h 671"/>
                <a:gd name="T6" fmla="*/ 206 w 719"/>
                <a:gd name="T7" fmla="*/ 281 h 671"/>
                <a:gd name="T8" fmla="*/ 204 w 719"/>
                <a:gd name="T9" fmla="*/ 244 h 671"/>
                <a:gd name="T10" fmla="*/ 215 w 719"/>
                <a:gd name="T11" fmla="*/ 206 h 671"/>
                <a:gd name="T12" fmla="*/ 237 w 719"/>
                <a:gd name="T13" fmla="*/ 177 h 671"/>
                <a:gd name="T14" fmla="*/ 267 w 719"/>
                <a:gd name="T15" fmla="*/ 161 h 671"/>
                <a:gd name="T16" fmla="*/ 303 w 719"/>
                <a:gd name="T17" fmla="*/ 158 h 671"/>
                <a:gd name="T18" fmla="*/ 348 w 719"/>
                <a:gd name="T19" fmla="*/ 182 h 671"/>
                <a:gd name="T20" fmla="*/ 372 w 719"/>
                <a:gd name="T21" fmla="*/ 215 h 671"/>
                <a:gd name="T22" fmla="*/ 387 w 719"/>
                <a:gd name="T23" fmla="*/ 200 h 671"/>
                <a:gd name="T24" fmla="*/ 424 w 719"/>
                <a:gd name="T25" fmla="*/ 166 h 671"/>
                <a:gd name="T26" fmla="*/ 467 w 719"/>
                <a:gd name="T27" fmla="*/ 158 h 671"/>
                <a:gd name="T28" fmla="*/ 499 w 719"/>
                <a:gd name="T29" fmla="*/ 168 h 671"/>
                <a:gd name="T30" fmla="*/ 525 w 719"/>
                <a:gd name="T31" fmla="*/ 191 h 671"/>
                <a:gd name="T32" fmla="*/ 543 w 719"/>
                <a:gd name="T33" fmla="*/ 224 h 671"/>
                <a:gd name="T34" fmla="*/ 546 w 719"/>
                <a:gd name="T35" fmla="*/ 264 h 671"/>
                <a:gd name="T36" fmla="*/ 532 w 719"/>
                <a:gd name="T37" fmla="*/ 308 h 671"/>
                <a:gd name="T38" fmla="*/ 481 w 719"/>
                <a:gd name="T39" fmla="*/ 378 h 671"/>
                <a:gd name="T40" fmla="*/ 388 w 719"/>
                <a:gd name="T41" fmla="*/ 463 h 671"/>
                <a:gd name="T42" fmla="*/ 342 w 719"/>
                <a:gd name="T43" fmla="*/ 0 h 671"/>
                <a:gd name="T44" fmla="*/ 270 w 719"/>
                <a:gd name="T45" fmla="*/ 10 h 671"/>
                <a:gd name="T46" fmla="*/ 204 w 719"/>
                <a:gd name="T47" fmla="*/ 30 h 671"/>
                <a:gd name="T48" fmla="*/ 144 w 719"/>
                <a:gd name="T49" fmla="*/ 60 h 671"/>
                <a:gd name="T50" fmla="*/ 94 w 719"/>
                <a:gd name="T51" fmla="*/ 98 h 671"/>
                <a:gd name="T52" fmla="*/ 53 w 719"/>
                <a:gd name="T53" fmla="*/ 143 h 671"/>
                <a:gd name="T54" fmla="*/ 22 w 719"/>
                <a:gd name="T55" fmla="*/ 194 h 671"/>
                <a:gd name="T56" fmla="*/ 5 w 719"/>
                <a:gd name="T57" fmla="*/ 251 h 671"/>
                <a:gd name="T58" fmla="*/ 0 w 719"/>
                <a:gd name="T59" fmla="*/ 311 h 671"/>
                <a:gd name="T60" fmla="*/ 11 w 719"/>
                <a:gd name="T61" fmla="*/ 367 h 671"/>
                <a:gd name="T62" fmla="*/ 34 w 719"/>
                <a:gd name="T63" fmla="*/ 420 h 671"/>
                <a:gd name="T64" fmla="*/ 68 w 719"/>
                <a:gd name="T65" fmla="*/ 469 h 671"/>
                <a:gd name="T66" fmla="*/ 25 w 719"/>
                <a:gd name="T67" fmla="*/ 653 h 671"/>
                <a:gd name="T68" fmla="*/ 28 w 719"/>
                <a:gd name="T69" fmla="*/ 667 h 671"/>
                <a:gd name="T70" fmla="*/ 42 w 719"/>
                <a:gd name="T71" fmla="*/ 670 h 671"/>
                <a:gd name="T72" fmla="*/ 329 w 719"/>
                <a:gd name="T73" fmla="*/ 590 h 671"/>
                <a:gd name="T74" fmla="*/ 414 w 719"/>
                <a:gd name="T75" fmla="*/ 588 h 671"/>
                <a:gd name="T76" fmla="*/ 483 w 719"/>
                <a:gd name="T77" fmla="*/ 574 h 671"/>
                <a:gd name="T78" fmla="*/ 546 w 719"/>
                <a:gd name="T79" fmla="*/ 549 h 671"/>
                <a:gd name="T80" fmla="*/ 601 w 719"/>
                <a:gd name="T81" fmla="*/ 514 h 671"/>
                <a:gd name="T82" fmla="*/ 648 w 719"/>
                <a:gd name="T83" fmla="*/ 472 h 671"/>
                <a:gd name="T84" fmla="*/ 683 w 719"/>
                <a:gd name="T85" fmla="*/ 424 h 671"/>
                <a:gd name="T86" fmla="*/ 708 w 719"/>
                <a:gd name="T87" fmla="*/ 369 h 671"/>
                <a:gd name="T88" fmla="*/ 719 w 719"/>
                <a:gd name="T89" fmla="*/ 311 h 671"/>
                <a:gd name="T90" fmla="*/ 715 w 719"/>
                <a:gd name="T91" fmla="*/ 251 h 671"/>
                <a:gd name="T92" fmla="*/ 698 w 719"/>
                <a:gd name="T93" fmla="*/ 194 h 671"/>
                <a:gd name="T94" fmla="*/ 667 w 719"/>
                <a:gd name="T95" fmla="*/ 143 h 671"/>
                <a:gd name="T96" fmla="*/ 626 w 719"/>
                <a:gd name="T97" fmla="*/ 98 h 671"/>
                <a:gd name="T98" fmla="*/ 575 w 719"/>
                <a:gd name="T99" fmla="*/ 60 h 671"/>
                <a:gd name="T100" fmla="*/ 516 w 719"/>
                <a:gd name="T101" fmla="*/ 30 h 671"/>
                <a:gd name="T102" fmla="*/ 450 w 719"/>
                <a:gd name="T103" fmla="*/ 10 h 671"/>
                <a:gd name="T104" fmla="*/ 379 w 719"/>
                <a:gd name="T105" fmla="*/ 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19" h="671">
                  <a:moveTo>
                    <a:pt x="379" y="470"/>
                  </a:moveTo>
                  <a:lnTo>
                    <a:pt x="376" y="471"/>
                  </a:lnTo>
                  <a:lnTo>
                    <a:pt x="375" y="471"/>
                  </a:lnTo>
                  <a:lnTo>
                    <a:pt x="373" y="471"/>
                  </a:lnTo>
                  <a:lnTo>
                    <a:pt x="372" y="470"/>
                  </a:lnTo>
                  <a:lnTo>
                    <a:pt x="362" y="463"/>
                  </a:lnTo>
                  <a:lnTo>
                    <a:pt x="342" y="447"/>
                  </a:lnTo>
                  <a:lnTo>
                    <a:pt x="314" y="424"/>
                  </a:lnTo>
                  <a:lnTo>
                    <a:pt x="285" y="395"/>
                  </a:lnTo>
                  <a:lnTo>
                    <a:pt x="269" y="378"/>
                  </a:lnTo>
                  <a:lnTo>
                    <a:pt x="254" y="362"/>
                  </a:lnTo>
                  <a:lnTo>
                    <a:pt x="241" y="344"/>
                  </a:lnTo>
                  <a:lnTo>
                    <a:pt x="228" y="326"/>
                  </a:lnTo>
                  <a:lnTo>
                    <a:pt x="218" y="308"/>
                  </a:lnTo>
                  <a:lnTo>
                    <a:pt x="210" y="290"/>
                  </a:lnTo>
                  <a:lnTo>
                    <a:pt x="206" y="281"/>
                  </a:lnTo>
                  <a:lnTo>
                    <a:pt x="205" y="273"/>
                  </a:lnTo>
                  <a:lnTo>
                    <a:pt x="204" y="264"/>
                  </a:lnTo>
                  <a:lnTo>
                    <a:pt x="203" y="255"/>
                  </a:lnTo>
                  <a:lnTo>
                    <a:pt x="204" y="244"/>
                  </a:lnTo>
                  <a:lnTo>
                    <a:pt x="205" y="233"/>
                  </a:lnTo>
                  <a:lnTo>
                    <a:pt x="207" y="224"/>
                  </a:lnTo>
                  <a:lnTo>
                    <a:pt x="211" y="214"/>
                  </a:lnTo>
                  <a:lnTo>
                    <a:pt x="215" y="206"/>
                  </a:lnTo>
                  <a:lnTo>
                    <a:pt x="219" y="198"/>
                  </a:lnTo>
                  <a:lnTo>
                    <a:pt x="225" y="191"/>
                  </a:lnTo>
                  <a:lnTo>
                    <a:pt x="231" y="183"/>
                  </a:lnTo>
                  <a:lnTo>
                    <a:pt x="237" y="177"/>
                  </a:lnTo>
                  <a:lnTo>
                    <a:pt x="244" y="173"/>
                  </a:lnTo>
                  <a:lnTo>
                    <a:pt x="251" y="168"/>
                  </a:lnTo>
                  <a:lnTo>
                    <a:pt x="259" y="164"/>
                  </a:lnTo>
                  <a:lnTo>
                    <a:pt x="267" y="161"/>
                  </a:lnTo>
                  <a:lnTo>
                    <a:pt x="275" y="160"/>
                  </a:lnTo>
                  <a:lnTo>
                    <a:pt x="282" y="158"/>
                  </a:lnTo>
                  <a:lnTo>
                    <a:pt x="291" y="157"/>
                  </a:lnTo>
                  <a:lnTo>
                    <a:pt x="303" y="158"/>
                  </a:lnTo>
                  <a:lnTo>
                    <a:pt x="314" y="161"/>
                  </a:lnTo>
                  <a:lnTo>
                    <a:pt x="326" y="166"/>
                  </a:lnTo>
                  <a:lnTo>
                    <a:pt x="337" y="173"/>
                  </a:lnTo>
                  <a:lnTo>
                    <a:pt x="348" y="182"/>
                  </a:lnTo>
                  <a:lnTo>
                    <a:pt x="359" y="193"/>
                  </a:lnTo>
                  <a:lnTo>
                    <a:pt x="363" y="200"/>
                  </a:lnTo>
                  <a:lnTo>
                    <a:pt x="367" y="207"/>
                  </a:lnTo>
                  <a:lnTo>
                    <a:pt x="372" y="215"/>
                  </a:lnTo>
                  <a:lnTo>
                    <a:pt x="375" y="224"/>
                  </a:lnTo>
                  <a:lnTo>
                    <a:pt x="379" y="215"/>
                  </a:lnTo>
                  <a:lnTo>
                    <a:pt x="382" y="207"/>
                  </a:lnTo>
                  <a:lnTo>
                    <a:pt x="387" y="200"/>
                  </a:lnTo>
                  <a:lnTo>
                    <a:pt x="392" y="193"/>
                  </a:lnTo>
                  <a:lnTo>
                    <a:pt x="401" y="182"/>
                  </a:lnTo>
                  <a:lnTo>
                    <a:pt x="412" y="173"/>
                  </a:lnTo>
                  <a:lnTo>
                    <a:pt x="424" y="166"/>
                  </a:lnTo>
                  <a:lnTo>
                    <a:pt x="436" y="161"/>
                  </a:lnTo>
                  <a:lnTo>
                    <a:pt x="448" y="158"/>
                  </a:lnTo>
                  <a:lnTo>
                    <a:pt x="458" y="157"/>
                  </a:lnTo>
                  <a:lnTo>
                    <a:pt x="467" y="158"/>
                  </a:lnTo>
                  <a:lnTo>
                    <a:pt x="475" y="160"/>
                  </a:lnTo>
                  <a:lnTo>
                    <a:pt x="483" y="161"/>
                  </a:lnTo>
                  <a:lnTo>
                    <a:pt x="491" y="164"/>
                  </a:lnTo>
                  <a:lnTo>
                    <a:pt x="499" y="168"/>
                  </a:lnTo>
                  <a:lnTo>
                    <a:pt x="506" y="173"/>
                  </a:lnTo>
                  <a:lnTo>
                    <a:pt x="513" y="177"/>
                  </a:lnTo>
                  <a:lnTo>
                    <a:pt x="519" y="183"/>
                  </a:lnTo>
                  <a:lnTo>
                    <a:pt x="525" y="191"/>
                  </a:lnTo>
                  <a:lnTo>
                    <a:pt x="531" y="198"/>
                  </a:lnTo>
                  <a:lnTo>
                    <a:pt x="536" y="206"/>
                  </a:lnTo>
                  <a:lnTo>
                    <a:pt x="539" y="214"/>
                  </a:lnTo>
                  <a:lnTo>
                    <a:pt x="543" y="224"/>
                  </a:lnTo>
                  <a:lnTo>
                    <a:pt x="545" y="233"/>
                  </a:lnTo>
                  <a:lnTo>
                    <a:pt x="546" y="244"/>
                  </a:lnTo>
                  <a:lnTo>
                    <a:pt x="546" y="255"/>
                  </a:lnTo>
                  <a:lnTo>
                    <a:pt x="546" y="264"/>
                  </a:lnTo>
                  <a:lnTo>
                    <a:pt x="545" y="273"/>
                  </a:lnTo>
                  <a:lnTo>
                    <a:pt x="543" y="281"/>
                  </a:lnTo>
                  <a:lnTo>
                    <a:pt x="541" y="290"/>
                  </a:lnTo>
                  <a:lnTo>
                    <a:pt x="532" y="308"/>
                  </a:lnTo>
                  <a:lnTo>
                    <a:pt x="521" y="326"/>
                  </a:lnTo>
                  <a:lnTo>
                    <a:pt x="510" y="344"/>
                  </a:lnTo>
                  <a:lnTo>
                    <a:pt x="495" y="362"/>
                  </a:lnTo>
                  <a:lnTo>
                    <a:pt x="481" y="378"/>
                  </a:lnTo>
                  <a:lnTo>
                    <a:pt x="466" y="395"/>
                  </a:lnTo>
                  <a:lnTo>
                    <a:pt x="435" y="424"/>
                  </a:lnTo>
                  <a:lnTo>
                    <a:pt x="407" y="447"/>
                  </a:lnTo>
                  <a:lnTo>
                    <a:pt x="388" y="463"/>
                  </a:lnTo>
                  <a:lnTo>
                    <a:pt x="379" y="470"/>
                  </a:lnTo>
                  <a:lnTo>
                    <a:pt x="379" y="470"/>
                  </a:lnTo>
                  <a:close/>
                  <a:moveTo>
                    <a:pt x="360" y="0"/>
                  </a:moveTo>
                  <a:lnTo>
                    <a:pt x="342" y="0"/>
                  </a:lnTo>
                  <a:lnTo>
                    <a:pt x="323" y="1"/>
                  </a:lnTo>
                  <a:lnTo>
                    <a:pt x="305" y="4"/>
                  </a:lnTo>
                  <a:lnTo>
                    <a:pt x="287" y="6"/>
                  </a:lnTo>
                  <a:lnTo>
                    <a:pt x="270" y="10"/>
                  </a:lnTo>
                  <a:lnTo>
                    <a:pt x="253" y="13"/>
                  </a:lnTo>
                  <a:lnTo>
                    <a:pt x="236" y="18"/>
                  </a:lnTo>
                  <a:lnTo>
                    <a:pt x="221" y="24"/>
                  </a:lnTo>
                  <a:lnTo>
                    <a:pt x="204" y="30"/>
                  </a:lnTo>
                  <a:lnTo>
                    <a:pt x="188" y="36"/>
                  </a:lnTo>
                  <a:lnTo>
                    <a:pt x="174" y="43"/>
                  </a:lnTo>
                  <a:lnTo>
                    <a:pt x="159" y="51"/>
                  </a:lnTo>
                  <a:lnTo>
                    <a:pt x="144" y="60"/>
                  </a:lnTo>
                  <a:lnTo>
                    <a:pt x="131" y="68"/>
                  </a:lnTo>
                  <a:lnTo>
                    <a:pt x="118" y="78"/>
                  </a:lnTo>
                  <a:lnTo>
                    <a:pt x="106" y="87"/>
                  </a:lnTo>
                  <a:lnTo>
                    <a:pt x="94" y="98"/>
                  </a:lnTo>
                  <a:lnTo>
                    <a:pt x="83" y="108"/>
                  </a:lnTo>
                  <a:lnTo>
                    <a:pt x="72" y="119"/>
                  </a:lnTo>
                  <a:lnTo>
                    <a:pt x="62" y="131"/>
                  </a:lnTo>
                  <a:lnTo>
                    <a:pt x="53" y="143"/>
                  </a:lnTo>
                  <a:lnTo>
                    <a:pt x="44" y="155"/>
                  </a:lnTo>
                  <a:lnTo>
                    <a:pt x="36" y="168"/>
                  </a:lnTo>
                  <a:lnTo>
                    <a:pt x="29" y="181"/>
                  </a:lnTo>
                  <a:lnTo>
                    <a:pt x="22" y="194"/>
                  </a:lnTo>
                  <a:lnTo>
                    <a:pt x="17" y="208"/>
                  </a:lnTo>
                  <a:lnTo>
                    <a:pt x="12" y="223"/>
                  </a:lnTo>
                  <a:lnTo>
                    <a:pt x="8" y="237"/>
                  </a:lnTo>
                  <a:lnTo>
                    <a:pt x="5" y="251"/>
                  </a:lnTo>
                  <a:lnTo>
                    <a:pt x="3" y="265"/>
                  </a:lnTo>
                  <a:lnTo>
                    <a:pt x="0" y="281"/>
                  </a:lnTo>
                  <a:lnTo>
                    <a:pt x="0" y="296"/>
                  </a:lnTo>
                  <a:lnTo>
                    <a:pt x="0" y="311"/>
                  </a:lnTo>
                  <a:lnTo>
                    <a:pt x="2" y="325"/>
                  </a:lnTo>
                  <a:lnTo>
                    <a:pt x="4" y="339"/>
                  </a:lnTo>
                  <a:lnTo>
                    <a:pt x="8" y="352"/>
                  </a:lnTo>
                  <a:lnTo>
                    <a:pt x="11" y="367"/>
                  </a:lnTo>
                  <a:lnTo>
                    <a:pt x="15" y="381"/>
                  </a:lnTo>
                  <a:lnTo>
                    <a:pt x="21" y="394"/>
                  </a:lnTo>
                  <a:lnTo>
                    <a:pt x="27" y="407"/>
                  </a:lnTo>
                  <a:lnTo>
                    <a:pt x="34" y="420"/>
                  </a:lnTo>
                  <a:lnTo>
                    <a:pt x="41" y="432"/>
                  </a:lnTo>
                  <a:lnTo>
                    <a:pt x="49" y="445"/>
                  </a:lnTo>
                  <a:lnTo>
                    <a:pt x="59" y="457"/>
                  </a:lnTo>
                  <a:lnTo>
                    <a:pt x="68" y="469"/>
                  </a:lnTo>
                  <a:lnTo>
                    <a:pt x="79" y="480"/>
                  </a:lnTo>
                  <a:lnTo>
                    <a:pt x="90" y="490"/>
                  </a:lnTo>
                  <a:lnTo>
                    <a:pt x="102" y="501"/>
                  </a:lnTo>
                  <a:lnTo>
                    <a:pt x="25" y="653"/>
                  </a:lnTo>
                  <a:lnTo>
                    <a:pt x="24" y="657"/>
                  </a:lnTo>
                  <a:lnTo>
                    <a:pt x="24" y="662"/>
                  </a:lnTo>
                  <a:lnTo>
                    <a:pt x="25" y="665"/>
                  </a:lnTo>
                  <a:lnTo>
                    <a:pt x="28" y="667"/>
                  </a:lnTo>
                  <a:lnTo>
                    <a:pt x="31" y="670"/>
                  </a:lnTo>
                  <a:lnTo>
                    <a:pt x="36" y="671"/>
                  </a:lnTo>
                  <a:lnTo>
                    <a:pt x="39" y="671"/>
                  </a:lnTo>
                  <a:lnTo>
                    <a:pt x="42" y="670"/>
                  </a:lnTo>
                  <a:lnTo>
                    <a:pt x="240" y="574"/>
                  </a:lnTo>
                  <a:lnTo>
                    <a:pt x="268" y="582"/>
                  </a:lnTo>
                  <a:lnTo>
                    <a:pt x="299" y="587"/>
                  </a:lnTo>
                  <a:lnTo>
                    <a:pt x="329" y="590"/>
                  </a:lnTo>
                  <a:lnTo>
                    <a:pt x="360" y="591"/>
                  </a:lnTo>
                  <a:lnTo>
                    <a:pt x="379" y="590"/>
                  </a:lnTo>
                  <a:lnTo>
                    <a:pt x="397" y="590"/>
                  </a:lnTo>
                  <a:lnTo>
                    <a:pt x="414" y="588"/>
                  </a:lnTo>
                  <a:lnTo>
                    <a:pt x="432" y="585"/>
                  </a:lnTo>
                  <a:lnTo>
                    <a:pt x="450" y="582"/>
                  </a:lnTo>
                  <a:lnTo>
                    <a:pt x="467" y="578"/>
                  </a:lnTo>
                  <a:lnTo>
                    <a:pt x="483" y="574"/>
                  </a:lnTo>
                  <a:lnTo>
                    <a:pt x="500" y="568"/>
                  </a:lnTo>
                  <a:lnTo>
                    <a:pt x="516" y="562"/>
                  </a:lnTo>
                  <a:lnTo>
                    <a:pt x="531" y="556"/>
                  </a:lnTo>
                  <a:lnTo>
                    <a:pt x="546" y="549"/>
                  </a:lnTo>
                  <a:lnTo>
                    <a:pt x="561" y="540"/>
                  </a:lnTo>
                  <a:lnTo>
                    <a:pt x="575" y="532"/>
                  </a:lnTo>
                  <a:lnTo>
                    <a:pt x="588" y="524"/>
                  </a:lnTo>
                  <a:lnTo>
                    <a:pt x="601" y="514"/>
                  </a:lnTo>
                  <a:lnTo>
                    <a:pt x="614" y="505"/>
                  </a:lnTo>
                  <a:lnTo>
                    <a:pt x="626" y="494"/>
                  </a:lnTo>
                  <a:lnTo>
                    <a:pt x="637" y="483"/>
                  </a:lnTo>
                  <a:lnTo>
                    <a:pt x="648" y="472"/>
                  </a:lnTo>
                  <a:lnTo>
                    <a:pt x="658" y="461"/>
                  </a:lnTo>
                  <a:lnTo>
                    <a:pt x="667" y="449"/>
                  </a:lnTo>
                  <a:lnTo>
                    <a:pt x="676" y="437"/>
                  </a:lnTo>
                  <a:lnTo>
                    <a:pt x="683" y="424"/>
                  </a:lnTo>
                  <a:lnTo>
                    <a:pt x="690" y="411"/>
                  </a:lnTo>
                  <a:lnTo>
                    <a:pt x="698" y="397"/>
                  </a:lnTo>
                  <a:lnTo>
                    <a:pt x="703" y="383"/>
                  </a:lnTo>
                  <a:lnTo>
                    <a:pt x="708" y="369"/>
                  </a:lnTo>
                  <a:lnTo>
                    <a:pt x="712" y="355"/>
                  </a:lnTo>
                  <a:lnTo>
                    <a:pt x="715" y="340"/>
                  </a:lnTo>
                  <a:lnTo>
                    <a:pt x="718" y="326"/>
                  </a:lnTo>
                  <a:lnTo>
                    <a:pt x="719" y="311"/>
                  </a:lnTo>
                  <a:lnTo>
                    <a:pt x="719" y="296"/>
                  </a:lnTo>
                  <a:lnTo>
                    <a:pt x="719" y="281"/>
                  </a:lnTo>
                  <a:lnTo>
                    <a:pt x="718" y="265"/>
                  </a:lnTo>
                  <a:lnTo>
                    <a:pt x="715" y="251"/>
                  </a:lnTo>
                  <a:lnTo>
                    <a:pt x="712" y="237"/>
                  </a:lnTo>
                  <a:lnTo>
                    <a:pt x="708" y="223"/>
                  </a:lnTo>
                  <a:lnTo>
                    <a:pt x="703" y="208"/>
                  </a:lnTo>
                  <a:lnTo>
                    <a:pt x="698" y="194"/>
                  </a:lnTo>
                  <a:lnTo>
                    <a:pt x="690" y="181"/>
                  </a:lnTo>
                  <a:lnTo>
                    <a:pt x="683" y="168"/>
                  </a:lnTo>
                  <a:lnTo>
                    <a:pt x="676" y="155"/>
                  </a:lnTo>
                  <a:lnTo>
                    <a:pt x="667" y="143"/>
                  </a:lnTo>
                  <a:lnTo>
                    <a:pt x="658" y="131"/>
                  </a:lnTo>
                  <a:lnTo>
                    <a:pt x="648" y="119"/>
                  </a:lnTo>
                  <a:lnTo>
                    <a:pt x="637" y="108"/>
                  </a:lnTo>
                  <a:lnTo>
                    <a:pt x="626" y="98"/>
                  </a:lnTo>
                  <a:lnTo>
                    <a:pt x="614" y="87"/>
                  </a:lnTo>
                  <a:lnTo>
                    <a:pt x="601" y="78"/>
                  </a:lnTo>
                  <a:lnTo>
                    <a:pt x="588" y="68"/>
                  </a:lnTo>
                  <a:lnTo>
                    <a:pt x="575" y="60"/>
                  </a:lnTo>
                  <a:lnTo>
                    <a:pt x="561" y="51"/>
                  </a:lnTo>
                  <a:lnTo>
                    <a:pt x="546" y="43"/>
                  </a:lnTo>
                  <a:lnTo>
                    <a:pt x="531" y="36"/>
                  </a:lnTo>
                  <a:lnTo>
                    <a:pt x="516" y="30"/>
                  </a:lnTo>
                  <a:lnTo>
                    <a:pt x="500" y="24"/>
                  </a:lnTo>
                  <a:lnTo>
                    <a:pt x="483" y="18"/>
                  </a:lnTo>
                  <a:lnTo>
                    <a:pt x="467" y="13"/>
                  </a:lnTo>
                  <a:lnTo>
                    <a:pt x="450" y="10"/>
                  </a:lnTo>
                  <a:lnTo>
                    <a:pt x="432" y="6"/>
                  </a:lnTo>
                  <a:lnTo>
                    <a:pt x="414" y="4"/>
                  </a:lnTo>
                  <a:lnTo>
                    <a:pt x="397" y="1"/>
                  </a:lnTo>
                  <a:lnTo>
                    <a:pt x="379" y="1"/>
                  </a:lnTo>
                  <a:lnTo>
                    <a:pt x="360" y="0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25680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158167" y="5154939"/>
            <a:ext cx="1851317" cy="1016818"/>
            <a:chOff x="2158167" y="5234241"/>
            <a:chExt cx="1851317" cy="1016818"/>
          </a:xfrm>
        </p:grpSpPr>
        <p:sp>
          <p:nvSpPr>
            <p:cNvPr id="41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158167" y="5234241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625476" y="5269154"/>
            <a:ext cx="793266" cy="793266"/>
            <a:chOff x="1038361" y="5034396"/>
            <a:chExt cx="1021462" cy="1021462"/>
          </a:xfrm>
        </p:grpSpPr>
        <p:sp>
          <p:nvSpPr>
            <p:cNvPr id="64" name="Rectangle 63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745282" y="5154939"/>
            <a:ext cx="1851317" cy="1016818"/>
            <a:chOff x="2158167" y="5234241"/>
            <a:chExt cx="1851317" cy="1016818"/>
          </a:xfrm>
        </p:grpSpPr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158167" y="5234241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8212591" y="5269154"/>
            <a:ext cx="793266" cy="793266"/>
            <a:chOff x="1038361" y="5034396"/>
            <a:chExt cx="1021462" cy="1021462"/>
          </a:xfrm>
        </p:grpSpPr>
        <p:sp>
          <p:nvSpPr>
            <p:cNvPr id="72" name="Rectangle 71"/>
            <p:cNvSpPr/>
            <p:nvPr/>
          </p:nvSpPr>
          <p:spPr>
            <a:xfrm rot="2700000">
              <a:off x="1038361" y="503439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 rot="2700000">
              <a:off x="1157704" y="515373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9332397" y="5154939"/>
            <a:ext cx="1851317" cy="1016818"/>
            <a:chOff x="2158167" y="5234241"/>
            <a:chExt cx="1851317" cy="1016818"/>
          </a:xfrm>
        </p:grpSpPr>
        <p:sp>
          <p:nvSpPr>
            <p:cNvPr id="70" name="Text Placeholder 2"/>
            <p:cNvSpPr txBox="1">
              <a:spLocks/>
            </p:cNvSpPr>
            <p:nvPr/>
          </p:nvSpPr>
          <p:spPr>
            <a:xfrm>
              <a:off x="2158167" y="5597034"/>
              <a:ext cx="1851317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2158167" y="5234241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4892063" y="5535741"/>
            <a:ext cx="260092" cy="260092"/>
            <a:chOff x="3753097" y="4202817"/>
            <a:chExt cx="284163" cy="284163"/>
          </a:xfrm>
          <a:solidFill>
            <a:srgbClr val="125680"/>
          </a:solidFill>
          <a:effectLst/>
        </p:grpSpPr>
        <p:sp>
          <p:nvSpPr>
            <p:cNvPr id="77" name="Freeform 4450"/>
            <p:cNvSpPr>
              <a:spLocks/>
            </p:cNvSpPr>
            <p:nvPr/>
          </p:nvSpPr>
          <p:spPr bwMode="auto">
            <a:xfrm>
              <a:off x="3992810" y="4231392"/>
              <a:ext cx="44450" cy="47625"/>
            </a:xfrm>
            <a:custGeom>
              <a:avLst/>
              <a:gdLst>
                <a:gd name="T0" fmla="*/ 138 w 143"/>
                <a:gd name="T1" fmla="*/ 64 h 150"/>
                <a:gd name="T2" fmla="*/ 74 w 143"/>
                <a:gd name="T3" fmla="*/ 0 h 150"/>
                <a:gd name="T4" fmla="*/ 0 w 143"/>
                <a:gd name="T5" fmla="*/ 73 h 150"/>
                <a:gd name="T6" fmla="*/ 75 w 143"/>
                <a:gd name="T7" fmla="*/ 150 h 150"/>
                <a:gd name="T8" fmla="*/ 138 w 143"/>
                <a:gd name="T9" fmla="*/ 84 h 150"/>
                <a:gd name="T10" fmla="*/ 141 w 143"/>
                <a:gd name="T11" fmla="*/ 83 h 150"/>
                <a:gd name="T12" fmla="*/ 142 w 143"/>
                <a:gd name="T13" fmla="*/ 81 h 150"/>
                <a:gd name="T14" fmla="*/ 143 w 143"/>
                <a:gd name="T15" fmla="*/ 78 h 150"/>
                <a:gd name="T16" fmla="*/ 143 w 143"/>
                <a:gd name="T17" fmla="*/ 75 h 150"/>
                <a:gd name="T18" fmla="*/ 142 w 143"/>
                <a:gd name="T19" fmla="*/ 69 h 150"/>
                <a:gd name="T20" fmla="*/ 138 w 143"/>
                <a:gd name="T21" fmla="*/ 6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0">
                  <a:moveTo>
                    <a:pt x="138" y="64"/>
                  </a:moveTo>
                  <a:lnTo>
                    <a:pt x="74" y="0"/>
                  </a:lnTo>
                  <a:lnTo>
                    <a:pt x="0" y="73"/>
                  </a:lnTo>
                  <a:lnTo>
                    <a:pt x="75" y="150"/>
                  </a:lnTo>
                  <a:lnTo>
                    <a:pt x="138" y="84"/>
                  </a:lnTo>
                  <a:lnTo>
                    <a:pt x="141" y="83"/>
                  </a:lnTo>
                  <a:lnTo>
                    <a:pt x="142" y="81"/>
                  </a:lnTo>
                  <a:lnTo>
                    <a:pt x="143" y="78"/>
                  </a:lnTo>
                  <a:lnTo>
                    <a:pt x="143" y="75"/>
                  </a:lnTo>
                  <a:lnTo>
                    <a:pt x="142" y="69"/>
                  </a:lnTo>
                  <a:lnTo>
                    <a:pt x="13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451"/>
            <p:cNvSpPr>
              <a:spLocks/>
            </p:cNvSpPr>
            <p:nvPr/>
          </p:nvSpPr>
          <p:spPr bwMode="auto">
            <a:xfrm>
              <a:off x="3961060" y="4202817"/>
              <a:ext cx="47625" cy="46038"/>
            </a:xfrm>
            <a:custGeom>
              <a:avLst/>
              <a:gdLst>
                <a:gd name="T0" fmla="*/ 149 w 149"/>
                <a:gd name="T1" fmla="*/ 68 h 143"/>
                <a:gd name="T2" fmla="*/ 86 w 149"/>
                <a:gd name="T3" fmla="*/ 4 h 143"/>
                <a:gd name="T4" fmla="*/ 84 w 149"/>
                <a:gd name="T5" fmla="*/ 2 h 143"/>
                <a:gd name="T6" fmla="*/ 80 w 149"/>
                <a:gd name="T7" fmla="*/ 1 h 143"/>
                <a:gd name="T8" fmla="*/ 78 w 149"/>
                <a:gd name="T9" fmla="*/ 0 h 143"/>
                <a:gd name="T10" fmla="*/ 75 w 149"/>
                <a:gd name="T11" fmla="*/ 0 h 143"/>
                <a:gd name="T12" fmla="*/ 75 w 149"/>
                <a:gd name="T13" fmla="*/ 0 h 143"/>
                <a:gd name="T14" fmla="*/ 75 w 149"/>
                <a:gd name="T15" fmla="*/ 0 h 143"/>
                <a:gd name="T16" fmla="*/ 72 w 149"/>
                <a:gd name="T17" fmla="*/ 0 h 143"/>
                <a:gd name="T18" fmla="*/ 69 w 149"/>
                <a:gd name="T19" fmla="*/ 1 h 143"/>
                <a:gd name="T20" fmla="*/ 66 w 149"/>
                <a:gd name="T21" fmla="*/ 2 h 143"/>
                <a:gd name="T22" fmla="*/ 64 w 149"/>
                <a:gd name="T23" fmla="*/ 4 h 143"/>
                <a:gd name="T24" fmla="*/ 0 w 149"/>
                <a:gd name="T25" fmla="*/ 68 h 143"/>
                <a:gd name="T26" fmla="*/ 75 w 149"/>
                <a:gd name="T27" fmla="*/ 143 h 143"/>
                <a:gd name="T28" fmla="*/ 149 w 149"/>
                <a:gd name="T29" fmla="*/ 6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9" h="143">
                  <a:moveTo>
                    <a:pt x="149" y="68"/>
                  </a:move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0" y="68"/>
                  </a:lnTo>
                  <a:lnTo>
                    <a:pt x="75" y="143"/>
                  </a:lnTo>
                  <a:lnTo>
                    <a:pt x="14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452"/>
            <p:cNvSpPr>
              <a:spLocks noEditPoints="1"/>
            </p:cNvSpPr>
            <p:nvPr/>
          </p:nvSpPr>
          <p:spPr bwMode="auto">
            <a:xfrm>
              <a:off x="3753097" y="4231392"/>
              <a:ext cx="255588" cy="255588"/>
            </a:xfrm>
            <a:custGeom>
              <a:avLst/>
              <a:gdLst>
                <a:gd name="T0" fmla="*/ 382 w 808"/>
                <a:gd name="T1" fmla="*/ 623 h 807"/>
                <a:gd name="T2" fmla="*/ 323 w 808"/>
                <a:gd name="T3" fmla="*/ 603 h 807"/>
                <a:gd name="T4" fmla="*/ 272 w 808"/>
                <a:gd name="T5" fmla="*/ 570 h 807"/>
                <a:gd name="T6" fmla="*/ 230 w 808"/>
                <a:gd name="T7" fmla="*/ 526 h 807"/>
                <a:gd name="T8" fmla="*/ 199 w 808"/>
                <a:gd name="T9" fmla="*/ 473 h 807"/>
                <a:gd name="T10" fmla="*/ 182 w 808"/>
                <a:gd name="T11" fmla="*/ 413 h 807"/>
                <a:gd name="T12" fmla="*/ 181 w 808"/>
                <a:gd name="T13" fmla="*/ 348 h 807"/>
                <a:gd name="T14" fmla="*/ 195 w 808"/>
                <a:gd name="T15" fmla="*/ 287 h 807"/>
                <a:gd name="T16" fmla="*/ 223 w 808"/>
                <a:gd name="T17" fmla="*/ 232 h 807"/>
                <a:gd name="T18" fmla="*/ 263 w 808"/>
                <a:gd name="T19" fmla="*/ 186 h 807"/>
                <a:gd name="T20" fmla="*/ 313 w 808"/>
                <a:gd name="T21" fmla="*/ 151 h 807"/>
                <a:gd name="T22" fmla="*/ 370 w 808"/>
                <a:gd name="T23" fmla="*/ 128 h 807"/>
                <a:gd name="T24" fmla="*/ 433 w 808"/>
                <a:gd name="T25" fmla="*/ 119 h 807"/>
                <a:gd name="T26" fmla="*/ 498 w 808"/>
                <a:gd name="T27" fmla="*/ 128 h 807"/>
                <a:gd name="T28" fmla="*/ 554 w 808"/>
                <a:gd name="T29" fmla="*/ 151 h 807"/>
                <a:gd name="T30" fmla="*/ 605 w 808"/>
                <a:gd name="T31" fmla="*/ 186 h 807"/>
                <a:gd name="T32" fmla="*/ 644 w 808"/>
                <a:gd name="T33" fmla="*/ 232 h 807"/>
                <a:gd name="T34" fmla="*/ 672 w 808"/>
                <a:gd name="T35" fmla="*/ 287 h 807"/>
                <a:gd name="T36" fmla="*/ 687 w 808"/>
                <a:gd name="T37" fmla="*/ 348 h 807"/>
                <a:gd name="T38" fmla="*/ 685 w 808"/>
                <a:gd name="T39" fmla="*/ 413 h 807"/>
                <a:gd name="T40" fmla="*/ 668 w 808"/>
                <a:gd name="T41" fmla="*/ 473 h 807"/>
                <a:gd name="T42" fmla="*/ 638 w 808"/>
                <a:gd name="T43" fmla="*/ 526 h 807"/>
                <a:gd name="T44" fmla="*/ 595 w 808"/>
                <a:gd name="T45" fmla="*/ 570 h 807"/>
                <a:gd name="T46" fmla="*/ 544 w 808"/>
                <a:gd name="T47" fmla="*/ 603 h 807"/>
                <a:gd name="T48" fmla="*/ 485 w 808"/>
                <a:gd name="T49" fmla="*/ 623 h 807"/>
                <a:gd name="T50" fmla="*/ 184 w 808"/>
                <a:gd name="T51" fmla="*/ 643 h 807"/>
                <a:gd name="T52" fmla="*/ 169 w 808"/>
                <a:gd name="T53" fmla="*/ 634 h 807"/>
                <a:gd name="T54" fmla="*/ 167 w 808"/>
                <a:gd name="T55" fmla="*/ 616 h 807"/>
                <a:gd name="T56" fmla="*/ 181 w 808"/>
                <a:gd name="T57" fmla="*/ 604 h 807"/>
                <a:gd name="T58" fmla="*/ 198 w 808"/>
                <a:gd name="T59" fmla="*/ 609 h 807"/>
                <a:gd name="T60" fmla="*/ 203 w 808"/>
                <a:gd name="T61" fmla="*/ 628 h 807"/>
                <a:gd name="T62" fmla="*/ 192 w 808"/>
                <a:gd name="T63" fmla="*/ 642 h 807"/>
                <a:gd name="T64" fmla="*/ 121 w 808"/>
                <a:gd name="T65" fmla="*/ 697 h 807"/>
                <a:gd name="T66" fmla="*/ 109 w 808"/>
                <a:gd name="T67" fmla="*/ 684 h 807"/>
                <a:gd name="T68" fmla="*/ 115 w 808"/>
                <a:gd name="T69" fmla="*/ 667 h 807"/>
                <a:gd name="T70" fmla="*/ 132 w 808"/>
                <a:gd name="T71" fmla="*/ 662 h 807"/>
                <a:gd name="T72" fmla="*/ 146 w 808"/>
                <a:gd name="T73" fmla="*/ 673 h 807"/>
                <a:gd name="T74" fmla="*/ 143 w 808"/>
                <a:gd name="T75" fmla="*/ 691 h 807"/>
                <a:gd name="T76" fmla="*/ 129 w 808"/>
                <a:gd name="T77" fmla="*/ 698 h 807"/>
                <a:gd name="T78" fmla="*/ 459 w 808"/>
                <a:gd name="T79" fmla="*/ 91 h 807"/>
                <a:gd name="T80" fmla="*/ 391 w 808"/>
                <a:gd name="T81" fmla="*/ 93 h 807"/>
                <a:gd name="T82" fmla="*/ 323 w 808"/>
                <a:gd name="T83" fmla="*/ 112 h 807"/>
                <a:gd name="T84" fmla="*/ 263 w 808"/>
                <a:gd name="T85" fmla="*/ 146 h 807"/>
                <a:gd name="T86" fmla="*/ 214 w 808"/>
                <a:gd name="T87" fmla="*/ 193 h 807"/>
                <a:gd name="T88" fmla="*/ 178 w 808"/>
                <a:gd name="T89" fmla="*/ 251 h 807"/>
                <a:gd name="T90" fmla="*/ 155 w 808"/>
                <a:gd name="T91" fmla="*/ 317 h 807"/>
                <a:gd name="T92" fmla="*/ 150 w 808"/>
                <a:gd name="T93" fmla="*/ 387 h 807"/>
                <a:gd name="T94" fmla="*/ 167 w 808"/>
                <a:gd name="T95" fmla="*/ 471 h 807"/>
                <a:gd name="T96" fmla="*/ 0 w 808"/>
                <a:gd name="T97" fmla="*/ 643 h 807"/>
                <a:gd name="T98" fmla="*/ 4 w 808"/>
                <a:gd name="T99" fmla="*/ 803 h 807"/>
                <a:gd name="T100" fmla="*/ 166 w 808"/>
                <a:gd name="T101" fmla="*/ 807 h 807"/>
                <a:gd name="T102" fmla="*/ 337 w 808"/>
                <a:gd name="T103" fmla="*/ 642 h 807"/>
                <a:gd name="T104" fmla="*/ 421 w 808"/>
                <a:gd name="T105" fmla="*/ 658 h 807"/>
                <a:gd name="T106" fmla="*/ 491 w 808"/>
                <a:gd name="T107" fmla="*/ 652 h 807"/>
                <a:gd name="T108" fmla="*/ 557 w 808"/>
                <a:gd name="T109" fmla="*/ 630 h 807"/>
                <a:gd name="T110" fmla="*/ 614 w 808"/>
                <a:gd name="T111" fmla="*/ 593 h 807"/>
                <a:gd name="T112" fmla="*/ 661 w 808"/>
                <a:gd name="T113" fmla="*/ 544 h 807"/>
                <a:gd name="T114" fmla="*/ 696 w 808"/>
                <a:gd name="T115" fmla="*/ 484 h 807"/>
                <a:gd name="T116" fmla="*/ 715 w 808"/>
                <a:gd name="T117" fmla="*/ 417 h 807"/>
                <a:gd name="T118" fmla="*/ 717 w 808"/>
                <a:gd name="T119" fmla="*/ 350 h 807"/>
                <a:gd name="T120" fmla="*/ 804 w 808"/>
                <a:gd name="T121" fmla="*/ 175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8" h="807">
                  <a:moveTo>
                    <a:pt x="433" y="628"/>
                  </a:moveTo>
                  <a:lnTo>
                    <a:pt x="421" y="628"/>
                  </a:lnTo>
                  <a:lnTo>
                    <a:pt x="408" y="627"/>
                  </a:lnTo>
                  <a:lnTo>
                    <a:pt x="395" y="626"/>
                  </a:lnTo>
                  <a:lnTo>
                    <a:pt x="382" y="623"/>
                  </a:lnTo>
                  <a:lnTo>
                    <a:pt x="370" y="620"/>
                  </a:lnTo>
                  <a:lnTo>
                    <a:pt x="359" y="617"/>
                  </a:lnTo>
                  <a:lnTo>
                    <a:pt x="347" y="613"/>
                  </a:lnTo>
                  <a:lnTo>
                    <a:pt x="335" y="608"/>
                  </a:lnTo>
                  <a:lnTo>
                    <a:pt x="323" y="603"/>
                  </a:lnTo>
                  <a:lnTo>
                    <a:pt x="313" y="598"/>
                  </a:lnTo>
                  <a:lnTo>
                    <a:pt x="302" y="591"/>
                  </a:lnTo>
                  <a:lnTo>
                    <a:pt x="291" y="585"/>
                  </a:lnTo>
                  <a:lnTo>
                    <a:pt x="282" y="577"/>
                  </a:lnTo>
                  <a:lnTo>
                    <a:pt x="272" y="570"/>
                  </a:lnTo>
                  <a:lnTo>
                    <a:pt x="263" y="562"/>
                  </a:lnTo>
                  <a:lnTo>
                    <a:pt x="254" y="554"/>
                  </a:lnTo>
                  <a:lnTo>
                    <a:pt x="245" y="545"/>
                  </a:lnTo>
                  <a:lnTo>
                    <a:pt x="238" y="536"/>
                  </a:lnTo>
                  <a:lnTo>
                    <a:pt x="230" y="526"/>
                  </a:lnTo>
                  <a:lnTo>
                    <a:pt x="223" y="516"/>
                  </a:lnTo>
                  <a:lnTo>
                    <a:pt x="216" y="506"/>
                  </a:lnTo>
                  <a:lnTo>
                    <a:pt x="210" y="495"/>
                  </a:lnTo>
                  <a:lnTo>
                    <a:pt x="204" y="484"/>
                  </a:lnTo>
                  <a:lnTo>
                    <a:pt x="199" y="473"/>
                  </a:lnTo>
                  <a:lnTo>
                    <a:pt x="195" y="462"/>
                  </a:lnTo>
                  <a:lnTo>
                    <a:pt x="191" y="450"/>
                  </a:lnTo>
                  <a:lnTo>
                    <a:pt x="187" y="437"/>
                  </a:lnTo>
                  <a:lnTo>
                    <a:pt x="184" y="425"/>
                  </a:lnTo>
                  <a:lnTo>
                    <a:pt x="182" y="413"/>
                  </a:lnTo>
                  <a:lnTo>
                    <a:pt x="181" y="400"/>
                  </a:lnTo>
                  <a:lnTo>
                    <a:pt x="180" y="387"/>
                  </a:lnTo>
                  <a:lnTo>
                    <a:pt x="180" y="374"/>
                  </a:lnTo>
                  <a:lnTo>
                    <a:pt x="180" y="361"/>
                  </a:lnTo>
                  <a:lnTo>
                    <a:pt x="181" y="348"/>
                  </a:lnTo>
                  <a:lnTo>
                    <a:pt x="182" y="336"/>
                  </a:lnTo>
                  <a:lnTo>
                    <a:pt x="184" y="323"/>
                  </a:lnTo>
                  <a:lnTo>
                    <a:pt x="187" y="311"/>
                  </a:lnTo>
                  <a:lnTo>
                    <a:pt x="191" y="299"/>
                  </a:lnTo>
                  <a:lnTo>
                    <a:pt x="195" y="287"/>
                  </a:lnTo>
                  <a:lnTo>
                    <a:pt x="199" y="276"/>
                  </a:lnTo>
                  <a:lnTo>
                    <a:pt x="204" y="264"/>
                  </a:lnTo>
                  <a:lnTo>
                    <a:pt x="210" y="253"/>
                  </a:lnTo>
                  <a:lnTo>
                    <a:pt x="216" y="243"/>
                  </a:lnTo>
                  <a:lnTo>
                    <a:pt x="223" y="232"/>
                  </a:lnTo>
                  <a:lnTo>
                    <a:pt x="230" y="222"/>
                  </a:lnTo>
                  <a:lnTo>
                    <a:pt x="238" y="213"/>
                  </a:lnTo>
                  <a:lnTo>
                    <a:pt x="245" y="204"/>
                  </a:lnTo>
                  <a:lnTo>
                    <a:pt x="254" y="194"/>
                  </a:lnTo>
                  <a:lnTo>
                    <a:pt x="263" y="186"/>
                  </a:lnTo>
                  <a:lnTo>
                    <a:pt x="272" y="178"/>
                  </a:lnTo>
                  <a:lnTo>
                    <a:pt x="282" y="171"/>
                  </a:lnTo>
                  <a:lnTo>
                    <a:pt x="291" y="163"/>
                  </a:lnTo>
                  <a:lnTo>
                    <a:pt x="302" y="157"/>
                  </a:lnTo>
                  <a:lnTo>
                    <a:pt x="313" y="151"/>
                  </a:lnTo>
                  <a:lnTo>
                    <a:pt x="323" y="145"/>
                  </a:lnTo>
                  <a:lnTo>
                    <a:pt x="335" y="140"/>
                  </a:lnTo>
                  <a:lnTo>
                    <a:pt x="347" y="136"/>
                  </a:lnTo>
                  <a:lnTo>
                    <a:pt x="359" y="131"/>
                  </a:lnTo>
                  <a:lnTo>
                    <a:pt x="370" y="128"/>
                  </a:lnTo>
                  <a:lnTo>
                    <a:pt x="382" y="125"/>
                  </a:lnTo>
                  <a:lnTo>
                    <a:pt x="395" y="123"/>
                  </a:lnTo>
                  <a:lnTo>
                    <a:pt x="408" y="121"/>
                  </a:lnTo>
                  <a:lnTo>
                    <a:pt x="421" y="119"/>
                  </a:lnTo>
                  <a:lnTo>
                    <a:pt x="433" y="119"/>
                  </a:lnTo>
                  <a:lnTo>
                    <a:pt x="446" y="119"/>
                  </a:lnTo>
                  <a:lnTo>
                    <a:pt x="459" y="121"/>
                  </a:lnTo>
                  <a:lnTo>
                    <a:pt x="472" y="123"/>
                  </a:lnTo>
                  <a:lnTo>
                    <a:pt x="485" y="125"/>
                  </a:lnTo>
                  <a:lnTo>
                    <a:pt x="498" y="128"/>
                  </a:lnTo>
                  <a:lnTo>
                    <a:pt x="509" y="131"/>
                  </a:lnTo>
                  <a:lnTo>
                    <a:pt x="521" y="136"/>
                  </a:lnTo>
                  <a:lnTo>
                    <a:pt x="533" y="140"/>
                  </a:lnTo>
                  <a:lnTo>
                    <a:pt x="544" y="145"/>
                  </a:lnTo>
                  <a:lnTo>
                    <a:pt x="554" y="151"/>
                  </a:lnTo>
                  <a:lnTo>
                    <a:pt x="565" y="157"/>
                  </a:lnTo>
                  <a:lnTo>
                    <a:pt x="576" y="163"/>
                  </a:lnTo>
                  <a:lnTo>
                    <a:pt x="585" y="171"/>
                  </a:lnTo>
                  <a:lnTo>
                    <a:pt x="595" y="178"/>
                  </a:lnTo>
                  <a:lnTo>
                    <a:pt x="605" y="186"/>
                  </a:lnTo>
                  <a:lnTo>
                    <a:pt x="613" y="194"/>
                  </a:lnTo>
                  <a:lnTo>
                    <a:pt x="622" y="204"/>
                  </a:lnTo>
                  <a:lnTo>
                    <a:pt x="629" y="213"/>
                  </a:lnTo>
                  <a:lnTo>
                    <a:pt x="638" y="222"/>
                  </a:lnTo>
                  <a:lnTo>
                    <a:pt x="644" y="232"/>
                  </a:lnTo>
                  <a:lnTo>
                    <a:pt x="651" y="243"/>
                  </a:lnTo>
                  <a:lnTo>
                    <a:pt x="657" y="253"/>
                  </a:lnTo>
                  <a:lnTo>
                    <a:pt x="662" y="264"/>
                  </a:lnTo>
                  <a:lnTo>
                    <a:pt x="668" y="276"/>
                  </a:lnTo>
                  <a:lnTo>
                    <a:pt x="672" y="287"/>
                  </a:lnTo>
                  <a:lnTo>
                    <a:pt x="676" y="299"/>
                  </a:lnTo>
                  <a:lnTo>
                    <a:pt x="680" y="311"/>
                  </a:lnTo>
                  <a:lnTo>
                    <a:pt x="683" y="323"/>
                  </a:lnTo>
                  <a:lnTo>
                    <a:pt x="685" y="336"/>
                  </a:lnTo>
                  <a:lnTo>
                    <a:pt x="687" y="348"/>
                  </a:lnTo>
                  <a:lnTo>
                    <a:pt x="687" y="361"/>
                  </a:lnTo>
                  <a:lnTo>
                    <a:pt x="688" y="374"/>
                  </a:lnTo>
                  <a:lnTo>
                    <a:pt x="687" y="387"/>
                  </a:lnTo>
                  <a:lnTo>
                    <a:pt x="687" y="400"/>
                  </a:lnTo>
                  <a:lnTo>
                    <a:pt x="685" y="413"/>
                  </a:lnTo>
                  <a:lnTo>
                    <a:pt x="683" y="425"/>
                  </a:lnTo>
                  <a:lnTo>
                    <a:pt x="680" y="437"/>
                  </a:lnTo>
                  <a:lnTo>
                    <a:pt x="676" y="450"/>
                  </a:lnTo>
                  <a:lnTo>
                    <a:pt x="672" y="462"/>
                  </a:lnTo>
                  <a:lnTo>
                    <a:pt x="668" y="473"/>
                  </a:lnTo>
                  <a:lnTo>
                    <a:pt x="662" y="484"/>
                  </a:lnTo>
                  <a:lnTo>
                    <a:pt x="657" y="495"/>
                  </a:lnTo>
                  <a:lnTo>
                    <a:pt x="651" y="506"/>
                  </a:lnTo>
                  <a:lnTo>
                    <a:pt x="644" y="516"/>
                  </a:lnTo>
                  <a:lnTo>
                    <a:pt x="638" y="526"/>
                  </a:lnTo>
                  <a:lnTo>
                    <a:pt x="629" y="536"/>
                  </a:lnTo>
                  <a:lnTo>
                    <a:pt x="622" y="545"/>
                  </a:lnTo>
                  <a:lnTo>
                    <a:pt x="613" y="554"/>
                  </a:lnTo>
                  <a:lnTo>
                    <a:pt x="605" y="562"/>
                  </a:lnTo>
                  <a:lnTo>
                    <a:pt x="595" y="570"/>
                  </a:lnTo>
                  <a:lnTo>
                    <a:pt x="585" y="577"/>
                  </a:lnTo>
                  <a:lnTo>
                    <a:pt x="576" y="585"/>
                  </a:lnTo>
                  <a:lnTo>
                    <a:pt x="565" y="591"/>
                  </a:lnTo>
                  <a:lnTo>
                    <a:pt x="554" y="598"/>
                  </a:lnTo>
                  <a:lnTo>
                    <a:pt x="544" y="603"/>
                  </a:lnTo>
                  <a:lnTo>
                    <a:pt x="533" y="608"/>
                  </a:lnTo>
                  <a:lnTo>
                    <a:pt x="521" y="613"/>
                  </a:lnTo>
                  <a:lnTo>
                    <a:pt x="509" y="617"/>
                  </a:lnTo>
                  <a:lnTo>
                    <a:pt x="498" y="620"/>
                  </a:lnTo>
                  <a:lnTo>
                    <a:pt x="485" y="623"/>
                  </a:lnTo>
                  <a:lnTo>
                    <a:pt x="472" y="626"/>
                  </a:lnTo>
                  <a:lnTo>
                    <a:pt x="459" y="627"/>
                  </a:lnTo>
                  <a:lnTo>
                    <a:pt x="446" y="628"/>
                  </a:lnTo>
                  <a:lnTo>
                    <a:pt x="433" y="628"/>
                  </a:lnTo>
                  <a:close/>
                  <a:moveTo>
                    <a:pt x="184" y="643"/>
                  </a:moveTo>
                  <a:lnTo>
                    <a:pt x="181" y="643"/>
                  </a:lnTo>
                  <a:lnTo>
                    <a:pt x="178" y="642"/>
                  </a:lnTo>
                  <a:lnTo>
                    <a:pt x="175" y="639"/>
                  </a:lnTo>
                  <a:lnTo>
                    <a:pt x="171" y="637"/>
                  </a:lnTo>
                  <a:lnTo>
                    <a:pt x="169" y="634"/>
                  </a:lnTo>
                  <a:lnTo>
                    <a:pt x="167" y="631"/>
                  </a:lnTo>
                  <a:lnTo>
                    <a:pt x="166" y="628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7" y="616"/>
                  </a:lnTo>
                  <a:lnTo>
                    <a:pt x="169" y="613"/>
                  </a:lnTo>
                  <a:lnTo>
                    <a:pt x="171" y="609"/>
                  </a:lnTo>
                  <a:lnTo>
                    <a:pt x="175" y="607"/>
                  </a:lnTo>
                  <a:lnTo>
                    <a:pt x="178" y="605"/>
                  </a:lnTo>
                  <a:lnTo>
                    <a:pt x="181" y="604"/>
                  </a:lnTo>
                  <a:lnTo>
                    <a:pt x="184" y="604"/>
                  </a:lnTo>
                  <a:lnTo>
                    <a:pt x="188" y="604"/>
                  </a:lnTo>
                  <a:lnTo>
                    <a:pt x="192" y="605"/>
                  </a:lnTo>
                  <a:lnTo>
                    <a:pt x="195" y="607"/>
                  </a:lnTo>
                  <a:lnTo>
                    <a:pt x="198" y="609"/>
                  </a:lnTo>
                  <a:lnTo>
                    <a:pt x="200" y="613"/>
                  </a:lnTo>
                  <a:lnTo>
                    <a:pt x="202" y="616"/>
                  </a:lnTo>
                  <a:lnTo>
                    <a:pt x="203" y="620"/>
                  </a:lnTo>
                  <a:lnTo>
                    <a:pt x="203" y="623"/>
                  </a:lnTo>
                  <a:lnTo>
                    <a:pt x="203" y="628"/>
                  </a:lnTo>
                  <a:lnTo>
                    <a:pt x="202" y="631"/>
                  </a:lnTo>
                  <a:lnTo>
                    <a:pt x="200" y="634"/>
                  </a:lnTo>
                  <a:lnTo>
                    <a:pt x="198" y="637"/>
                  </a:lnTo>
                  <a:lnTo>
                    <a:pt x="195" y="639"/>
                  </a:lnTo>
                  <a:lnTo>
                    <a:pt x="192" y="642"/>
                  </a:lnTo>
                  <a:lnTo>
                    <a:pt x="188" y="643"/>
                  </a:lnTo>
                  <a:lnTo>
                    <a:pt x="184" y="643"/>
                  </a:lnTo>
                  <a:close/>
                  <a:moveTo>
                    <a:pt x="129" y="698"/>
                  </a:moveTo>
                  <a:lnTo>
                    <a:pt x="124" y="698"/>
                  </a:lnTo>
                  <a:lnTo>
                    <a:pt x="121" y="697"/>
                  </a:lnTo>
                  <a:lnTo>
                    <a:pt x="118" y="695"/>
                  </a:lnTo>
                  <a:lnTo>
                    <a:pt x="115" y="693"/>
                  </a:lnTo>
                  <a:lnTo>
                    <a:pt x="112" y="691"/>
                  </a:lnTo>
                  <a:lnTo>
                    <a:pt x="110" y="688"/>
                  </a:lnTo>
                  <a:lnTo>
                    <a:pt x="109" y="684"/>
                  </a:lnTo>
                  <a:lnTo>
                    <a:pt x="109" y="680"/>
                  </a:lnTo>
                  <a:lnTo>
                    <a:pt x="109" y="677"/>
                  </a:lnTo>
                  <a:lnTo>
                    <a:pt x="110" y="673"/>
                  </a:lnTo>
                  <a:lnTo>
                    <a:pt x="112" y="669"/>
                  </a:lnTo>
                  <a:lnTo>
                    <a:pt x="115" y="667"/>
                  </a:lnTo>
                  <a:lnTo>
                    <a:pt x="118" y="664"/>
                  </a:lnTo>
                  <a:lnTo>
                    <a:pt x="121" y="663"/>
                  </a:lnTo>
                  <a:lnTo>
                    <a:pt x="124" y="662"/>
                  </a:lnTo>
                  <a:lnTo>
                    <a:pt x="129" y="661"/>
                  </a:lnTo>
                  <a:lnTo>
                    <a:pt x="132" y="662"/>
                  </a:lnTo>
                  <a:lnTo>
                    <a:pt x="135" y="663"/>
                  </a:lnTo>
                  <a:lnTo>
                    <a:pt x="138" y="664"/>
                  </a:lnTo>
                  <a:lnTo>
                    <a:pt x="141" y="667"/>
                  </a:lnTo>
                  <a:lnTo>
                    <a:pt x="143" y="669"/>
                  </a:lnTo>
                  <a:lnTo>
                    <a:pt x="146" y="673"/>
                  </a:lnTo>
                  <a:lnTo>
                    <a:pt x="147" y="677"/>
                  </a:lnTo>
                  <a:lnTo>
                    <a:pt x="147" y="680"/>
                  </a:lnTo>
                  <a:lnTo>
                    <a:pt x="147" y="684"/>
                  </a:lnTo>
                  <a:lnTo>
                    <a:pt x="146" y="688"/>
                  </a:lnTo>
                  <a:lnTo>
                    <a:pt x="143" y="691"/>
                  </a:lnTo>
                  <a:lnTo>
                    <a:pt x="141" y="693"/>
                  </a:lnTo>
                  <a:lnTo>
                    <a:pt x="138" y="695"/>
                  </a:lnTo>
                  <a:lnTo>
                    <a:pt x="135" y="697"/>
                  </a:lnTo>
                  <a:lnTo>
                    <a:pt x="132" y="698"/>
                  </a:lnTo>
                  <a:lnTo>
                    <a:pt x="129" y="698"/>
                  </a:lnTo>
                  <a:close/>
                  <a:moveTo>
                    <a:pt x="530" y="108"/>
                  </a:moveTo>
                  <a:lnTo>
                    <a:pt x="507" y="100"/>
                  </a:lnTo>
                  <a:lnTo>
                    <a:pt x="484" y="95"/>
                  </a:lnTo>
                  <a:lnTo>
                    <a:pt x="471" y="93"/>
                  </a:lnTo>
                  <a:lnTo>
                    <a:pt x="459" y="91"/>
                  </a:lnTo>
                  <a:lnTo>
                    <a:pt x="446" y="91"/>
                  </a:lnTo>
                  <a:lnTo>
                    <a:pt x="433" y="90"/>
                  </a:lnTo>
                  <a:lnTo>
                    <a:pt x="420" y="91"/>
                  </a:lnTo>
                  <a:lnTo>
                    <a:pt x="405" y="92"/>
                  </a:lnTo>
                  <a:lnTo>
                    <a:pt x="391" y="93"/>
                  </a:lnTo>
                  <a:lnTo>
                    <a:pt x="377" y="96"/>
                  </a:lnTo>
                  <a:lnTo>
                    <a:pt x="363" y="99"/>
                  </a:lnTo>
                  <a:lnTo>
                    <a:pt x="349" y="102"/>
                  </a:lnTo>
                  <a:lnTo>
                    <a:pt x="336" y="107"/>
                  </a:lnTo>
                  <a:lnTo>
                    <a:pt x="323" y="112"/>
                  </a:lnTo>
                  <a:lnTo>
                    <a:pt x="310" y="118"/>
                  </a:lnTo>
                  <a:lnTo>
                    <a:pt x="299" y="125"/>
                  </a:lnTo>
                  <a:lnTo>
                    <a:pt x="287" y="131"/>
                  </a:lnTo>
                  <a:lnTo>
                    <a:pt x="275" y="139"/>
                  </a:lnTo>
                  <a:lnTo>
                    <a:pt x="263" y="146"/>
                  </a:lnTo>
                  <a:lnTo>
                    <a:pt x="253" y="155"/>
                  </a:lnTo>
                  <a:lnTo>
                    <a:pt x="243" y="164"/>
                  </a:lnTo>
                  <a:lnTo>
                    <a:pt x="233" y="173"/>
                  </a:lnTo>
                  <a:lnTo>
                    <a:pt x="224" y="184"/>
                  </a:lnTo>
                  <a:lnTo>
                    <a:pt x="214" y="193"/>
                  </a:lnTo>
                  <a:lnTo>
                    <a:pt x="206" y="204"/>
                  </a:lnTo>
                  <a:lnTo>
                    <a:pt x="198" y="216"/>
                  </a:lnTo>
                  <a:lnTo>
                    <a:pt x="191" y="228"/>
                  </a:lnTo>
                  <a:lnTo>
                    <a:pt x="184" y="239"/>
                  </a:lnTo>
                  <a:lnTo>
                    <a:pt x="178" y="251"/>
                  </a:lnTo>
                  <a:lnTo>
                    <a:pt x="172" y="264"/>
                  </a:lnTo>
                  <a:lnTo>
                    <a:pt x="167" y="277"/>
                  </a:lnTo>
                  <a:lnTo>
                    <a:pt x="163" y="290"/>
                  </a:lnTo>
                  <a:lnTo>
                    <a:pt x="158" y="303"/>
                  </a:lnTo>
                  <a:lnTo>
                    <a:pt x="155" y="317"/>
                  </a:lnTo>
                  <a:lnTo>
                    <a:pt x="153" y="331"/>
                  </a:lnTo>
                  <a:lnTo>
                    <a:pt x="151" y="345"/>
                  </a:lnTo>
                  <a:lnTo>
                    <a:pt x="150" y="359"/>
                  </a:lnTo>
                  <a:lnTo>
                    <a:pt x="150" y="374"/>
                  </a:lnTo>
                  <a:lnTo>
                    <a:pt x="150" y="387"/>
                  </a:lnTo>
                  <a:lnTo>
                    <a:pt x="151" y="400"/>
                  </a:lnTo>
                  <a:lnTo>
                    <a:pt x="152" y="412"/>
                  </a:lnTo>
                  <a:lnTo>
                    <a:pt x="154" y="424"/>
                  </a:lnTo>
                  <a:lnTo>
                    <a:pt x="160" y="448"/>
                  </a:lnTo>
                  <a:lnTo>
                    <a:pt x="167" y="471"/>
                  </a:lnTo>
                  <a:lnTo>
                    <a:pt x="4" y="631"/>
                  </a:lnTo>
                  <a:lnTo>
                    <a:pt x="2" y="634"/>
                  </a:lnTo>
                  <a:lnTo>
                    <a:pt x="1" y="636"/>
                  </a:lnTo>
                  <a:lnTo>
                    <a:pt x="0" y="639"/>
                  </a:lnTo>
                  <a:lnTo>
                    <a:pt x="0" y="643"/>
                  </a:lnTo>
                  <a:lnTo>
                    <a:pt x="0" y="792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2" y="801"/>
                  </a:lnTo>
                  <a:lnTo>
                    <a:pt x="4" y="803"/>
                  </a:lnTo>
                  <a:lnTo>
                    <a:pt x="7" y="805"/>
                  </a:lnTo>
                  <a:lnTo>
                    <a:pt x="9" y="806"/>
                  </a:lnTo>
                  <a:lnTo>
                    <a:pt x="12" y="807"/>
                  </a:lnTo>
                  <a:lnTo>
                    <a:pt x="15" y="807"/>
                  </a:lnTo>
                  <a:lnTo>
                    <a:pt x="166" y="807"/>
                  </a:lnTo>
                  <a:lnTo>
                    <a:pt x="169" y="807"/>
                  </a:lnTo>
                  <a:lnTo>
                    <a:pt x="171" y="806"/>
                  </a:lnTo>
                  <a:lnTo>
                    <a:pt x="175" y="805"/>
                  </a:lnTo>
                  <a:lnTo>
                    <a:pt x="177" y="803"/>
                  </a:lnTo>
                  <a:lnTo>
                    <a:pt x="337" y="642"/>
                  </a:lnTo>
                  <a:lnTo>
                    <a:pt x="361" y="648"/>
                  </a:lnTo>
                  <a:lnTo>
                    <a:pt x="384" y="653"/>
                  </a:lnTo>
                  <a:lnTo>
                    <a:pt x="396" y="655"/>
                  </a:lnTo>
                  <a:lnTo>
                    <a:pt x="409" y="657"/>
                  </a:lnTo>
                  <a:lnTo>
                    <a:pt x="421" y="658"/>
                  </a:lnTo>
                  <a:lnTo>
                    <a:pt x="433" y="658"/>
                  </a:lnTo>
                  <a:lnTo>
                    <a:pt x="448" y="658"/>
                  </a:lnTo>
                  <a:lnTo>
                    <a:pt x="462" y="657"/>
                  </a:lnTo>
                  <a:lnTo>
                    <a:pt x="477" y="654"/>
                  </a:lnTo>
                  <a:lnTo>
                    <a:pt x="491" y="652"/>
                  </a:lnTo>
                  <a:lnTo>
                    <a:pt x="504" y="649"/>
                  </a:lnTo>
                  <a:lnTo>
                    <a:pt x="518" y="645"/>
                  </a:lnTo>
                  <a:lnTo>
                    <a:pt x="531" y="640"/>
                  </a:lnTo>
                  <a:lnTo>
                    <a:pt x="544" y="635"/>
                  </a:lnTo>
                  <a:lnTo>
                    <a:pt x="557" y="630"/>
                  </a:lnTo>
                  <a:lnTo>
                    <a:pt x="569" y="623"/>
                  </a:lnTo>
                  <a:lnTo>
                    <a:pt x="581" y="617"/>
                  </a:lnTo>
                  <a:lnTo>
                    <a:pt x="593" y="609"/>
                  </a:lnTo>
                  <a:lnTo>
                    <a:pt x="604" y="602"/>
                  </a:lnTo>
                  <a:lnTo>
                    <a:pt x="614" y="593"/>
                  </a:lnTo>
                  <a:lnTo>
                    <a:pt x="625" y="584"/>
                  </a:lnTo>
                  <a:lnTo>
                    <a:pt x="635" y="575"/>
                  </a:lnTo>
                  <a:lnTo>
                    <a:pt x="644" y="565"/>
                  </a:lnTo>
                  <a:lnTo>
                    <a:pt x="653" y="555"/>
                  </a:lnTo>
                  <a:lnTo>
                    <a:pt x="661" y="544"/>
                  </a:lnTo>
                  <a:lnTo>
                    <a:pt x="669" y="532"/>
                  </a:lnTo>
                  <a:lnTo>
                    <a:pt x="676" y="522"/>
                  </a:lnTo>
                  <a:lnTo>
                    <a:pt x="684" y="509"/>
                  </a:lnTo>
                  <a:lnTo>
                    <a:pt x="690" y="497"/>
                  </a:lnTo>
                  <a:lnTo>
                    <a:pt x="696" y="484"/>
                  </a:lnTo>
                  <a:lnTo>
                    <a:pt x="701" y="471"/>
                  </a:lnTo>
                  <a:lnTo>
                    <a:pt x="705" y="459"/>
                  </a:lnTo>
                  <a:lnTo>
                    <a:pt x="708" y="445"/>
                  </a:lnTo>
                  <a:lnTo>
                    <a:pt x="712" y="431"/>
                  </a:lnTo>
                  <a:lnTo>
                    <a:pt x="715" y="417"/>
                  </a:lnTo>
                  <a:lnTo>
                    <a:pt x="716" y="403"/>
                  </a:lnTo>
                  <a:lnTo>
                    <a:pt x="717" y="388"/>
                  </a:lnTo>
                  <a:lnTo>
                    <a:pt x="718" y="374"/>
                  </a:lnTo>
                  <a:lnTo>
                    <a:pt x="717" y="361"/>
                  </a:lnTo>
                  <a:lnTo>
                    <a:pt x="717" y="350"/>
                  </a:lnTo>
                  <a:lnTo>
                    <a:pt x="715" y="337"/>
                  </a:lnTo>
                  <a:lnTo>
                    <a:pt x="714" y="325"/>
                  </a:lnTo>
                  <a:lnTo>
                    <a:pt x="708" y="301"/>
                  </a:lnTo>
                  <a:lnTo>
                    <a:pt x="701" y="278"/>
                  </a:lnTo>
                  <a:lnTo>
                    <a:pt x="804" y="175"/>
                  </a:lnTo>
                  <a:lnTo>
                    <a:pt x="808" y="172"/>
                  </a:lnTo>
                  <a:lnTo>
                    <a:pt x="637" y="0"/>
                  </a:lnTo>
                  <a:lnTo>
                    <a:pt x="530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453"/>
            <p:cNvSpPr>
              <a:spLocks/>
            </p:cNvSpPr>
            <p:nvPr/>
          </p:nvSpPr>
          <p:spPr bwMode="auto">
            <a:xfrm>
              <a:off x="3884860" y="4317117"/>
              <a:ext cx="44450" cy="74613"/>
            </a:xfrm>
            <a:custGeom>
              <a:avLst/>
              <a:gdLst>
                <a:gd name="T0" fmla="*/ 30 w 140"/>
                <a:gd name="T1" fmla="*/ 103 h 238"/>
                <a:gd name="T2" fmla="*/ 30 w 140"/>
                <a:gd name="T3" fmla="*/ 15 h 238"/>
                <a:gd name="T4" fmla="*/ 30 w 140"/>
                <a:gd name="T5" fmla="*/ 12 h 238"/>
                <a:gd name="T6" fmla="*/ 29 w 140"/>
                <a:gd name="T7" fmla="*/ 9 h 238"/>
                <a:gd name="T8" fmla="*/ 28 w 140"/>
                <a:gd name="T9" fmla="*/ 7 h 238"/>
                <a:gd name="T10" fmla="*/ 26 w 140"/>
                <a:gd name="T11" fmla="*/ 5 h 238"/>
                <a:gd name="T12" fmla="*/ 24 w 140"/>
                <a:gd name="T13" fmla="*/ 2 h 238"/>
                <a:gd name="T14" fmla="*/ 22 w 140"/>
                <a:gd name="T15" fmla="*/ 1 h 238"/>
                <a:gd name="T16" fmla="*/ 19 w 140"/>
                <a:gd name="T17" fmla="*/ 0 h 238"/>
                <a:gd name="T18" fmla="*/ 15 w 140"/>
                <a:gd name="T19" fmla="*/ 0 h 238"/>
                <a:gd name="T20" fmla="*/ 12 w 140"/>
                <a:gd name="T21" fmla="*/ 0 h 238"/>
                <a:gd name="T22" fmla="*/ 10 w 140"/>
                <a:gd name="T23" fmla="*/ 1 h 238"/>
                <a:gd name="T24" fmla="*/ 7 w 140"/>
                <a:gd name="T25" fmla="*/ 2 h 238"/>
                <a:gd name="T26" fmla="*/ 5 w 140"/>
                <a:gd name="T27" fmla="*/ 5 h 238"/>
                <a:gd name="T28" fmla="*/ 4 w 140"/>
                <a:gd name="T29" fmla="*/ 7 h 238"/>
                <a:gd name="T30" fmla="*/ 2 w 140"/>
                <a:gd name="T31" fmla="*/ 9 h 238"/>
                <a:gd name="T32" fmla="*/ 2 w 140"/>
                <a:gd name="T33" fmla="*/ 12 h 238"/>
                <a:gd name="T34" fmla="*/ 0 w 140"/>
                <a:gd name="T35" fmla="*/ 15 h 238"/>
                <a:gd name="T36" fmla="*/ 0 w 140"/>
                <a:gd name="T37" fmla="*/ 109 h 238"/>
                <a:gd name="T38" fmla="*/ 0 w 140"/>
                <a:gd name="T39" fmla="*/ 113 h 238"/>
                <a:gd name="T40" fmla="*/ 2 w 140"/>
                <a:gd name="T41" fmla="*/ 115 h 238"/>
                <a:gd name="T42" fmla="*/ 3 w 140"/>
                <a:gd name="T43" fmla="*/ 118 h 238"/>
                <a:gd name="T44" fmla="*/ 5 w 140"/>
                <a:gd name="T45" fmla="*/ 120 h 238"/>
                <a:gd name="T46" fmla="*/ 114 w 140"/>
                <a:gd name="T47" fmla="*/ 233 h 238"/>
                <a:gd name="T48" fmla="*/ 116 w 140"/>
                <a:gd name="T49" fmla="*/ 236 h 238"/>
                <a:gd name="T50" fmla="*/ 119 w 140"/>
                <a:gd name="T51" fmla="*/ 237 h 238"/>
                <a:gd name="T52" fmla="*/ 122 w 140"/>
                <a:gd name="T53" fmla="*/ 238 h 238"/>
                <a:gd name="T54" fmla="*/ 125 w 140"/>
                <a:gd name="T55" fmla="*/ 238 h 238"/>
                <a:gd name="T56" fmla="*/ 128 w 140"/>
                <a:gd name="T57" fmla="*/ 238 h 238"/>
                <a:gd name="T58" fmla="*/ 130 w 140"/>
                <a:gd name="T59" fmla="*/ 237 h 238"/>
                <a:gd name="T60" fmla="*/ 133 w 140"/>
                <a:gd name="T61" fmla="*/ 236 h 238"/>
                <a:gd name="T62" fmla="*/ 135 w 140"/>
                <a:gd name="T63" fmla="*/ 233 h 238"/>
                <a:gd name="T64" fmla="*/ 137 w 140"/>
                <a:gd name="T65" fmla="*/ 231 h 238"/>
                <a:gd name="T66" fmla="*/ 139 w 140"/>
                <a:gd name="T67" fmla="*/ 228 h 238"/>
                <a:gd name="T68" fmla="*/ 140 w 140"/>
                <a:gd name="T69" fmla="*/ 226 h 238"/>
                <a:gd name="T70" fmla="*/ 140 w 140"/>
                <a:gd name="T71" fmla="*/ 223 h 238"/>
                <a:gd name="T72" fmla="*/ 140 w 140"/>
                <a:gd name="T73" fmla="*/ 221 h 238"/>
                <a:gd name="T74" fmla="*/ 139 w 140"/>
                <a:gd name="T75" fmla="*/ 217 h 238"/>
                <a:gd name="T76" fmla="*/ 137 w 140"/>
                <a:gd name="T77" fmla="*/ 215 h 238"/>
                <a:gd name="T78" fmla="*/ 135 w 140"/>
                <a:gd name="T79" fmla="*/ 212 h 238"/>
                <a:gd name="T80" fmla="*/ 30 w 140"/>
                <a:gd name="T81" fmla="*/ 10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0" h="238">
                  <a:moveTo>
                    <a:pt x="30" y="103"/>
                  </a:move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5"/>
                  </a:lnTo>
                  <a:lnTo>
                    <a:pt x="3" y="118"/>
                  </a:lnTo>
                  <a:lnTo>
                    <a:pt x="5" y="120"/>
                  </a:lnTo>
                  <a:lnTo>
                    <a:pt x="114" y="233"/>
                  </a:lnTo>
                  <a:lnTo>
                    <a:pt x="116" y="236"/>
                  </a:lnTo>
                  <a:lnTo>
                    <a:pt x="119" y="237"/>
                  </a:lnTo>
                  <a:lnTo>
                    <a:pt x="122" y="238"/>
                  </a:lnTo>
                  <a:lnTo>
                    <a:pt x="125" y="238"/>
                  </a:lnTo>
                  <a:lnTo>
                    <a:pt x="128" y="238"/>
                  </a:lnTo>
                  <a:lnTo>
                    <a:pt x="130" y="237"/>
                  </a:lnTo>
                  <a:lnTo>
                    <a:pt x="133" y="236"/>
                  </a:lnTo>
                  <a:lnTo>
                    <a:pt x="135" y="233"/>
                  </a:lnTo>
                  <a:lnTo>
                    <a:pt x="137" y="231"/>
                  </a:lnTo>
                  <a:lnTo>
                    <a:pt x="139" y="228"/>
                  </a:lnTo>
                  <a:lnTo>
                    <a:pt x="140" y="226"/>
                  </a:lnTo>
                  <a:lnTo>
                    <a:pt x="140" y="223"/>
                  </a:lnTo>
                  <a:lnTo>
                    <a:pt x="140" y="221"/>
                  </a:lnTo>
                  <a:lnTo>
                    <a:pt x="139" y="217"/>
                  </a:lnTo>
                  <a:lnTo>
                    <a:pt x="137" y="215"/>
                  </a:lnTo>
                  <a:lnTo>
                    <a:pt x="135" y="212"/>
                  </a:lnTo>
                  <a:lnTo>
                    <a:pt x="3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8462001" y="5516692"/>
            <a:ext cx="294448" cy="260092"/>
            <a:chOff x="7600950" y="779463"/>
            <a:chExt cx="285750" cy="252412"/>
          </a:xfrm>
          <a:solidFill>
            <a:srgbClr val="125680"/>
          </a:solidFill>
          <a:effectLst/>
        </p:grpSpPr>
        <p:sp>
          <p:nvSpPr>
            <p:cNvPr id="85" name="Freeform 3135"/>
            <p:cNvSpPr>
              <a:spLocks/>
            </p:cNvSpPr>
            <p:nvPr/>
          </p:nvSpPr>
          <p:spPr bwMode="auto">
            <a:xfrm>
              <a:off x="7677150" y="779463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Freeform 1592"/>
          <p:cNvSpPr>
            <a:spLocks noEditPoints="1"/>
          </p:cNvSpPr>
          <p:nvPr/>
        </p:nvSpPr>
        <p:spPr bwMode="auto">
          <a:xfrm>
            <a:off x="826808" y="1623362"/>
            <a:ext cx="414075" cy="386623"/>
          </a:xfrm>
          <a:custGeom>
            <a:avLst/>
            <a:gdLst>
              <a:gd name="T0" fmla="*/ 91 w 905"/>
              <a:gd name="T1" fmla="*/ 90 h 845"/>
              <a:gd name="T2" fmla="*/ 452 w 905"/>
              <a:gd name="T3" fmla="*/ 679 h 845"/>
              <a:gd name="T4" fmla="*/ 436 w 905"/>
              <a:gd name="T5" fmla="*/ 673 h 845"/>
              <a:gd name="T6" fmla="*/ 425 w 905"/>
              <a:gd name="T7" fmla="*/ 660 h 845"/>
              <a:gd name="T8" fmla="*/ 423 w 905"/>
              <a:gd name="T9" fmla="*/ 642 h 845"/>
              <a:gd name="T10" fmla="*/ 431 w 905"/>
              <a:gd name="T11" fmla="*/ 627 h 845"/>
              <a:gd name="T12" fmla="*/ 447 w 905"/>
              <a:gd name="T13" fmla="*/ 619 h 845"/>
              <a:gd name="T14" fmla="*/ 465 w 905"/>
              <a:gd name="T15" fmla="*/ 621 h 845"/>
              <a:gd name="T16" fmla="*/ 478 w 905"/>
              <a:gd name="T17" fmla="*/ 631 h 845"/>
              <a:gd name="T18" fmla="*/ 482 w 905"/>
              <a:gd name="T19" fmla="*/ 649 h 845"/>
              <a:gd name="T20" fmla="*/ 478 w 905"/>
              <a:gd name="T21" fmla="*/ 666 h 845"/>
              <a:gd name="T22" fmla="*/ 465 w 905"/>
              <a:gd name="T23" fmla="*/ 677 h 845"/>
              <a:gd name="T24" fmla="*/ 830 w 905"/>
              <a:gd name="T25" fmla="*/ 0 h 845"/>
              <a:gd name="T26" fmla="*/ 60 w 905"/>
              <a:gd name="T27" fmla="*/ 2 h 845"/>
              <a:gd name="T28" fmla="*/ 40 w 905"/>
              <a:gd name="T29" fmla="*/ 8 h 845"/>
              <a:gd name="T30" fmla="*/ 22 w 905"/>
              <a:gd name="T31" fmla="*/ 22 h 845"/>
              <a:gd name="T32" fmla="*/ 9 w 905"/>
              <a:gd name="T33" fmla="*/ 39 h 845"/>
              <a:gd name="T34" fmla="*/ 1 w 905"/>
              <a:gd name="T35" fmla="*/ 60 h 845"/>
              <a:gd name="T36" fmla="*/ 0 w 905"/>
              <a:gd name="T37" fmla="*/ 649 h 845"/>
              <a:gd name="T38" fmla="*/ 3 w 905"/>
              <a:gd name="T39" fmla="*/ 671 h 845"/>
              <a:gd name="T40" fmla="*/ 13 w 905"/>
              <a:gd name="T41" fmla="*/ 691 h 845"/>
              <a:gd name="T42" fmla="*/ 28 w 905"/>
              <a:gd name="T43" fmla="*/ 706 h 845"/>
              <a:gd name="T44" fmla="*/ 46 w 905"/>
              <a:gd name="T45" fmla="*/ 718 h 845"/>
              <a:gd name="T46" fmla="*/ 67 w 905"/>
              <a:gd name="T47" fmla="*/ 724 h 845"/>
              <a:gd name="T48" fmla="*/ 306 w 905"/>
              <a:gd name="T49" fmla="*/ 815 h 845"/>
              <a:gd name="T50" fmla="*/ 175 w 905"/>
              <a:gd name="T51" fmla="*/ 816 h 845"/>
              <a:gd name="T52" fmla="*/ 168 w 905"/>
              <a:gd name="T53" fmla="*/ 822 h 845"/>
              <a:gd name="T54" fmla="*/ 166 w 905"/>
              <a:gd name="T55" fmla="*/ 829 h 845"/>
              <a:gd name="T56" fmla="*/ 168 w 905"/>
              <a:gd name="T57" fmla="*/ 838 h 845"/>
              <a:gd name="T58" fmla="*/ 175 w 905"/>
              <a:gd name="T59" fmla="*/ 844 h 845"/>
              <a:gd name="T60" fmla="*/ 316 w 905"/>
              <a:gd name="T61" fmla="*/ 845 h 845"/>
              <a:gd name="T62" fmla="*/ 725 w 905"/>
              <a:gd name="T63" fmla="*/ 845 h 845"/>
              <a:gd name="T64" fmla="*/ 732 w 905"/>
              <a:gd name="T65" fmla="*/ 843 h 845"/>
              <a:gd name="T66" fmla="*/ 738 w 905"/>
              <a:gd name="T67" fmla="*/ 836 h 845"/>
              <a:gd name="T68" fmla="*/ 739 w 905"/>
              <a:gd name="T69" fmla="*/ 827 h 845"/>
              <a:gd name="T70" fmla="*/ 734 w 905"/>
              <a:gd name="T71" fmla="*/ 819 h 845"/>
              <a:gd name="T72" fmla="*/ 727 w 905"/>
              <a:gd name="T73" fmla="*/ 815 h 845"/>
              <a:gd name="T74" fmla="*/ 565 w 905"/>
              <a:gd name="T75" fmla="*/ 724 h 845"/>
              <a:gd name="T76" fmla="*/ 845 w 905"/>
              <a:gd name="T77" fmla="*/ 722 h 845"/>
              <a:gd name="T78" fmla="*/ 866 w 905"/>
              <a:gd name="T79" fmla="*/ 715 h 845"/>
              <a:gd name="T80" fmla="*/ 883 w 905"/>
              <a:gd name="T81" fmla="*/ 702 h 845"/>
              <a:gd name="T82" fmla="*/ 896 w 905"/>
              <a:gd name="T83" fmla="*/ 684 h 845"/>
              <a:gd name="T84" fmla="*/ 904 w 905"/>
              <a:gd name="T85" fmla="*/ 663 h 845"/>
              <a:gd name="T86" fmla="*/ 905 w 905"/>
              <a:gd name="T87" fmla="*/ 75 h 845"/>
              <a:gd name="T88" fmla="*/ 901 w 905"/>
              <a:gd name="T89" fmla="*/ 53 h 845"/>
              <a:gd name="T90" fmla="*/ 893 w 905"/>
              <a:gd name="T91" fmla="*/ 33 h 845"/>
              <a:gd name="T92" fmla="*/ 878 w 905"/>
              <a:gd name="T93" fmla="*/ 17 h 845"/>
              <a:gd name="T94" fmla="*/ 859 w 905"/>
              <a:gd name="T95" fmla="*/ 5 h 845"/>
              <a:gd name="T96" fmla="*/ 837 w 905"/>
              <a:gd name="T97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5" h="845">
                <a:moveTo>
                  <a:pt x="815" y="604"/>
                </a:moveTo>
                <a:lnTo>
                  <a:pt x="91" y="604"/>
                </a:lnTo>
                <a:lnTo>
                  <a:pt x="91" y="90"/>
                </a:lnTo>
                <a:lnTo>
                  <a:pt x="815" y="90"/>
                </a:lnTo>
                <a:lnTo>
                  <a:pt x="815" y="604"/>
                </a:lnTo>
                <a:close/>
                <a:moveTo>
                  <a:pt x="452" y="679"/>
                </a:moveTo>
                <a:lnTo>
                  <a:pt x="447" y="678"/>
                </a:lnTo>
                <a:lnTo>
                  <a:pt x="441" y="677"/>
                </a:lnTo>
                <a:lnTo>
                  <a:pt x="436" y="673"/>
                </a:lnTo>
                <a:lnTo>
                  <a:pt x="431" y="670"/>
                </a:lnTo>
                <a:lnTo>
                  <a:pt x="428" y="666"/>
                </a:lnTo>
                <a:lnTo>
                  <a:pt x="425" y="660"/>
                </a:lnTo>
                <a:lnTo>
                  <a:pt x="423" y="654"/>
                </a:lnTo>
                <a:lnTo>
                  <a:pt x="423" y="649"/>
                </a:lnTo>
                <a:lnTo>
                  <a:pt x="423" y="642"/>
                </a:lnTo>
                <a:lnTo>
                  <a:pt x="425" y="637"/>
                </a:lnTo>
                <a:lnTo>
                  <a:pt x="428" y="631"/>
                </a:lnTo>
                <a:lnTo>
                  <a:pt x="431" y="627"/>
                </a:lnTo>
                <a:lnTo>
                  <a:pt x="436" y="623"/>
                </a:lnTo>
                <a:lnTo>
                  <a:pt x="441" y="621"/>
                </a:lnTo>
                <a:lnTo>
                  <a:pt x="447" y="619"/>
                </a:lnTo>
                <a:lnTo>
                  <a:pt x="452" y="618"/>
                </a:lnTo>
                <a:lnTo>
                  <a:pt x="459" y="619"/>
                </a:lnTo>
                <a:lnTo>
                  <a:pt x="465" y="621"/>
                </a:lnTo>
                <a:lnTo>
                  <a:pt x="469" y="623"/>
                </a:lnTo>
                <a:lnTo>
                  <a:pt x="473" y="627"/>
                </a:lnTo>
                <a:lnTo>
                  <a:pt x="478" y="631"/>
                </a:lnTo>
                <a:lnTo>
                  <a:pt x="480" y="637"/>
                </a:lnTo>
                <a:lnTo>
                  <a:pt x="482" y="642"/>
                </a:lnTo>
                <a:lnTo>
                  <a:pt x="482" y="649"/>
                </a:lnTo>
                <a:lnTo>
                  <a:pt x="482" y="654"/>
                </a:lnTo>
                <a:lnTo>
                  <a:pt x="480" y="660"/>
                </a:lnTo>
                <a:lnTo>
                  <a:pt x="478" y="666"/>
                </a:lnTo>
                <a:lnTo>
                  <a:pt x="473" y="670"/>
                </a:lnTo>
                <a:lnTo>
                  <a:pt x="469" y="673"/>
                </a:lnTo>
                <a:lnTo>
                  <a:pt x="465" y="677"/>
                </a:lnTo>
                <a:lnTo>
                  <a:pt x="459" y="678"/>
                </a:lnTo>
                <a:lnTo>
                  <a:pt x="452" y="679"/>
                </a:lnTo>
                <a:close/>
                <a:moveTo>
                  <a:pt x="830" y="0"/>
                </a:moveTo>
                <a:lnTo>
                  <a:pt x="75" y="0"/>
                </a:lnTo>
                <a:lnTo>
                  <a:pt x="67" y="0"/>
                </a:lnTo>
                <a:lnTo>
                  <a:pt x="60" y="2"/>
                </a:lnTo>
                <a:lnTo>
                  <a:pt x="53" y="3"/>
                </a:lnTo>
                <a:lnTo>
                  <a:pt x="46" y="5"/>
                </a:lnTo>
                <a:lnTo>
                  <a:pt x="40" y="8"/>
                </a:lnTo>
                <a:lnTo>
                  <a:pt x="33" y="13"/>
                </a:lnTo>
                <a:lnTo>
                  <a:pt x="28" y="17"/>
                </a:lnTo>
                <a:lnTo>
                  <a:pt x="22" y="22"/>
                </a:lnTo>
                <a:lnTo>
                  <a:pt x="18" y="27"/>
                </a:lnTo>
                <a:lnTo>
                  <a:pt x="13" y="33"/>
                </a:lnTo>
                <a:lnTo>
                  <a:pt x="9" y="39"/>
                </a:lnTo>
                <a:lnTo>
                  <a:pt x="6" y="46"/>
                </a:lnTo>
                <a:lnTo>
                  <a:pt x="3" y="53"/>
                </a:lnTo>
                <a:lnTo>
                  <a:pt x="1" y="60"/>
                </a:lnTo>
                <a:lnTo>
                  <a:pt x="0" y="67"/>
                </a:lnTo>
                <a:lnTo>
                  <a:pt x="0" y="75"/>
                </a:lnTo>
                <a:lnTo>
                  <a:pt x="0" y="649"/>
                </a:lnTo>
                <a:lnTo>
                  <a:pt x="0" y="657"/>
                </a:lnTo>
                <a:lnTo>
                  <a:pt x="1" y="663"/>
                </a:lnTo>
                <a:lnTo>
                  <a:pt x="3" y="671"/>
                </a:lnTo>
                <a:lnTo>
                  <a:pt x="6" y="678"/>
                </a:lnTo>
                <a:lnTo>
                  <a:pt x="9" y="684"/>
                </a:lnTo>
                <a:lnTo>
                  <a:pt x="13" y="691"/>
                </a:lnTo>
                <a:lnTo>
                  <a:pt x="18" y="697"/>
                </a:lnTo>
                <a:lnTo>
                  <a:pt x="22" y="702"/>
                </a:lnTo>
                <a:lnTo>
                  <a:pt x="28" y="706"/>
                </a:lnTo>
                <a:lnTo>
                  <a:pt x="33" y="711"/>
                </a:lnTo>
                <a:lnTo>
                  <a:pt x="40" y="715"/>
                </a:lnTo>
                <a:lnTo>
                  <a:pt x="46" y="718"/>
                </a:lnTo>
                <a:lnTo>
                  <a:pt x="53" y="721"/>
                </a:lnTo>
                <a:lnTo>
                  <a:pt x="60" y="722"/>
                </a:lnTo>
                <a:lnTo>
                  <a:pt x="67" y="724"/>
                </a:lnTo>
                <a:lnTo>
                  <a:pt x="75" y="724"/>
                </a:lnTo>
                <a:lnTo>
                  <a:pt x="341" y="724"/>
                </a:lnTo>
                <a:lnTo>
                  <a:pt x="306" y="815"/>
                </a:lnTo>
                <a:lnTo>
                  <a:pt x="181" y="815"/>
                </a:lnTo>
                <a:lnTo>
                  <a:pt x="178" y="815"/>
                </a:lnTo>
                <a:lnTo>
                  <a:pt x="175" y="816"/>
                </a:lnTo>
                <a:lnTo>
                  <a:pt x="173" y="817"/>
                </a:lnTo>
                <a:lnTo>
                  <a:pt x="170" y="819"/>
                </a:lnTo>
                <a:lnTo>
                  <a:pt x="168" y="822"/>
                </a:lnTo>
                <a:lnTo>
                  <a:pt x="167" y="824"/>
                </a:lnTo>
                <a:lnTo>
                  <a:pt x="166" y="827"/>
                </a:lnTo>
                <a:lnTo>
                  <a:pt x="166" y="829"/>
                </a:lnTo>
                <a:lnTo>
                  <a:pt x="166" y="833"/>
                </a:lnTo>
                <a:lnTo>
                  <a:pt x="167" y="836"/>
                </a:lnTo>
                <a:lnTo>
                  <a:pt x="168" y="838"/>
                </a:lnTo>
                <a:lnTo>
                  <a:pt x="170" y="840"/>
                </a:lnTo>
                <a:lnTo>
                  <a:pt x="173" y="843"/>
                </a:lnTo>
                <a:lnTo>
                  <a:pt x="175" y="844"/>
                </a:lnTo>
                <a:lnTo>
                  <a:pt x="178" y="845"/>
                </a:lnTo>
                <a:lnTo>
                  <a:pt x="181" y="845"/>
                </a:lnTo>
                <a:lnTo>
                  <a:pt x="316" y="845"/>
                </a:lnTo>
                <a:lnTo>
                  <a:pt x="588" y="845"/>
                </a:lnTo>
                <a:lnTo>
                  <a:pt x="588" y="845"/>
                </a:lnTo>
                <a:lnTo>
                  <a:pt x="725" y="845"/>
                </a:lnTo>
                <a:lnTo>
                  <a:pt x="727" y="845"/>
                </a:lnTo>
                <a:lnTo>
                  <a:pt x="730" y="844"/>
                </a:lnTo>
                <a:lnTo>
                  <a:pt x="732" y="843"/>
                </a:lnTo>
                <a:lnTo>
                  <a:pt x="734" y="840"/>
                </a:lnTo>
                <a:lnTo>
                  <a:pt x="737" y="838"/>
                </a:lnTo>
                <a:lnTo>
                  <a:pt x="738" y="836"/>
                </a:lnTo>
                <a:lnTo>
                  <a:pt x="739" y="833"/>
                </a:lnTo>
                <a:lnTo>
                  <a:pt x="739" y="829"/>
                </a:lnTo>
                <a:lnTo>
                  <a:pt x="739" y="827"/>
                </a:lnTo>
                <a:lnTo>
                  <a:pt x="738" y="824"/>
                </a:lnTo>
                <a:lnTo>
                  <a:pt x="737" y="822"/>
                </a:lnTo>
                <a:lnTo>
                  <a:pt x="734" y="819"/>
                </a:lnTo>
                <a:lnTo>
                  <a:pt x="732" y="817"/>
                </a:lnTo>
                <a:lnTo>
                  <a:pt x="730" y="816"/>
                </a:lnTo>
                <a:lnTo>
                  <a:pt x="727" y="815"/>
                </a:lnTo>
                <a:lnTo>
                  <a:pt x="725" y="815"/>
                </a:lnTo>
                <a:lnTo>
                  <a:pt x="598" y="815"/>
                </a:lnTo>
                <a:lnTo>
                  <a:pt x="565" y="724"/>
                </a:lnTo>
                <a:lnTo>
                  <a:pt x="830" y="724"/>
                </a:lnTo>
                <a:lnTo>
                  <a:pt x="837" y="723"/>
                </a:lnTo>
                <a:lnTo>
                  <a:pt x="845" y="722"/>
                </a:lnTo>
                <a:lnTo>
                  <a:pt x="852" y="721"/>
                </a:lnTo>
                <a:lnTo>
                  <a:pt x="859" y="718"/>
                </a:lnTo>
                <a:lnTo>
                  <a:pt x="866" y="715"/>
                </a:lnTo>
                <a:lnTo>
                  <a:pt x="872" y="711"/>
                </a:lnTo>
                <a:lnTo>
                  <a:pt x="878" y="706"/>
                </a:lnTo>
                <a:lnTo>
                  <a:pt x="883" y="702"/>
                </a:lnTo>
                <a:lnTo>
                  <a:pt x="888" y="697"/>
                </a:lnTo>
                <a:lnTo>
                  <a:pt x="893" y="691"/>
                </a:lnTo>
                <a:lnTo>
                  <a:pt x="896" y="684"/>
                </a:lnTo>
                <a:lnTo>
                  <a:pt x="899" y="678"/>
                </a:lnTo>
                <a:lnTo>
                  <a:pt x="901" y="671"/>
                </a:lnTo>
                <a:lnTo>
                  <a:pt x="904" y="663"/>
                </a:lnTo>
                <a:lnTo>
                  <a:pt x="905" y="657"/>
                </a:lnTo>
                <a:lnTo>
                  <a:pt x="905" y="649"/>
                </a:lnTo>
                <a:lnTo>
                  <a:pt x="905" y="75"/>
                </a:lnTo>
                <a:lnTo>
                  <a:pt x="905" y="67"/>
                </a:lnTo>
                <a:lnTo>
                  <a:pt x="904" y="60"/>
                </a:lnTo>
                <a:lnTo>
                  <a:pt x="901" y="53"/>
                </a:lnTo>
                <a:lnTo>
                  <a:pt x="899" y="46"/>
                </a:lnTo>
                <a:lnTo>
                  <a:pt x="896" y="39"/>
                </a:lnTo>
                <a:lnTo>
                  <a:pt x="893" y="33"/>
                </a:lnTo>
                <a:lnTo>
                  <a:pt x="888" y="27"/>
                </a:lnTo>
                <a:lnTo>
                  <a:pt x="883" y="22"/>
                </a:lnTo>
                <a:lnTo>
                  <a:pt x="878" y="17"/>
                </a:lnTo>
                <a:lnTo>
                  <a:pt x="872" y="13"/>
                </a:lnTo>
                <a:lnTo>
                  <a:pt x="866" y="8"/>
                </a:lnTo>
                <a:lnTo>
                  <a:pt x="859" y="5"/>
                </a:lnTo>
                <a:lnTo>
                  <a:pt x="852" y="3"/>
                </a:lnTo>
                <a:lnTo>
                  <a:pt x="845" y="2"/>
                </a:lnTo>
                <a:lnTo>
                  <a:pt x="837" y="0"/>
                </a:lnTo>
                <a:lnTo>
                  <a:pt x="830" y="0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Text Placeholder 2"/>
          <p:cNvSpPr txBox="1">
            <a:spLocks/>
          </p:cNvSpPr>
          <p:nvPr/>
        </p:nvSpPr>
        <p:spPr>
          <a:xfrm>
            <a:off x="1501373" y="1489662"/>
            <a:ext cx="4308926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grpSp>
        <p:nvGrpSpPr>
          <p:cNvPr id="128" name="Group 127"/>
          <p:cNvGrpSpPr/>
          <p:nvPr/>
        </p:nvGrpSpPr>
        <p:grpSpPr>
          <a:xfrm>
            <a:off x="6501824" y="879099"/>
            <a:ext cx="4341380" cy="3594476"/>
            <a:chOff x="6501824" y="879099"/>
            <a:chExt cx="4341380" cy="3594476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6501824" y="879099"/>
              <a:ext cx="4341380" cy="2743835"/>
            </a:xfrm>
            <a:custGeom>
              <a:avLst/>
              <a:gdLst>
                <a:gd name="T0" fmla="*/ 706 w 706"/>
                <a:gd name="T1" fmla="*/ 14 h 446"/>
                <a:gd name="T2" fmla="*/ 706 w 706"/>
                <a:gd name="T3" fmla="*/ 446 h 446"/>
                <a:gd name="T4" fmla="*/ 0 w 706"/>
                <a:gd name="T5" fmla="*/ 446 h 446"/>
                <a:gd name="T6" fmla="*/ 0 w 706"/>
                <a:gd name="T7" fmla="*/ 14 h 446"/>
                <a:gd name="T8" fmla="*/ 14 w 706"/>
                <a:gd name="T9" fmla="*/ 0 h 446"/>
                <a:gd name="T10" fmla="*/ 692 w 706"/>
                <a:gd name="T11" fmla="*/ 0 h 446"/>
                <a:gd name="T12" fmla="*/ 706 w 706"/>
                <a:gd name="T13" fmla="*/ 14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446">
                  <a:moveTo>
                    <a:pt x="706" y="14"/>
                  </a:moveTo>
                  <a:cubicBezTo>
                    <a:pt x="706" y="446"/>
                    <a:pt x="706" y="446"/>
                    <a:pt x="706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92" y="0"/>
                    <a:pt x="692" y="0"/>
                    <a:pt x="692" y="0"/>
                  </a:cubicBezTo>
                  <a:cubicBezTo>
                    <a:pt x="700" y="0"/>
                    <a:pt x="706" y="6"/>
                    <a:pt x="706" y="14"/>
                  </a:cubicBezTo>
                  <a:close/>
                </a:path>
              </a:pathLst>
            </a:cu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6501824" y="3622934"/>
              <a:ext cx="4341380" cy="344924"/>
            </a:xfrm>
            <a:custGeom>
              <a:avLst/>
              <a:gdLst>
                <a:gd name="T0" fmla="*/ 706 w 706"/>
                <a:gd name="T1" fmla="*/ 0 h 56"/>
                <a:gd name="T2" fmla="*/ 706 w 706"/>
                <a:gd name="T3" fmla="*/ 42 h 56"/>
                <a:gd name="T4" fmla="*/ 692 w 706"/>
                <a:gd name="T5" fmla="*/ 56 h 56"/>
                <a:gd name="T6" fmla="*/ 14 w 706"/>
                <a:gd name="T7" fmla="*/ 56 h 56"/>
                <a:gd name="T8" fmla="*/ 0 w 706"/>
                <a:gd name="T9" fmla="*/ 42 h 56"/>
                <a:gd name="T10" fmla="*/ 0 w 706"/>
                <a:gd name="T11" fmla="*/ 0 h 56"/>
                <a:gd name="T12" fmla="*/ 706 w 706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56">
                  <a:moveTo>
                    <a:pt x="706" y="0"/>
                  </a:moveTo>
                  <a:cubicBezTo>
                    <a:pt x="706" y="42"/>
                    <a:pt x="706" y="42"/>
                    <a:pt x="706" y="42"/>
                  </a:cubicBezTo>
                  <a:cubicBezTo>
                    <a:pt x="706" y="50"/>
                    <a:pt x="700" y="56"/>
                    <a:pt x="692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6" y="56"/>
                    <a:pt x="0" y="50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06" y="0"/>
                  </a:lnTo>
                  <a:close/>
                </a:path>
              </a:pathLst>
            </a:custGeom>
            <a:gradFill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8088995" y="3967859"/>
              <a:ext cx="1167038" cy="417540"/>
            </a:xfrm>
            <a:custGeom>
              <a:avLst/>
              <a:gdLst>
                <a:gd name="T0" fmla="*/ 450 w 450"/>
                <a:gd name="T1" fmla="*/ 161 h 161"/>
                <a:gd name="T2" fmla="*/ 0 w 450"/>
                <a:gd name="T3" fmla="*/ 161 h 161"/>
                <a:gd name="T4" fmla="*/ 19 w 450"/>
                <a:gd name="T5" fmla="*/ 0 h 161"/>
                <a:gd name="T6" fmla="*/ 431 w 450"/>
                <a:gd name="T7" fmla="*/ 0 h 161"/>
                <a:gd name="T8" fmla="*/ 450 w 450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161">
                  <a:moveTo>
                    <a:pt x="450" y="161"/>
                  </a:moveTo>
                  <a:lnTo>
                    <a:pt x="0" y="161"/>
                  </a:lnTo>
                  <a:lnTo>
                    <a:pt x="19" y="0"/>
                  </a:lnTo>
                  <a:lnTo>
                    <a:pt x="431" y="0"/>
                  </a:lnTo>
                  <a:lnTo>
                    <a:pt x="450" y="161"/>
                  </a:ln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946357" y="4385399"/>
              <a:ext cx="1444533" cy="88176"/>
            </a:xfrm>
            <a:custGeom>
              <a:avLst/>
              <a:gdLst>
                <a:gd name="T0" fmla="*/ 228 w 235"/>
                <a:gd name="T1" fmla="*/ 14 h 14"/>
                <a:gd name="T2" fmla="*/ 7 w 235"/>
                <a:gd name="T3" fmla="*/ 14 h 14"/>
                <a:gd name="T4" fmla="*/ 0 w 235"/>
                <a:gd name="T5" fmla="*/ 7 h 14"/>
                <a:gd name="T6" fmla="*/ 0 w 235"/>
                <a:gd name="T7" fmla="*/ 7 h 14"/>
                <a:gd name="T8" fmla="*/ 7 w 235"/>
                <a:gd name="T9" fmla="*/ 0 h 14"/>
                <a:gd name="T10" fmla="*/ 228 w 235"/>
                <a:gd name="T11" fmla="*/ 0 h 14"/>
                <a:gd name="T12" fmla="*/ 235 w 235"/>
                <a:gd name="T13" fmla="*/ 7 h 14"/>
                <a:gd name="T14" fmla="*/ 235 w 235"/>
                <a:gd name="T15" fmla="*/ 7 h 14"/>
                <a:gd name="T16" fmla="*/ 228 w 235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14">
                  <a:moveTo>
                    <a:pt x="228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7" y="0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32" y="0"/>
                    <a:pt x="235" y="3"/>
                    <a:pt x="235" y="7"/>
                  </a:cubicBezTo>
                  <a:cubicBezTo>
                    <a:pt x="235" y="7"/>
                    <a:pt x="235" y="7"/>
                    <a:pt x="235" y="7"/>
                  </a:cubicBezTo>
                  <a:cubicBezTo>
                    <a:pt x="235" y="11"/>
                    <a:pt x="232" y="14"/>
                    <a:pt x="228" y="1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C2F4C"/>
                </a:gs>
                <a:gs pos="100000">
                  <a:srgbClr val="125680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826808" y="2295599"/>
            <a:ext cx="4850091" cy="1909951"/>
            <a:chOff x="826808" y="2353655"/>
            <a:chExt cx="4850091" cy="1909951"/>
          </a:xfrm>
        </p:grpSpPr>
        <p:sp>
          <p:nvSpPr>
            <p:cNvPr id="100" name="TextBox 99"/>
            <p:cNvSpPr txBox="1"/>
            <p:nvPr/>
          </p:nvSpPr>
          <p:spPr>
            <a:xfrm>
              <a:off x="826808" y="2523883"/>
              <a:ext cx="516167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1"/>
              <a:r>
                <a:rPr lang="en-US" sz="700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826808" y="3083460"/>
              <a:ext cx="516167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1"/>
              <a:r>
                <a:rPr lang="en-US" sz="700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826808" y="3655030"/>
              <a:ext cx="516167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rtl="1"/>
              <a:r>
                <a:rPr lang="en-US" sz="700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</a:t>
              </a:r>
            </a:p>
          </p:txBody>
        </p:sp>
        <p:grpSp>
          <p:nvGrpSpPr>
            <p:cNvPr id="125" name="Group 124"/>
            <p:cNvGrpSpPr/>
            <p:nvPr/>
          </p:nvGrpSpPr>
          <p:grpSpPr>
            <a:xfrm>
              <a:off x="1500500" y="2353655"/>
              <a:ext cx="4176399" cy="1909951"/>
              <a:chOff x="1500501" y="2353655"/>
              <a:chExt cx="3340222" cy="1909951"/>
            </a:xfrm>
          </p:grpSpPr>
          <p:sp>
            <p:nvSpPr>
              <p:cNvPr id="89" name="Snip Single Corner Rectangle 88"/>
              <p:cNvSpPr/>
              <p:nvPr/>
            </p:nvSpPr>
            <p:spPr>
              <a:xfrm>
                <a:off x="1502156" y="2452014"/>
                <a:ext cx="1854775" cy="251460"/>
              </a:xfrm>
              <a:prstGeom prst="snip1Rect">
                <a:avLst>
                  <a:gd name="adj" fmla="val 50000"/>
                </a:avLst>
              </a:pr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Snip Single Corner Rectangle 89"/>
              <p:cNvSpPr/>
              <p:nvPr/>
            </p:nvSpPr>
            <p:spPr>
              <a:xfrm>
                <a:off x="1502156" y="3017588"/>
                <a:ext cx="1317091" cy="251460"/>
              </a:xfrm>
              <a:prstGeom prst="snip1Rect">
                <a:avLst>
                  <a:gd name="adj" fmla="val 50000"/>
                </a:avLst>
              </a:pr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Snip Single Corner Rectangle 90"/>
              <p:cNvSpPr/>
              <p:nvPr/>
            </p:nvSpPr>
            <p:spPr>
              <a:xfrm>
                <a:off x="1502156" y="3583161"/>
                <a:ext cx="2952926" cy="251460"/>
              </a:xfrm>
              <a:prstGeom prst="snip1Rect">
                <a:avLst>
                  <a:gd name="adj" fmla="val 50000"/>
                </a:avLst>
              </a:pr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>
                <a:off x="1500501" y="3995163"/>
                <a:ext cx="3306688" cy="0"/>
              </a:xfrm>
              <a:prstGeom prst="line">
                <a:avLst/>
              </a:prstGeom>
              <a:ln>
                <a:solidFill>
                  <a:srgbClr val="B0F7F4">
                    <a:alpha val="5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/>
            </p:nvCxnSpPr>
            <p:spPr>
              <a:xfrm>
                <a:off x="1500501" y="2353655"/>
                <a:ext cx="0" cy="1641508"/>
              </a:xfrm>
              <a:prstGeom prst="line">
                <a:avLst/>
              </a:prstGeom>
              <a:ln>
                <a:solidFill>
                  <a:srgbClr val="B0F7F4">
                    <a:alpha val="5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3" name="Group 112"/>
              <p:cNvGrpSpPr/>
              <p:nvPr/>
            </p:nvGrpSpPr>
            <p:grpSpPr>
              <a:xfrm>
                <a:off x="1797049" y="3995163"/>
                <a:ext cx="2917663" cy="78050"/>
                <a:chOff x="1736725" y="3892524"/>
                <a:chExt cx="2977988" cy="78050"/>
              </a:xfrm>
            </p:grpSpPr>
            <p:cxnSp>
              <p:nvCxnSpPr>
                <p:cNvPr id="104" name="Straight Connector 103"/>
                <p:cNvCxnSpPr/>
                <p:nvPr/>
              </p:nvCxnSpPr>
              <p:spPr>
                <a:xfrm>
                  <a:off x="1736725" y="3892524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/>
                <p:cNvCxnSpPr/>
                <p:nvPr/>
              </p:nvCxnSpPr>
              <p:spPr>
                <a:xfrm>
                  <a:off x="2108974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/>
                <p:cNvCxnSpPr/>
                <p:nvPr/>
              </p:nvCxnSpPr>
              <p:spPr>
                <a:xfrm>
                  <a:off x="2481223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/>
                <p:cNvCxnSpPr/>
                <p:nvPr/>
              </p:nvCxnSpPr>
              <p:spPr>
                <a:xfrm>
                  <a:off x="2853472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/>
                <p:cNvCxnSpPr/>
                <p:nvPr/>
              </p:nvCxnSpPr>
              <p:spPr>
                <a:xfrm>
                  <a:off x="3225721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/>
                <p:cNvCxnSpPr/>
                <p:nvPr/>
              </p:nvCxnSpPr>
              <p:spPr>
                <a:xfrm>
                  <a:off x="3597970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Connector 109"/>
                <p:cNvCxnSpPr/>
                <p:nvPr/>
              </p:nvCxnSpPr>
              <p:spPr>
                <a:xfrm>
                  <a:off x="3970219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/>
                <p:cNvCxnSpPr/>
                <p:nvPr/>
              </p:nvCxnSpPr>
              <p:spPr>
                <a:xfrm>
                  <a:off x="4342468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>
                  <a:off x="4714713" y="3895240"/>
                  <a:ext cx="0" cy="7533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4" name="TextBox 113"/>
              <p:cNvSpPr txBox="1"/>
              <p:nvPr/>
            </p:nvSpPr>
            <p:spPr>
              <a:xfrm>
                <a:off x="167281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422732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4592257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386239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19" name="TextBox 118"/>
              <p:cNvSpPr txBox="1"/>
              <p:nvPr/>
            </p:nvSpPr>
            <p:spPr>
              <a:xfrm>
                <a:off x="349746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20" name="TextBox 119"/>
              <p:cNvSpPr txBox="1"/>
              <p:nvPr/>
            </p:nvSpPr>
            <p:spPr>
              <a:xfrm>
                <a:off x="313253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21" name="TextBox 120"/>
              <p:cNvSpPr txBox="1"/>
              <p:nvPr/>
            </p:nvSpPr>
            <p:spPr>
              <a:xfrm>
                <a:off x="276760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22" name="TextBox 121"/>
              <p:cNvSpPr txBox="1"/>
              <p:nvPr/>
            </p:nvSpPr>
            <p:spPr>
              <a:xfrm>
                <a:off x="240267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2037746" y="4155884"/>
                <a:ext cx="248466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rtl="1"/>
                <a:r>
                  <a:rPr lang="en-US" sz="700" dirty="0">
                    <a:solidFill>
                      <a:srgbClr val="B0F7F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Lorem</a:t>
                </a:r>
              </a:p>
            </p:txBody>
          </p:sp>
        </p:grpSp>
      </p:grpSp>
      <p:pic>
        <p:nvPicPr>
          <p:cNvPr id="127" name="Picture 12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41"/>
          <a:stretch/>
        </p:blipFill>
        <p:spPr>
          <a:xfrm>
            <a:off x="6623715" y="1008769"/>
            <a:ext cx="4089820" cy="2490131"/>
          </a:xfrm>
          <a:prstGeom prst="rect">
            <a:avLst/>
          </a:prstGeom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6623715" y="1008770"/>
            <a:ext cx="4089819" cy="2492274"/>
          </a:xfrm>
          <a:prstGeom prst="rect">
            <a:avLst/>
          </a:prstGeom>
          <a:gradFill flip="none" rotWithShape="1">
            <a:gsLst>
              <a:gs pos="0">
                <a:srgbClr val="09192F">
                  <a:alpha val="35000"/>
                </a:srgbClr>
              </a:gs>
              <a:gs pos="100000">
                <a:srgbClr val="125680">
                  <a:alpha val="48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612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Oval 60"/>
          <p:cNvSpPr/>
          <p:nvPr/>
        </p:nvSpPr>
        <p:spPr>
          <a:xfrm rot="20407134">
            <a:off x="378109" y="4261052"/>
            <a:ext cx="7954307" cy="1035771"/>
          </a:xfrm>
          <a:prstGeom prst="ellipse">
            <a:avLst/>
          </a:prstGeom>
          <a:gradFill flip="none" rotWithShape="1">
            <a:gsLst>
              <a:gs pos="0">
                <a:srgbClr val="070C1E">
                  <a:alpha val="41000"/>
                </a:srgbClr>
              </a:gs>
              <a:gs pos="100000">
                <a:srgbClr val="070C1E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4" name="Group 63"/>
          <p:cNvGrpSpPr/>
          <p:nvPr/>
        </p:nvGrpSpPr>
        <p:grpSpPr>
          <a:xfrm>
            <a:off x="961489" y="1523998"/>
            <a:ext cx="6788255" cy="4519971"/>
            <a:chOff x="2304063" y="1248229"/>
            <a:chExt cx="7393151" cy="4922742"/>
          </a:xfrm>
        </p:grpSpPr>
        <p:sp>
          <p:nvSpPr>
            <p:cNvPr id="62" name="Oval 61"/>
            <p:cNvSpPr/>
            <p:nvPr/>
          </p:nvSpPr>
          <p:spPr>
            <a:xfrm>
              <a:off x="2304063" y="5155278"/>
              <a:ext cx="3020539" cy="1015693"/>
            </a:xfrm>
            <a:prstGeom prst="ellipse">
              <a:avLst/>
            </a:prstGeom>
            <a:gradFill flip="none" rotWithShape="1">
              <a:gsLst>
                <a:gs pos="0">
                  <a:srgbClr val="070C1E">
                    <a:alpha val="82000"/>
                  </a:srgbClr>
                </a:gs>
                <a:gs pos="100000">
                  <a:srgbClr val="070C1E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3"/>
            <p:cNvGrpSpPr>
              <a:grpSpLocks noChangeAspect="1"/>
            </p:cNvGrpSpPr>
            <p:nvPr/>
          </p:nvGrpSpPr>
          <p:grpSpPr bwMode="auto">
            <a:xfrm>
              <a:off x="2494788" y="1248229"/>
              <a:ext cx="7202426" cy="4735738"/>
              <a:chOff x="961" y="266"/>
              <a:chExt cx="5758" cy="3786"/>
            </a:xfrm>
          </p:grpSpPr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4868" y="266"/>
                <a:ext cx="397" cy="310"/>
              </a:xfrm>
              <a:custGeom>
                <a:avLst/>
                <a:gdLst>
                  <a:gd name="T0" fmla="*/ 397 w 397"/>
                  <a:gd name="T1" fmla="*/ 154 h 310"/>
                  <a:gd name="T2" fmla="*/ 0 w 397"/>
                  <a:gd name="T3" fmla="*/ 0 h 310"/>
                  <a:gd name="T4" fmla="*/ 0 w 397"/>
                  <a:gd name="T5" fmla="*/ 154 h 310"/>
                  <a:gd name="T6" fmla="*/ 397 w 397"/>
                  <a:gd name="T7" fmla="*/ 310 h 310"/>
                  <a:gd name="T8" fmla="*/ 397 w 397"/>
                  <a:gd name="T9" fmla="*/ 154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0">
                    <a:moveTo>
                      <a:pt x="397" y="154"/>
                    </a:moveTo>
                    <a:lnTo>
                      <a:pt x="0" y="0"/>
                    </a:lnTo>
                    <a:lnTo>
                      <a:pt x="0" y="154"/>
                    </a:lnTo>
                    <a:lnTo>
                      <a:pt x="397" y="310"/>
                    </a:lnTo>
                    <a:lnTo>
                      <a:pt x="397" y="15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961" y="3058"/>
                <a:ext cx="2145" cy="840"/>
              </a:xfrm>
              <a:custGeom>
                <a:avLst/>
                <a:gdLst>
                  <a:gd name="T0" fmla="*/ 1071 w 2145"/>
                  <a:gd name="T1" fmla="*/ 0 h 840"/>
                  <a:gd name="T2" fmla="*/ 0 w 2145"/>
                  <a:gd name="T3" fmla="*/ 419 h 840"/>
                  <a:gd name="T4" fmla="*/ 1071 w 2145"/>
                  <a:gd name="T5" fmla="*/ 840 h 840"/>
                  <a:gd name="T6" fmla="*/ 2145 w 2145"/>
                  <a:gd name="T7" fmla="*/ 419 h 840"/>
                  <a:gd name="T8" fmla="*/ 1071 w 2145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40">
                    <a:moveTo>
                      <a:pt x="1071" y="0"/>
                    </a:moveTo>
                    <a:lnTo>
                      <a:pt x="0" y="419"/>
                    </a:lnTo>
                    <a:lnTo>
                      <a:pt x="1071" y="840"/>
                    </a:lnTo>
                    <a:lnTo>
                      <a:pt x="2145" y="419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961" y="3477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2032" y="2178"/>
                <a:ext cx="2145" cy="837"/>
              </a:xfrm>
              <a:custGeom>
                <a:avLst/>
                <a:gdLst>
                  <a:gd name="T0" fmla="*/ 1074 w 2145"/>
                  <a:gd name="T1" fmla="*/ 0 h 837"/>
                  <a:gd name="T2" fmla="*/ 0 w 2145"/>
                  <a:gd name="T3" fmla="*/ 419 h 837"/>
                  <a:gd name="T4" fmla="*/ 1074 w 2145"/>
                  <a:gd name="T5" fmla="*/ 837 h 837"/>
                  <a:gd name="T6" fmla="*/ 2145 w 2145"/>
                  <a:gd name="T7" fmla="*/ 419 h 837"/>
                  <a:gd name="T8" fmla="*/ 1074 w 2145"/>
                  <a:gd name="T9" fmla="*/ 0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37">
                    <a:moveTo>
                      <a:pt x="1074" y="0"/>
                    </a:moveTo>
                    <a:lnTo>
                      <a:pt x="0" y="419"/>
                    </a:lnTo>
                    <a:lnTo>
                      <a:pt x="1074" y="837"/>
                    </a:lnTo>
                    <a:lnTo>
                      <a:pt x="2145" y="419"/>
                    </a:lnTo>
                    <a:lnTo>
                      <a:pt x="1074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2032" y="2597"/>
                <a:ext cx="1074" cy="575"/>
              </a:xfrm>
              <a:custGeom>
                <a:avLst/>
                <a:gdLst>
                  <a:gd name="T0" fmla="*/ 1074 w 1074"/>
                  <a:gd name="T1" fmla="*/ 575 h 575"/>
                  <a:gd name="T2" fmla="*/ 0 w 1074"/>
                  <a:gd name="T3" fmla="*/ 156 h 575"/>
                  <a:gd name="T4" fmla="*/ 0 w 1074"/>
                  <a:gd name="T5" fmla="*/ 0 h 575"/>
                  <a:gd name="T6" fmla="*/ 1074 w 1074"/>
                  <a:gd name="T7" fmla="*/ 418 h 575"/>
                  <a:gd name="T8" fmla="*/ 1074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1074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4" y="418"/>
                    </a:lnTo>
                    <a:lnTo>
                      <a:pt x="1074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2032" y="3117"/>
                <a:ext cx="1213" cy="935"/>
              </a:xfrm>
              <a:custGeom>
                <a:avLst/>
                <a:gdLst>
                  <a:gd name="T0" fmla="*/ 1074 w 1213"/>
                  <a:gd name="T1" fmla="*/ 55 h 935"/>
                  <a:gd name="T2" fmla="*/ 1074 w 1213"/>
                  <a:gd name="T3" fmla="*/ 360 h 935"/>
                  <a:gd name="T4" fmla="*/ 0 w 1213"/>
                  <a:gd name="T5" fmla="*/ 781 h 935"/>
                  <a:gd name="T6" fmla="*/ 0 w 1213"/>
                  <a:gd name="T7" fmla="*/ 935 h 935"/>
                  <a:gd name="T8" fmla="*/ 1074 w 1213"/>
                  <a:gd name="T9" fmla="*/ 516 h 935"/>
                  <a:gd name="T10" fmla="*/ 1213 w 1213"/>
                  <a:gd name="T11" fmla="*/ 462 h 935"/>
                  <a:gd name="T12" fmla="*/ 1213 w 1213"/>
                  <a:gd name="T13" fmla="*/ 0 h 935"/>
                  <a:gd name="T14" fmla="*/ 1074 w 1213"/>
                  <a:gd name="T15" fmla="*/ 55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5">
                    <a:moveTo>
                      <a:pt x="1074" y="55"/>
                    </a:moveTo>
                    <a:lnTo>
                      <a:pt x="1074" y="360"/>
                    </a:lnTo>
                    <a:lnTo>
                      <a:pt x="0" y="781"/>
                    </a:lnTo>
                    <a:lnTo>
                      <a:pt x="0" y="935"/>
                    </a:lnTo>
                    <a:lnTo>
                      <a:pt x="1074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4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2032" y="2753"/>
                <a:ext cx="1074" cy="724"/>
              </a:xfrm>
              <a:custGeom>
                <a:avLst/>
                <a:gdLst>
                  <a:gd name="T0" fmla="*/ 0 w 1074"/>
                  <a:gd name="T1" fmla="*/ 0 h 724"/>
                  <a:gd name="T2" fmla="*/ 0 w 1074"/>
                  <a:gd name="T3" fmla="*/ 305 h 724"/>
                  <a:gd name="T4" fmla="*/ 1074 w 1074"/>
                  <a:gd name="T5" fmla="*/ 724 h 724"/>
                  <a:gd name="T6" fmla="*/ 1074 w 1074"/>
                  <a:gd name="T7" fmla="*/ 419 h 724"/>
                  <a:gd name="T8" fmla="*/ 0 w 1074"/>
                  <a:gd name="T9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724">
                    <a:moveTo>
                      <a:pt x="0" y="0"/>
                    </a:moveTo>
                    <a:lnTo>
                      <a:pt x="0" y="305"/>
                    </a:lnTo>
                    <a:lnTo>
                      <a:pt x="1074" y="724"/>
                    </a:lnTo>
                    <a:lnTo>
                      <a:pt x="1074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3106" y="1295"/>
                <a:ext cx="2142" cy="840"/>
              </a:xfrm>
              <a:custGeom>
                <a:avLst/>
                <a:gdLst>
                  <a:gd name="T0" fmla="*/ 1071 w 2142"/>
                  <a:gd name="T1" fmla="*/ 0 h 840"/>
                  <a:gd name="T2" fmla="*/ 0 w 2142"/>
                  <a:gd name="T3" fmla="*/ 421 h 840"/>
                  <a:gd name="T4" fmla="*/ 1071 w 2142"/>
                  <a:gd name="T5" fmla="*/ 840 h 840"/>
                  <a:gd name="T6" fmla="*/ 2142 w 2142"/>
                  <a:gd name="T7" fmla="*/ 421 h 840"/>
                  <a:gd name="T8" fmla="*/ 1071 w 2142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2" h="840">
                    <a:moveTo>
                      <a:pt x="1071" y="0"/>
                    </a:moveTo>
                    <a:lnTo>
                      <a:pt x="0" y="421"/>
                    </a:lnTo>
                    <a:lnTo>
                      <a:pt x="1071" y="840"/>
                    </a:lnTo>
                    <a:lnTo>
                      <a:pt x="2142" y="421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3106" y="1716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4 h 575"/>
                  <a:gd name="T4" fmla="*/ 0 w 1071"/>
                  <a:gd name="T5" fmla="*/ 0 h 575"/>
                  <a:gd name="T6" fmla="*/ 1071 w 1071"/>
                  <a:gd name="T7" fmla="*/ 419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4"/>
                    </a:lnTo>
                    <a:lnTo>
                      <a:pt x="0" y="0"/>
                    </a:lnTo>
                    <a:lnTo>
                      <a:pt x="1071" y="419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3106" y="2235"/>
                <a:ext cx="1211" cy="937"/>
              </a:xfrm>
              <a:custGeom>
                <a:avLst/>
                <a:gdLst>
                  <a:gd name="T0" fmla="*/ 1071 w 1211"/>
                  <a:gd name="T1" fmla="*/ 56 h 937"/>
                  <a:gd name="T2" fmla="*/ 1071 w 1211"/>
                  <a:gd name="T3" fmla="*/ 362 h 937"/>
                  <a:gd name="T4" fmla="*/ 0 w 1211"/>
                  <a:gd name="T5" fmla="*/ 780 h 937"/>
                  <a:gd name="T6" fmla="*/ 0 w 1211"/>
                  <a:gd name="T7" fmla="*/ 937 h 937"/>
                  <a:gd name="T8" fmla="*/ 1071 w 1211"/>
                  <a:gd name="T9" fmla="*/ 518 h 937"/>
                  <a:gd name="T10" fmla="*/ 1211 w 1211"/>
                  <a:gd name="T11" fmla="*/ 461 h 937"/>
                  <a:gd name="T12" fmla="*/ 1211 w 1211"/>
                  <a:gd name="T13" fmla="*/ 0 h 937"/>
                  <a:gd name="T14" fmla="*/ 1071 w 1211"/>
                  <a:gd name="T15" fmla="*/ 56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1" h="937">
                    <a:moveTo>
                      <a:pt x="1071" y="56"/>
                    </a:moveTo>
                    <a:lnTo>
                      <a:pt x="1071" y="362"/>
                    </a:lnTo>
                    <a:lnTo>
                      <a:pt x="0" y="780"/>
                    </a:lnTo>
                    <a:lnTo>
                      <a:pt x="0" y="937"/>
                    </a:lnTo>
                    <a:lnTo>
                      <a:pt x="1071" y="518"/>
                    </a:lnTo>
                    <a:lnTo>
                      <a:pt x="1211" y="461"/>
                    </a:lnTo>
                    <a:lnTo>
                      <a:pt x="1211" y="0"/>
                    </a:lnTo>
                    <a:lnTo>
                      <a:pt x="1071" y="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auto">
              <a:xfrm>
                <a:off x="3106" y="1870"/>
                <a:ext cx="1071" cy="727"/>
              </a:xfrm>
              <a:custGeom>
                <a:avLst/>
                <a:gdLst>
                  <a:gd name="T0" fmla="*/ 0 w 1071"/>
                  <a:gd name="T1" fmla="*/ 0 h 727"/>
                  <a:gd name="T2" fmla="*/ 0 w 1071"/>
                  <a:gd name="T3" fmla="*/ 308 h 727"/>
                  <a:gd name="T4" fmla="*/ 1071 w 1071"/>
                  <a:gd name="T5" fmla="*/ 727 h 727"/>
                  <a:gd name="T6" fmla="*/ 1071 w 1071"/>
                  <a:gd name="T7" fmla="*/ 421 h 727"/>
                  <a:gd name="T8" fmla="*/ 0 w 1071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7">
                    <a:moveTo>
                      <a:pt x="0" y="0"/>
                    </a:moveTo>
                    <a:lnTo>
                      <a:pt x="0" y="308"/>
                    </a:lnTo>
                    <a:lnTo>
                      <a:pt x="1071" y="727"/>
                    </a:lnTo>
                    <a:lnTo>
                      <a:pt x="1071" y="42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E2230"/>
                  </a:gs>
                  <a:gs pos="100000">
                    <a:srgbClr val="F6443B"/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4177" y="834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5248" y="834"/>
                <a:ext cx="1074" cy="575"/>
              </a:xfrm>
              <a:custGeom>
                <a:avLst/>
                <a:gdLst>
                  <a:gd name="T0" fmla="*/ 0 w 1074"/>
                  <a:gd name="T1" fmla="*/ 575 h 575"/>
                  <a:gd name="T2" fmla="*/ 1074 w 1074"/>
                  <a:gd name="T3" fmla="*/ 156 h 575"/>
                  <a:gd name="T4" fmla="*/ 1074 w 1074"/>
                  <a:gd name="T5" fmla="*/ 0 h 575"/>
                  <a:gd name="T6" fmla="*/ 0 w 1074"/>
                  <a:gd name="T7" fmla="*/ 421 h 575"/>
                  <a:gd name="T8" fmla="*/ 0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0" y="575"/>
                    </a:moveTo>
                    <a:lnTo>
                      <a:pt x="1074" y="156"/>
                    </a:lnTo>
                    <a:lnTo>
                      <a:pt x="1074" y="0"/>
                    </a:lnTo>
                    <a:lnTo>
                      <a:pt x="0" y="421"/>
                    </a:lnTo>
                    <a:lnTo>
                      <a:pt x="0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4177" y="1354"/>
                <a:ext cx="1213" cy="937"/>
              </a:xfrm>
              <a:custGeom>
                <a:avLst/>
                <a:gdLst>
                  <a:gd name="T0" fmla="*/ 1071 w 1213"/>
                  <a:gd name="T1" fmla="*/ 55 h 937"/>
                  <a:gd name="T2" fmla="*/ 1071 w 1213"/>
                  <a:gd name="T3" fmla="*/ 362 h 937"/>
                  <a:gd name="T4" fmla="*/ 0 w 1213"/>
                  <a:gd name="T5" fmla="*/ 781 h 937"/>
                  <a:gd name="T6" fmla="*/ 0 w 1213"/>
                  <a:gd name="T7" fmla="*/ 937 h 937"/>
                  <a:gd name="T8" fmla="*/ 1071 w 1213"/>
                  <a:gd name="T9" fmla="*/ 516 h 937"/>
                  <a:gd name="T10" fmla="*/ 1213 w 1213"/>
                  <a:gd name="T11" fmla="*/ 462 h 937"/>
                  <a:gd name="T12" fmla="*/ 1213 w 1213"/>
                  <a:gd name="T13" fmla="*/ 0 h 937"/>
                  <a:gd name="T14" fmla="*/ 1071 w 1213"/>
                  <a:gd name="T15" fmla="*/ 55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7">
                    <a:moveTo>
                      <a:pt x="1071" y="55"/>
                    </a:moveTo>
                    <a:lnTo>
                      <a:pt x="1071" y="362"/>
                    </a:lnTo>
                    <a:lnTo>
                      <a:pt x="0" y="781"/>
                    </a:lnTo>
                    <a:lnTo>
                      <a:pt x="0" y="937"/>
                    </a:lnTo>
                    <a:lnTo>
                      <a:pt x="1071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1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4177" y="990"/>
                <a:ext cx="1071" cy="726"/>
              </a:xfrm>
              <a:custGeom>
                <a:avLst/>
                <a:gdLst>
                  <a:gd name="T0" fmla="*/ 0 w 1071"/>
                  <a:gd name="T1" fmla="*/ 0 h 726"/>
                  <a:gd name="T2" fmla="*/ 0 w 1071"/>
                  <a:gd name="T3" fmla="*/ 305 h 726"/>
                  <a:gd name="T4" fmla="*/ 1071 w 1071"/>
                  <a:gd name="T5" fmla="*/ 726 h 726"/>
                  <a:gd name="T6" fmla="*/ 1071 w 1071"/>
                  <a:gd name="T7" fmla="*/ 419 h 726"/>
                  <a:gd name="T8" fmla="*/ 0 w 1071"/>
                  <a:gd name="T9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6">
                    <a:moveTo>
                      <a:pt x="0" y="0"/>
                    </a:moveTo>
                    <a:lnTo>
                      <a:pt x="0" y="305"/>
                    </a:lnTo>
                    <a:lnTo>
                      <a:pt x="1071" y="726"/>
                    </a:lnTo>
                    <a:lnTo>
                      <a:pt x="1071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auto">
              <a:xfrm>
                <a:off x="1609" y="3373"/>
                <a:ext cx="612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1925" y="3262"/>
                <a:ext cx="587" cy="243"/>
              </a:xfrm>
              <a:custGeom>
                <a:avLst/>
                <a:gdLst>
                  <a:gd name="T0" fmla="*/ 33 w 248"/>
                  <a:gd name="T1" fmla="*/ 0 h 103"/>
                  <a:gd name="T2" fmla="*/ 248 w 248"/>
                  <a:gd name="T3" fmla="*/ 90 h 103"/>
                  <a:gd name="T4" fmla="*/ 215 w 248"/>
                  <a:gd name="T5" fmla="*/ 103 h 103"/>
                  <a:gd name="T6" fmla="*/ 52 w 248"/>
                  <a:gd name="T7" fmla="*/ 35 h 103"/>
                  <a:gd name="T8" fmla="*/ 52 w 248"/>
                  <a:gd name="T9" fmla="*/ 41 h 103"/>
                  <a:gd name="T10" fmla="*/ 50 w 248"/>
                  <a:gd name="T11" fmla="*/ 46 h 103"/>
                  <a:gd name="T12" fmla="*/ 45 w 248"/>
                  <a:gd name="T13" fmla="*/ 51 h 103"/>
                  <a:gd name="T14" fmla="*/ 39 w 248"/>
                  <a:gd name="T15" fmla="*/ 56 h 103"/>
                  <a:gd name="T16" fmla="*/ 0 w 248"/>
                  <a:gd name="T17" fmla="*/ 40 h 103"/>
                  <a:gd name="T18" fmla="*/ 10 w 248"/>
                  <a:gd name="T19" fmla="*/ 24 h 103"/>
                  <a:gd name="T20" fmla="*/ 13 w 248"/>
                  <a:gd name="T21" fmla="*/ 8 h 103"/>
                  <a:gd name="T22" fmla="*/ 33 w 248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8" h="103">
                    <a:moveTo>
                      <a:pt x="33" y="0"/>
                    </a:moveTo>
                    <a:cubicBezTo>
                      <a:pt x="248" y="90"/>
                      <a:pt x="248" y="90"/>
                      <a:pt x="248" y="90"/>
                    </a:cubicBezTo>
                    <a:cubicBezTo>
                      <a:pt x="215" y="103"/>
                      <a:pt x="215" y="103"/>
                      <a:pt x="215" y="103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53" y="37"/>
                      <a:pt x="53" y="39"/>
                      <a:pt x="52" y="41"/>
                    </a:cubicBezTo>
                    <a:cubicBezTo>
                      <a:pt x="52" y="43"/>
                      <a:pt x="51" y="44"/>
                      <a:pt x="50" y="46"/>
                    </a:cubicBezTo>
                    <a:cubicBezTo>
                      <a:pt x="49" y="48"/>
                      <a:pt x="47" y="50"/>
                      <a:pt x="45" y="51"/>
                    </a:cubicBezTo>
                    <a:cubicBezTo>
                      <a:pt x="43" y="53"/>
                      <a:pt x="41" y="55"/>
                      <a:pt x="39" y="5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5" y="35"/>
                      <a:pt x="8" y="30"/>
                      <a:pt x="10" y="24"/>
                    </a:cubicBezTo>
                    <a:cubicBezTo>
                      <a:pt x="13" y="19"/>
                      <a:pt x="13" y="14"/>
                      <a:pt x="13" y="8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1"/>
              <p:cNvSpPr>
                <a:spLocks noEditPoints="1"/>
              </p:cNvSpPr>
              <p:nvPr/>
            </p:nvSpPr>
            <p:spPr bwMode="auto">
              <a:xfrm>
                <a:off x="2630" y="2507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2902" y="2403"/>
                <a:ext cx="681" cy="281"/>
              </a:xfrm>
              <a:custGeom>
                <a:avLst/>
                <a:gdLst>
                  <a:gd name="T0" fmla="*/ 187 w 288"/>
                  <a:gd name="T1" fmla="*/ 88 h 119"/>
                  <a:gd name="T2" fmla="*/ 250 w 288"/>
                  <a:gd name="T3" fmla="*/ 62 h 119"/>
                  <a:gd name="T4" fmla="*/ 288 w 288"/>
                  <a:gd name="T5" fmla="*/ 78 h 119"/>
                  <a:gd name="T6" fmla="*/ 189 w 288"/>
                  <a:gd name="T7" fmla="*/ 119 h 119"/>
                  <a:gd name="T8" fmla="*/ 173 w 288"/>
                  <a:gd name="T9" fmla="*/ 112 h 119"/>
                  <a:gd name="T10" fmla="*/ 148 w 288"/>
                  <a:gd name="T11" fmla="*/ 99 h 119"/>
                  <a:gd name="T12" fmla="*/ 135 w 288"/>
                  <a:gd name="T13" fmla="*/ 85 h 119"/>
                  <a:gd name="T14" fmla="*/ 129 w 288"/>
                  <a:gd name="T15" fmla="*/ 72 h 119"/>
                  <a:gd name="T16" fmla="*/ 128 w 288"/>
                  <a:gd name="T17" fmla="*/ 61 h 119"/>
                  <a:gd name="T18" fmla="*/ 127 w 288"/>
                  <a:gd name="T19" fmla="*/ 51 h 119"/>
                  <a:gd name="T20" fmla="*/ 124 w 288"/>
                  <a:gd name="T21" fmla="*/ 43 h 119"/>
                  <a:gd name="T22" fmla="*/ 117 w 288"/>
                  <a:gd name="T23" fmla="*/ 35 h 119"/>
                  <a:gd name="T24" fmla="*/ 105 w 288"/>
                  <a:gd name="T25" fmla="*/ 29 h 119"/>
                  <a:gd name="T26" fmla="*/ 79 w 288"/>
                  <a:gd name="T27" fmla="*/ 23 h 119"/>
                  <a:gd name="T28" fmla="*/ 56 w 288"/>
                  <a:gd name="T29" fmla="*/ 27 h 119"/>
                  <a:gd name="T30" fmla="*/ 41 w 288"/>
                  <a:gd name="T31" fmla="*/ 51 h 119"/>
                  <a:gd name="T32" fmla="*/ 0 w 288"/>
                  <a:gd name="T33" fmla="*/ 34 h 119"/>
                  <a:gd name="T34" fmla="*/ 26 w 288"/>
                  <a:gd name="T35" fmla="*/ 9 h 119"/>
                  <a:gd name="T36" fmla="*/ 51 w 288"/>
                  <a:gd name="T37" fmla="*/ 2 h 119"/>
                  <a:gd name="T38" fmla="*/ 78 w 288"/>
                  <a:gd name="T39" fmla="*/ 1 h 119"/>
                  <a:gd name="T40" fmla="*/ 106 w 288"/>
                  <a:gd name="T41" fmla="*/ 5 h 119"/>
                  <a:gd name="T42" fmla="*/ 134 w 288"/>
                  <a:gd name="T43" fmla="*/ 14 h 119"/>
                  <a:gd name="T44" fmla="*/ 157 w 288"/>
                  <a:gd name="T45" fmla="*/ 26 h 119"/>
                  <a:gd name="T46" fmla="*/ 169 w 288"/>
                  <a:gd name="T47" fmla="*/ 38 h 119"/>
                  <a:gd name="T48" fmla="*/ 174 w 288"/>
                  <a:gd name="T49" fmla="*/ 50 h 119"/>
                  <a:gd name="T50" fmla="*/ 174 w 288"/>
                  <a:gd name="T51" fmla="*/ 62 h 119"/>
                  <a:gd name="T52" fmla="*/ 175 w 288"/>
                  <a:gd name="T53" fmla="*/ 70 h 119"/>
                  <a:gd name="T54" fmla="*/ 176 w 288"/>
                  <a:gd name="T55" fmla="*/ 77 h 119"/>
                  <a:gd name="T56" fmla="*/ 180 w 288"/>
                  <a:gd name="T57" fmla="*/ 83 h 119"/>
                  <a:gd name="T58" fmla="*/ 187 w 288"/>
                  <a:gd name="T59" fmla="*/ 88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88" h="119">
                    <a:moveTo>
                      <a:pt x="187" y="88"/>
                    </a:moveTo>
                    <a:cubicBezTo>
                      <a:pt x="250" y="62"/>
                      <a:pt x="250" y="62"/>
                      <a:pt x="250" y="62"/>
                    </a:cubicBezTo>
                    <a:cubicBezTo>
                      <a:pt x="288" y="78"/>
                      <a:pt x="288" y="78"/>
                      <a:pt x="288" y="78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73" y="112"/>
                      <a:pt x="173" y="112"/>
                      <a:pt x="173" y="112"/>
                    </a:cubicBezTo>
                    <a:cubicBezTo>
                      <a:pt x="163" y="108"/>
                      <a:pt x="154" y="103"/>
                      <a:pt x="148" y="99"/>
                    </a:cubicBezTo>
                    <a:cubicBezTo>
                      <a:pt x="142" y="94"/>
                      <a:pt x="138" y="89"/>
                      <a:pt x="135" y="85"/>
                    </a:cubicBezTo>
                    <a:cubicBezTo>
                      <a:pt x="132" y="81"/>
                      <a:pt x="130" y="76"/>
                      <a:pt x="129" y="72"/>
                    </a:cubicBezTo>
                    <a:cubicBezTo>
                      <a:pt x="129" y="68"/>
                      <a:pt x="128" y="64"/>
                      <a:pt x="128" y="61"/>
                    </a:cubicBezTo>
                    <a:cubicBezTo>
                      <a:pt x="128" y="57"/>
                      <a:pt x="128" y="54"/>
                      <a:pt x="127" y="51"/>
                    </a:cubicBezTo>
                    <a:cubicBezTo>
                      <a:pt x="127" y="48"/>
                      <a:pt x="125" y="45"/>
                      <a:pt x="124" y="43"/>
                    </a:cubicBezTo>
                    <a:cubicBezTo>
                      <a:pt x="122" y="40"/>
                      <a:pt x="120" y="38"/>
                      <a:pt x="117" y="35"/>
                    </a:cubicBezTo>
                    <a:cubicBezTo>
                      <a:pt x="114" y="33"/>
                      <a:pt x="110" y="31"/>
                      <a:pt x="105" y="29"/>
                    </a:cubicBezTo>
                    <a:cubicBezTo>
                      <a:pt x="96" y="26"/>
                      <a:pt x="88" y="24"/>
                      <a:pt x="79" y="23"/>
                    </a:cubicBezTo>
                    <a:cubicBezTo>
                      <a:pt x="71" y="23"/>
                      <a:pt x="63" y="24"/>
                      <a:pt x="56" y="27"/>
                    </a:cubicBezTo>
                    <a:cubicBezTo>
                      <a:pt x="43" y="32"/>
                      <a:pt x="38" y="40"/>
                      <a:pt x="41" y="51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24"/>
                      <a:pt x="10" y="16"/>
                      <a:pt x="26" y="9"/>
                    </a:cubicBezTo>
                    <a:cubicBezTo>
                      <a:pt x="34" y="6"/>
                      <a:pt x="42" y="3"/>
                      <a:pt x="51" y="2"/>
                    </a:cubicBezTo>
                    <a:cubicBezTo>
                      <a:pt x="59" y="1"/>
                      <a:pt x="68" y="0"/>
                      <a:pt x="78" y="1"/>
                    </a:cubicBezTo>
                    <a:cubicBezTo>
                      <a:pt x="87" y="1"/>
                      <a:pt x="97" y="3"/>
                      <a:pt x="106" y="5"/>
                    </a:cubicBezTo>
                    <a:cubicBezTo>
                      <a:pt x="116" y="7"/>
                      <a:pt x="125" y="10"/>
                      <a:pt x="134" y="14"/>
                    </a:cubicBezTo>
                    <a:cubicBezTo>
                      <a:pt x="144" y="18"/>
                      <a:pt x="151" y="22"/>
                      <a:pt x="157" y="26"/>
                    </a:cubicBezTo>
                    <a:cubicBezTo>
                      <a:pt x="162" y="30"/>
                      <a:pt x="166" y="34"/>
                      <a:pt x="169" y="38"/>
                    </a:cubicBezTo>
                    <a:cubicBezTo>
                      <a:pt x="172" y="42"/>
                      <a:pt x="173" y="46"/>
                      <a:pt x="174" y="50"/>
                    </a:cubicBezTo>
                    <a:cubicBezTo>
                      <a:pt x="174" y="54"/>
                      <a:pt x="175" y="58"/>
                      <a:pt x="174" y="62"/>
                    </a:cubicBezTo>
                    <a:cubicBezTo>
                      <a:pt x="174" y="65"/>
                      <a:pt x="175" y="67"/>
                      <a:pt x="175" y="70"/>
                    </a:cubicBezTo>
                    <a:cubicBezTo>
                      <a:pt x="175" y="73"/>
                      <a:pt x="175" y="75"/>
                      <a:pt x="176" y="77"/>
                    </a:cubicBezTo>
                    <a:cubicBezTo>
                      <a:pt x="177" y="80"/>
                      <a:pt x="178" y="82"/>
                      <a:pt x="180" y="83"/>
                    </a:cubicBezTo>
                    <a:cubicBezTo>
                      <a:pt x="182" y="85"/>
                      <a:pt x="184" y="87"/>
                      <a:pt x="187" y="88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3"/>
              <p:cNvSpPr>
                <a:spLocks noEditPoints="1"/>
              </p:cNvSpPr>
              <p:nvPr/>
            </p:nvSpPr>
            <p:spPr bwMode="auto">
              <a:xfrm>
                <a:off x="3732" y="1598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3993" y="1499"/>
                <a:ext cx="626" cy="265"/>
              </a:xfrm>
              <a:custGeom>
                <a:avLst/>
                <a:gdLst>
                  <a:gd name="T0" fmla="*/ 191 w 265"/>
                  <a:gd name="T1" fmla="*/ 112 h 112"/>
                  <a:gd name="T2" fmla="*/ 150 w 265"/>
                  <a:gd name="T3" fmla="*/ 96 h 112"/>
                  <a:gd name="T4" fmla="*/ 201 w 265"/>
                  <a:gd name="T5" fmla="*/ 88 h 112"/>
                  <a:gd name="T6" fmla="*/ 213 w 265"/>
                  <a:gd name="T7" fmla="*/ 76 h 112"/>
                  <a:gd name="T8" fmla="*/ 198 w 265"/>
                  <a:gd name="T9" fmla="*/ 65 h 112"/>
                  <a:gd name="T10" fmla="*/ 168 w 265"/>
                  <a:gd name="T11" fmla="*/ 59 h 112"/>
                  <a:gd name="T12" fmla="*/ 137 w 265"/>
                  <a:gd name="T13" fmla="*/ 66 h 112"/>
                  <a:gd name="T14" fmla="*/ 123 w 265"/>
                  <a:gd name="T15" fmla="*/ 72 h 112"/>
                  <a:gd name="T16" fmla="*/ 87 w 265"/>
                  <a:gd name="T17" fmla="*/ 57 h 112"/>
                  <a:gd name="T18" fmla="*/ 100 w 265"/>
                  <a:gd name="T19" fmla="*/ 52 h 112"/>
                  <a:gd name="T20" fmla="*/ 102 w 265"/>
                  <a:gd name="T21" fmla="*/ 28 h 112"/>
                  <a:gd name="T22" fmla="*/ 54 w 265"/>
                  <a:gd name="T23" fmla="*/ 27 h 112"/>
                  <a:gd name="T24" fmla="*/ 38 w 265"/>
                  <a:gd name="T25" fmla="*/ 44 h 112"/>
                  <a:gd name="T26" fmla="*/ 0 w 265"/>
                  <a:gd name="T27" fmla="*/ 29 h 112"/>
                  <a:gd name="T28" fmla="*/ 26 w 265"/>
                  <a:gd name="T29" fmla="*/ 9 h 112"/>
                  <a:gd name="T30" fmla="*/ 76 w 265"/>
                  <a:gd name="T31" fmla="*/ 0 h 112"/>
                  <a:gd name="T32" fmla="*/ 126 w 265"/>
                  <a:gd name="T33" fmla="*/ 11 h 112"/>
                  <a:gd name="T34" fmla="*/ 148 w 265"/>
                  <a:gd name="T35" fmla="*/ 44 h 112"/>
                  <a:gd name="T36" fmla="*/ 149 w 265"/>
                  <a:gd name="T37" fmla="*/ 45 h 112"/>
                  <a:gd name="T38" fmla="*/ 190 w 265"/>
                  <a:gd name="T39" fmla="*/ 41 h 112"/>
                  <a:gd name="T40" fmla="*/ 232 w 265"/>
                  <a:gd name="T41" fmla="*/ 51 h 112"/>
                  <a:gd name="T42" fmla="*/ 264 w 265"/>
                  <a:gd name="T43" fmla="*/ 77 h 112"/>
                  <a:gd name="T44" fmla="*/ 239 w 265"/>
                  <a:gd name="T45" fmla="*/ 101 h 112"/>
                  <a:gd name="T46" fmla="*/ 191 w 265"/>
                  <a:gd name="T47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5" h="112">
                    <a:moveTo>
                      <a:pt x="191" y="112"/>
                    </a:moveTo>
                    <a:cubicBezTo>
                      <a:pt x="150" y="96"/>
                      <a:pt x="150" y="96"/>
                      <a:pt x="150" y="96"/>
                    </a:cubicBezTo>
                    <a:cubicBezTo>
                      <a:pt x="171" y="96"/>
                      <a:pt x="187" y="93"/>
                      <a:pt x="201" y="88"/>
                    </a:cubicBezTo>
                    <a:cubicBezTo>
                      <a:pt x="209" y="84"/>
                      <a:pt x="213" y="80"/>
                      <a:pt x="213" y="76"/>
                    </a:cubicBezTo>
                    <a:cubicBezTo>
                      <a:pt x="212" y="72"/>
                      <a:pt x="207" y="68"/>
                      <a:pt x="198" y="65"/>
                    </a:cubicBezTo>
                    <a:cubicBezTo>
                      <a:pt x="189" y="61"/>
                      <a:pt x="179" y="59"/>
                      <a:pt x="168" y="59"/>
                    </a:cubicBezTo>
                    <a:cubicBezTo>
                      <a:pt x="157" y="59"/>
                      <a:pt x="147" y="62"/>
                      <a:pt x="137" y="66"/>
                    </a:cubicBezTo>
                    <a:cubicBezTo>
                      <a:pt x="123" y="72"/>
                      <a:pt x="123" y="72"/>
                      <a:pt x="123" y="72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100" y="52"/>
                      <a:pt x="100" y="52"/>
                      <a:pt x="100" y="52"/>
                    </a:cubicBezTo>
                    <a:cubicBezTo>
                      <a:pt x="119" y="44"/>
                      <a:pt x="120" y="36"/>
                      <a:pt x="102" y="28"/>
                    </a:cubicBezTo>
                    <a:cubicBezTo>
                      <a:pt x="85" y="21"/>
                      <a:pt x="69" y="21"/>
                      <a:pt x="54" y="27"/>
                    </a:cubicBezTo>
                    <a:cubicBezTo>
                      <a:pt x="44" y="31"/>
                      <a:pt x="39" y="37"/>
                      <a:pt x="38" y="4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1"/>
                      <a:pt x="12" y="15"/>
                      <a:pt x="26" y="9"/>
                    </a:cubicBezTo>
                    <a:cubicBezTo>
                      <a:pt x="41" y="3"/>
                      <a:pt x="58" y="0"/>
                      <a:pt x="76" y="0"/>
                    </a:cubicBezTo>
                    <a:cubicBezTo>
                      <a:pt x="94" y="1"/>
                      <a:pt x="111" y="4"/>
                      <a:pt x="126" y="11"/>
                    </a:cubicBezTo>
                    <a:cubicBezTo>
                      <a:pt x="154" y="22"/>
                      <a:pt x="161" y="33"/>
                      <a:pt x="148" y="44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62" y="41"/>
                      <a:pt x="175" y="40"/>
                      <a:pt x="190" y="41"/>
                    </a:cubicBezTo>
                    <a:cubicBezTo>
                      <a:pt x="205" y="42"/>
                      <a:pt x="219" y="46"/>
                      <a:pt x="232" y="51"/>
                    </a:cubicBezTo>
                    <a:cubicBezTo>
                      <a:pt x="252" y="59"/>
                      <a:pt x="263" y="68"/>
                      <a:pt x="264" y="77"/>
                    </a:cubicBezTo>
                    <a:cubicBezTo>
                      <a:pt x="265" y="86"/>
                      <a:pt x="257" y="94"/>
                      <a:pt x="239" y="101"/>
                    </a:cubicBezTo>
                    <a:cubicBezTo>
                      <a:pt x="223" y="108"/>
                      <a:pt x="207" y="111"/>
                      <a:pt x="191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4177" y="266"/>
                <a:ext cx="2542" cy="989"/>
              </a:xfrm>
              <a:custGeom>
                <a:avLst/>
                <a:gdLst>
                  <a:gd name="T0" fmla="*/ 691 w 2542"/>
                  <a:gd name="T1" fmla="*/ 0 h 989"/>
                  <a:gd name="T2" fmla="*/ 1071 w 2542"/>
                  <a:gd name="T3" fmla="*/ 149 h 989"/>
                  <a:gd name="T4" fmla="*/ 0 w 2542"/>
                  <a:gd name="T5" fmla="*/ 568 h 989"/>
                  <a:gd name="T6" fmla="*/ 1071 w 2542"/>
                  <a:gd name="T7" fmla="*/ 989 h 989"/>
                  <a:gd name="T8" fmla="*/ 2145 w 2542"/>
                  <a:gd name="T9" fmla="*/ 568 h 989"/>
                  <a:gd name="T10" fmla="*/ 2542 w 2542"/>
                  <a:gd name="T11" fmla="*/ 724 h 989"/>
                  <a:gd name="T12" fmla="*/ 2542 w 2542"/>
                  <a:gd name="T13" fmla="*/ 0 h 989"/>
                  <a:gd name="T14" fmla="*/ 691 w 2542"/>
                  <a:gd name="T15" fmla="*/ 0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42" h="989">
                    <a:moveTo>
                      <a:pt x="691" y="0"/>
                    </a:moveTo>
                    <a:lnTo>
                      <a:pt x="1071" y="149"/>
                    </a:lnTo>
                    <a:lnTo>
                      <a:pt x="0" y="568"/>
                    </a:lnTo>
                    <a:lnTo>
                      <a:pt x="1071" y="989"/>
                    </a:lnTo>
                    <a:lnTo>
                      <a:pt x="2145" y="568"/>
                    </a:lnTo>
                    <a:lnTo>
                      <a:pt x="2542" y="724"/>
                    </a:lnTo>
                    <a:lnTo>
                      <a:pt x="2542" y="0"/>
                    </a:lnTo>
                    <a:lnTo>
                      <a:pt x="691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6"/>
              <p:cNvSpPr>
                <a:spLocks noEditPoints="1"/>
              </p:cNvSpPr>
              <p:nvPr/>
            </p:nvSpPr>
            <p:spPr bwMode="auto">
              <a:xfrm>
                <a:off x="4782" y="741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7"/>
              <p:cNvSpPr>
                <a:spLocks noEditPoints="1"/>
              </p:cNvSpPr>
              <p:nvPr/>
            </p:nvSpPr>
            <p:spPr bwMode="auto">
              <a:xfrm>
                <a:off x="5144" y="623"/>
                <a:ext cx="570" cy="258"/>
              </a:xfrm>
              <a:custGeom>
                <a:avLst/>
                <a:gdLst>
                  <a:gd name="T0" fmla="*/ 31 w 241"/>
                  <a:gd name="T1" fmla="*/ 0 h 109"/>
                  <a:gd name="T2" fmla="*/ 164 w 241"/>
                  <a:gd name="T3" fmla="*/ 55 h 109"/>
                  <a:gd name="T4" fmla="*/ 181 w 241"/>
                  <a:gd name="T5" fmla="*/ 48 h 109"/>
                  <a:gd name="T6" fmla="*/ 216 w 241"/>
                  <a:gd name="T7" fmla="*/ 62 h 109"/>
                  <a:gd name="T8" fmla="*/ 198 w 241"/>
                  <a:gd name="T9" fmla="*/ 70 h 109"/>
                  <a:gd name="T10" fmla="*/ 241 w 241"/>
                  <a:gd name="T11" fmla="*/ 87 h 109"/>
                  <a:gd name="T12" fmla="*/ 211 w 241"/>
                  <a:gd name="T13" fmla="*/ 100 h 109"/>
                  <a:gd name="T14" fmla="*/ 168 w 241"/>
                  <a:gd name="T15" fmla="*/ 82 h 109"/>
                  <a:gd name="T16" fmla="*/ 103 w 241"/>
                  <a:gd name="T17" fmla="*/ 109 h 109"/>
                  <a:gd name="T18" fmla="*/ 67 w 241"/>
                  <a:gd name="T19" fmla="*/ 94 h 109"/>
                  <a:gd name="T20" fmla="*/ 55 w 241"/>
                  <a:gd name="T21" fmla="*/ 74 h 109"/>
                  <a:gd name="T22" fmla="*/ 40 w 241"/>
                  <a:gd name="T23" fmla="*/ 53 h 109"/>
                  <a:gd name="T24" fmla="*/ 21 w 241"/>
                  <a:gd name="T25" fmla="*/ 32 h 109"/>
                  <a:gd name="T26" fmla="*/ 0 w 241"/>
                  <a:gd name="T27" fmla="*/ 13 h 109"/>
                  <a:gd name="T28" fmla="*/ 31 w 241"/>
                  <a:gd name="T29" fmla="*/ 0 h 109"/>
                  <a:gd name="T30" fmla="*/ 98 w 241"/>
                  <a:gd name="T31" fmla="*/ 82 h 109"/>
                  <a:gd name="T32" fmla="*/ 134 w 241"/>
                  <a:gd name="T33" fmla="*/ 68 h 109"/>
                  <a:gd name="T34" fmla="*/ 60 w 241"/>
                  <a:gd name="T35" fmla="*/ 37 h 109"/>
                  <a:gd name="T36" fmla="*/ 72 w 241"/>
                  <a:gd name="T37" fmla="*/ 48 h 109"/>
                  <a:gd name="T38" fmla="*/ 82 w 241"/>
                  <a:gd name="T39" fmla="*/ 60 h 109"/>
                  <a:gd name="T40" fmla="*/ 91 w 241"/>
                  <a:gd name="T41" fmla="*/ 71 h 109"/>
                  <a:gd name="T42" fmla="*/ 98 w 241"/>
                  <a:gd name="T43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1" h="109">
                    <a:moveTo>
                      <a:pt x="31" y="0"/>
                    </a:moveTo>
                    <a:cubicBezTo>
                      <a:pt x="164" y="55"/>
                      <a:pt x="164" y="55"/>
                      <a:pt x="164" y="55"/>
                    </a:cubicBezTo>
                    <a:cubicBezTo>
                      <a:pt x="181" y="48"/>
                      <a:pt x="181" y="48"/>
                      <a:pt x="181" y="48"/>
                    </a:cubicBezTo>
                    <a:cubicBezTo>
                      <a:pt x="216" y="62"/>
                      <a:pt x="216" y="62"/>
                      <a:pt x="216" y="62"/>
                    </a:cubicBezTo>
                    <a:cubicBezTo>
                      <a:pt x="198" y="70"/>
                      <a:pt x="198" y="70"/>
                      <a:pt x="198" y="70"/>
                    </a:cubicBezTo>
                    <a:cubicBezTo>
                      <a:pt x="241" y="87"/>
                      <a:pt x="241" y="87"/>
                      <a:pt x="241" y="87"/>
                    </a:cubicBezTo>
                    <a:cubicBezTo>
                      <a:pt x="211" y="100"/>
                      <a:pt x="211" y="100"/>
                      <a:pt x="211" y="100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03" y="109"/>
                      <a:pt x="103" y="109"/>
                      <a:pt x="103" y="109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4" y="87"/>
                      <a:pt x="60" y="81"/>
                      <a:pt x="55" y="74"/>
                    </a:cubicBezTo>
                    <a:cubicBezTo>
                      <a:pt x="50" y="67"/>
                      <a:pt x="45" y="60"/>
                      <a:pt x="40" y="53"/>
                    </a:cubicBezTo>
                    <a:cubicBezTo>
                      <a:pt x="34" y="45"/>
                      <a:pt x="28" y="38"/>
                      <a:pt x="21" y="32"/>
                    </a:cubicBezTo>
                    <a:cubicBezTo>
                      <a:pt x="14" y="25"/>
                      <a:pt x="8" y="18"/>
                      <a:pt x="0" y="13"/>
                    </a:cubicBezTo>
                    <a:lnTo>
                      <a:pt x="31" y="0"/>
                    </a:lnTo>
                    <a:close/>
                    <a:moveTo>
                      <a:pt x="98" y="82"/>
                    </a:moveTo>
                    <a:cubicBezTo>
                      <a:pt x="134" y="68"/>
                      <a:pt x="134" y="68"/>
                      <a:pt x="134" y="68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64" y="41"/>
                      <a:pt x="68" y="44"/>
                      <a:pt x="72" y="48"/>
                    </a:cubicBezTo>
                    <a:cubicBezTo>
                      <a:pt x="75" y="52"/>
                      <a:pt x="79" y="56"/>
                      <a:pt x="82" y="60"/>
                    </a:cubicBezTo>
                    <a:cubicBezTo>
                      <a:pt x="85" y="64"/>
                      <a:pt x="88" y="68"/>
                      <a:pt x="91" y="71"/>
                    </a:cubicBezTo>
                    <a:cubicBezTo>
                      <a:pt x="93" y="75"/>
                      <a:pt x="96" y="79"/>
                      <a:pt x="98" y="82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6322" y="834"/>
                <a:ext cx="397" cy="312"/>
              </a:xfrm>
              <a:custGeom>
                <a:avLst/>
                <a:gdLst>
                  <a:gd name="T0" fmla="*/ 397 w 397"/>
                  <a:gd name="T1" fmla="*/ 156 h 312"/>
                  <a:gd name="T2" fmla="*/ 0 w 397"/>
                  <a:gd name="T3" fmla="*/ 0 h 312"/>
                  <a:gd name="T4" fmla="*/ 0 w 397"/>
                  <a:gd name="T5" fmla="*/ 156 h 312"/>
                  <a:gd name="T6" fmla="*/ 397 w 397"/>
                  <a:gd name="T7" fmla="*/ 312 h 312"/>
                  <a:gd name="T8" fmla="*/ 397 w 397"/>
                  <a:gd name="T9" fmla="*/ 156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2">
                    <a:moveTo>
                      <a:pt x="397" y="156"/>
                    </a:moveTo>
                    <a:lnTo>
                      <a:pt x="0" y="0"/>
                    </a:lnTo>
                    <a:lnTo>
                      <a:pt x="0" y="156"/>
                    </a:lnTo>
                    <a:lnTo>
                      <a:pt x="397" y="312"/>
                    </a:lnTo>
                    <a:lnTo>
                      <a:pt x="397" y="1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0" name="Rectangle 48"/>
          <p:cNvSpPr>
            <a:spLocks noChangeArrowheads="1"/>
          </p:cNvSpPr>
          <p:nvPr/>
        </p:nvSpPr>
        <p:spPr bwMode="auto">
          <a:xfrm>
            <a:off x="3110" y="6490546"/>
            <a:ext cx="12188890" cy="367454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826809" y="589490"/>
            <a:ext cx="220252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D STEP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4093856" y="5101721"/>
            <a:ext cx="770544" cy="770544"/>
            <a:chOff x="4264343" y="4972285"/>
            <a:chExt cx="770544" cy="770544"/>
          </a:xfrm>
        </p:grpSpPr>
        <p:sp>
          <p:nvSpPr>
            <p:cNvPr id="67" name="Snip Single Corner Rectangle 66"/>
            <p:cNvSpPr/>
            <p:nvPr/>
          </p:nvSpPr>
          <p:spPr>
            <a:xfrm>
              <a:off x="4264343" y="4972285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4459991" y="5172147"/>
              <a:ext cx="379248" cy="370820"/>
              <a:chOff x="7600950" y="3048000"/>
              <a:chExt cx="285750" cy="279400"/>
            </a:xfrm>
            <a:solidFill>
              <a:schemeClr val="bg1"/>
            </a:solidFill>
            <a:effectLst/>
          </p:grpSpPr>
          <p:sp>
            <p:nvSpPr>
              <p:cNvPr id="75" name="Freeform 3039"/>
              <p:cNvSpPr>
                <a:spLocks/>
              </p:cNvSpPr>
              <p:nvPr/>
            </p:nvSpPr>
            <p:spPr bwMode="auto">
              <a:xfrm>
                <a:off x="7681913" y="3048000"/>
                <a:ext cx="123825" cy="128588"/>
              </a:xfrm>
              <a:custGeom>
                <a:avLst/>
                <a:gdLst>
                  <a:gd name="T0" fmla="*/ 263 w 310"/>
                  <a:gd name="T1" fmla="*/ 323 h 323"/>
                  <a:gd name="T2" fmla="*/ 268 w 310"/>
                  <a:gd name="T3" fmla="*/ 323 h 323"/>
                  <a:gd name="T4" fmla="*/ 271 w 310"/>
                  <a:gd name="T5" fmla="*/ 321 h 323"/>
                  <a:gd name="T6" fmla="*/ 274 w 310"/>
                  <a:gd name="T7" fmla="*/ 317 h 323"/>
                  <a:gd name="T8" fmla="*/ 275 w 310"/>
                  <a:gd name="T9" fmla="*/ 314 h 323"/>
                  <a:gd name="T10" fmla="*/ 275 w 310"/>
                  <a:gd name="T11" fmla="*/ 310 h 323"/>
                  <a:gd name="T12" fmla="*/ 274 w 310"/>
                  <a:gd name="T13" fmla="*/ 307 h 323"/>
                  <a:gd name="T14" fmla="*/ 231 w 310"/>
                  <a:gd name="T15" fmla="*/ 207 h 323"/>
                  <a:gd name="T16" fmla="*/ 307 w 310"/>
                  <a:gd name="T17" fmla="*/ 141 h 323"/>
                  <a:gd name="T18" fmla="*/ 309 w 310"/>
                  <a:gd name="T19" fmla="*/ 138 h 323"/>
                  <a:gd name="T20" fmla="*/ 310 w 310"/>
                  <a:gd name="T21" fmla="*/ 135 h 323"/>
                  <a:gd name="T22" fmla="*/ 310 w 310"/>
                  <a:gd name="T23" fmla="*/ 132 h 323"/>
                  <a:gd name="T24" fmla="*/ 310 w 310"/>
                  <a:gd name="T25" fmla="*/ 128 h 323"/>
                  <a:gd name="T26" fmla="*/ 308 w 310"/>
                  <a:gd name="T27" fmla="*/ 125 h 323"/>
                  <a:gd name="T28" fmla="*/ 306 w 310"/>
                  <a:gd name="T29" fmla="*/ 122 h 323"/>
                  <a:gd name="T30" fmla="*/ 302 w 310"/>
                  <a:gd name="T31" fmla="*/ 121 h 323"/>
                  <a:gd name="T32" fmla="*/ 299 w 310"/>
                  <a:gd name="T33" fmla="*/ 120 h 323"/>
                  <a:gd name="T34" fmla="*/ 200 w 310"/>
                  <a:gd name="T35" fmla="*/ 120 h 323"/>
                  <a:gd name="T36" fmla="*/ 167 w 310"/>
                  <a:gd name="T37" fmla="*/ 9 h 323"/>
                  <a:gd name="T38" fmla="*/ 165 w 310"/>
                  <a:gd name="T39" fmla="*/ 6 h 323"/>
                  <a:gd name="T40" fmla="*/ 163 w 310"/>
                  <a:gd name="T41" fmla="*/ 2 h 323"/>
                  <a:gd name="T42" fmla="*/ 159 w 310"/>
                  <a:gd name="T43" fmla="*/ 1 h 323"/>
                  <a:gd name="T44" fmla="*/ 156 w 310"/>
                  <a:gd name="T45" fmla="*/ 0 h 323"/>
                  <a:gd name="T46" fmla="*/ 151 w 310"/>
                  <a:gd name="T47" fmla="*/ 1 h 323"/>
                  <a:gd name="T48" fmla="*/ 149 w 310"/>
                  <a:gd name="T49" fmla="*/ 2 h 323"/>
                  <a:gd name="T50" fmla="*/ 145 w 310"/>
                  <a:gd name="T51" fmla="*/ 6 h 323"/>
                  <a:gd name="T52" fmla="*/ 144 w 310"/>
                  <a:gd name="T53" fmla="*/ 9 h 323"/>
                  <a:gd name="T54" fmla="*/ 111 w 310"/>
                  <a:gd name="T55" fmla="*/ 120 h 323"/>
                  <a:gd name="T56" fmla="*/ 12 w 310"/>
                  <a:gd name="T57" fmla="*/ 120 h 323"/>
                  <a:gd name="T58" fmla="*/ 8 w 310"/>
                  <a:gd name="T59" fmla="*/ 121 h 323"/>
                  <a:gd name="T60" fmla="*/ 5 w 310"/>
                  <a:gd name="T61" fmla="*/ 122 h 323"/>
                  <a:gd name="T62" fmla="*/ 2 w 310"/>
                  <a:gd name="T63" fmla="*/ 125 h 323"/>
                  <a:gd name="T64" fmla="*/ 0 w 310"/>
                  <a:gd name="T65" fmla="*/ 128 h 323"/>
                  <a:gd name="T66" fmla="*/ 0 w 310"/>
                  <a:gd name="T67" fmla="*/ 132 h 323"/>
                  <a:gd name="T68" fmla="*/ 0 w 310"/>
                  <a:gd name="T69" fmla="*/ 135 h 323"/>
                  <a:gd name="T70" fmla="*/ 1 w 310"/>
                  <a:gd name="T71" fmla="*/ 138 h 323"/>
                  <a:gd name="T72" fmla="*/ 4 w 310"/>
                  <a:gd name="T73" fmla="*/ 141 h 323"/>
                  <a:gd name="T74" fmla="*/ 81 w 310"/>
                  <a:gd name="T75" fmla="*/ 205 h 323"/>
                  <a:gd name="T76" fmla="*/ 37 w 310"/>
                  <a:gd name="T77" fmla="*/ 307 h 323"/>
                  <a:gd name="T78" fmla="*/ 36 w 310"/>
                  <a:gd name="T79" fmla="*/ 310 h 323"/>
                  <a:gd name="T80" fmla="*/ 36 w 310"/>
                  <a:gd name="T81" fmla="*/ 314 h 323"/>
                  <a:gd name="T82" fmla="*/ 37 w 310"/>
                  <a:gd name="T83" fmla="*/ 317 h 323"/>
                  <a:gd name="T84" fmla="*/ 39 w 310"/>
                  <a:gd name="T85" fmla="*/ 321 h 323"/>
                  <a:gd name="T86" fmla="*/ 43 w 310"/>
                  <a:gd name="T87" fmla="*/ 323 h 323"/>
                  <a:gd name="T88" fmla="*/ 46 w 310"/>
                  <a:gd name="T89" fmla="*/ 323 h 323"/>
                  <a:gd name="T90" fmla="*/ 51 w 310"/>
                  <a:gd name="T91" fmla="*/ 323 h 323"/>
                  <a:gd name="T92" fmla="*/ 55 w 310"/>
                  <a:gd name="T93" fmla="*/ 322 h 323"/>
                  <a:gd name="T94" fmla="*/ 156 w 310"/>
                  <a:gd name="T95" fmla="*/ 254 h 323"/>
                  <a:gd name="T96" fmla="*/ 257 w 310"/>
                  <a:gd name="T97" fmla="*/ 322 h 323"/>
                  <a:gd name="T98" fmla="*/ 259 w 310"/>
                  <a:gd name="T99" fmla="*/ 323 h 323"/>
                  <a:gd name="T100" fmla="*/ 263 w 310"/>
                  <a:gd name="T101" fmla="*/ 323 h 323"/>
                  <a:gd name="T102" fmla="*/ 263 w 310"/>
                  <a:gd name="T103" fmla="*/ 323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0" h="323">
                    <a:moveTo>
                      <a:pt x="263" y="323"/>
                    </a:moveTo>
                    <a:lnTo>
                      <a:pt x="268" y="323"/>
                    </a:lnTo>
                    <a:lnTo>
                      <a:pt x="271" y="321"/>
                    </a:lnTo>
                    <a:lnTo>
                      <a:pt x="274" y="317"/>
                    </a:lnTo>
                    <a:lnTo>
                      <a:pt x="275" y="314"/>
                    </a:lnTo>
                    <a:lnTo>
                      <a:pt x="275" y="310"/>
                    </a:lnTo>
                    <a:lnTo>
                      <a:pt x="274" y="307"/>
                    </a:lnTo>
                    <a:lnTo>
                      <a:pt x="231" y="207"/>
                    </a:lnTo>
                    <a:lnTo>
                      <a:pt x="307" y="141"/>
                    </a:lnTo>
                    <a:lnTo>
                      <a:pt x="309" y="138"/>
                    </a:lnTo>
                    <a:lnTo>
                      <a:pt x="310" y="135"/>
                    </a:lnTo>
                    <a:lnTo>
                      <a:pt x="310" y="132"/>
                    </a:lnTo>
                    <a:lnTo>
                      <a:pt x="310" y="128"/>
                    </a:lnTo>
                    <a:lnTo>
                      <a:pt x="308" y="125"/>
                    </a:lnTo>
                    <a:lnTo>
                      <a:pt x="306" y="122"/>
                    </a:lnTo>
                    <a:lnTo>
                      <a:pt x="302" y="121"/>
                    </a:lnTo>
                    <a:lnTo>
                      <a:pt x="299" y="120"/>
                    </a:lnTo>
                    <a:lnTo>
                      <a:pt x="200" y="120"/>
                    </a:lnTo>
                    <a:lnTo>
                      <a:pt x="167" y="9"/>
                    </a:lnTo>
                    <a:lnTo>
                      <a:pt x="165" y="6"/>
                    </a:lnTo>
                    <a:lnTo>
                      <a:pt x="163" y="2"/>
                    </a:lnTo>
                    <a:lnTo>
                      <a:pt x="159" y="1"/>
                    </a:lnTo>
                    <a:lnTo>
                      <a:pt x="156" y="0"/>
                    </a:lnTo>
                    <a:lnTo>
                      <a:pt x="151" y="1"/>
                    </a:lnTo>
                    <a:lnTo>
                      <a:pt x="149" y="2"/>
                    </a:lnTo>
                    <a:lnTo>
                      <a:pt x="145" y="6"/>
                    </a:lnTo>
                    <a:lnTo>
                      <a:pt x="144" y="9"/>
                    </a:lnTo>
                    <a:lnTo>
                      <a:pt x="111" y="120"/>
                    </a:lnTo>
                    <a:lnTo>
                      <a:pt x="12" y="120"/>
                    </a:lnTo>
                    <a:lnTo>
                      <a:pt x="8" y="121"/>
                    </a:lnTo>
                    <a:lnTo>
                      <a:pt x="5" y="122"/>
                    </a:lnTo>
                    <a:lnTo>
                      <a:pt x="2" y="125"/>
                    </a:lnTo>
                    <a:lnTo>
                      <a:pt x="0" y="128"/>
                    </a:lnTo>
                    <a:lnTo>
                      <a:pt x="0" y="132"/>
                    </a:lnTo>
                    <a:lnTo>
                      <a:pt x="0" y="135"/>
                    </a:lnTo>
                    <a:lnTo>
                      <a:pt x="1" y="138"/>
                    </a:lnTo>
                    <a:lnTo>
                      <a:pt x="4" y="141"/>
                    </a:lnTo>
                    <a:lnTo>
                      <a:pt x="81" y="205"/>
                    </a:lnTo>
                    <a:lnTo>
                      <a:pt x="37" y="307"/>
                    </a:lnTo>
                    <a:lnTo>
                      <a:pt x="36" y="310"/>
                    </a:lnTo>
                    <a:lnTo>
                      <a:pt x="36" y="314"/>
                    </a:lnTo>
                    <a:lnTo>
                      <a:pt x="37" y="317"/>
                    </a:lnTo>
                    <a:lnTo>
                      <a:pt x="39" y="321"/>
                    </a:lnTo>
                    <a:lnTo>
                      <a:pt x="43" y="323"/>
                    </a:lnTo>
                    <a:lnTo>
                      <a:pt x="46" y="323"/>
                    </a:lnTo>
                    <a:lnTo>
                      <a:pt x="51" y="323"/>
                    </a:lnTo>
                    <a:lnTo>
                      <a:pt x="55" y="322"/>
                    </a:lnTo>
                    <a:lnTo>
                      <a:pt x="156" y="254"/>
                    </a:lnTo>
                    <a:lnTo>
                      <a:pt x="257" y="322"/>
                    </a:lnTo>
                    <a:lnTo>
                      <a:pt x="259" y="323"/>
                    </a:lnTo>
                    <a:lnTo>
                      <a:pt x="263" y="323"/>
                    </a:lnTo>
                    <a:lnTo>
                      <a:pt x="263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040"/>
              <p:cNvSpPr>
                <a:spLocks/>
              </p:cNvSpPr>
              <p:nvPr/>
            </p:nvSpPr>
            <p:spPr bwMode="auto">
              <a:xfrm>
                <a:off x="7762875" y="3200400"/>
                <a:ext cx="123825" cy="127000"/>
              </a:xfrm>
              <a:custGeom>
                <a:avLst/>
                <a:gdLst>
                  <a:gd name="T0" fmla="*/ 311 w 312"/>
                  <a:gd name="T1" fmla="*/ 127 h 322"/>
                  <a:gd name="T2" fmla="*/ 308 w 312"/>
                  <a:gd name="T3" fmla="*/ 124 h 322"/>
                  <a:gd name="T4" fmla="*/ 306 w 312"/>
                  <a:gd name="T5" fmla="*/ 121 h 322"/>
                  <a:gd name="T6" fmla="*/ 304 w 312"/>
                  <a:gd name="T7" fmla="*/ 120 h 322"/>
                  <a:gd name="T8" fmla="*/ 300 w 312"/>
                  <a:gd name="T9" fmla="*/ 119 h 322"/>
                  <a:gd name="T10" fmla="*/ 200 w 312"/>
                  <a:gd name="T11" fmla="*/ 119 h 322"/>
                  <a:gd name="T12" fmla="*/ 167 w 312"/>
                  <a:gd name="T13" fmla="*/ 8 h 322"/>
                  <a:gd name="T14" fmla="*/ 166 w 312"/>
                  <a:gd name="T15" fmla="*/ 5 h 322"/>
                  <a:gd name="T16" fmla="*/ 163 w 312"/>
                  <a:gd name="T17" fmla="*/ 2 h 322"/>
                  <a:gd name="T18" fmla="*/ 160 w 312"/>
                  <a:gd name="T19" fmla="*/ 0 h 322"/>
                  <a:gd name="T20" fmla="*/ 156 w 312"/>
                  <a:gd name="T21" fmla="*/ 0 h 322"/>
                  <a:gd name="T22" fmla="*/ 153 w 312"/>
                  <a:gd name="T23" fmla="*/ 0 h 322"/>
                  <a:gd name="T24" fmla="*/ 149 w 312"/>
                  <a:gd name="T25" fmla="*/ 2 h 322"/>
                  <a:gd name="T26" fmla="*/ 146 w 312"/>
                  <a:gd name="T27" fmla="*/ 5 h 322"/>
                  <a:gd name="T28" fmla="*/ 144 w 312"/>
                  <a:gd name="T29" fmla="*/ 8 h 322"/>
                  <a:gd name="T30" fmla="*/ 111 w 312"/>
                  <a:gd name="T31" fmla="*/ 119 h 322"/>
                  <a:gd name="T32" fmla="*/ 12 w 312"/>
                  <a:gd name="T33" fmla="*/ 119 h 322"/>
                  <a:gd name="T34" fmla="*/ 9 w 312"/>
                  <a:gd name="T35" fmla="*/ 120 h 322"/>
                  <a:gd name="T36" fmla="*/ 5 w 312"/>
                  <a:gd name="T37" fmla="*/ 121 h 322"/>
                  <a:gd name="T38" fmla="*/ 3 w 312"/>
                  <a:gd name="T39" fmla="*/ 124 h 322"/>
                  <a:gd name="T40" fmla="*/ 0 w 312"/>
                  <a:gd name="T41" fmla="*/ 127 h 322"/>
                  <a:gd name="T42" fmla="*/ 0 w 312"/>
                  <a:gd name="T43" fmla="*/ 131 h 322"/>
                  <a:gd name="T44" fmla="*/ 0 w 312"/>
                  <a:gd name="T45" fmla="*/ 134 h 322"/>
                  <a:gd name="T46" fmla="*/ 2 w 312"/>
                  <a:gd name="T47" fmla="*/ 138 h 322"/>
                  <a:gd name="T48" fmla="*/ 4 w 312"/>
                  <a:gd name="T49" fmla="*/ 140 h 322"/>
                  <a:gd name="T50" fmla="*/ 81 w 312"/>
                  <a:gd name="T51" fmla="*/ 204 h 322"/>
                  <a:gd name="T52" fmla="*/ 37 w 312"/>
                  <a:gd name="T53" fmla="*/ 306 h 322"/>
                  <a:gd name="T54" fmla="*/ 36 w 312"/>
                  <a:gd name="T55" fmla="*/ 309 h 322"/>
                  <a:gd name="T56" fmla="*/ 36 w 312"/>
                  <a:gd name="T57" fmla="*/ 314 h 322"/>
                  <a:gd name="T58" fmla="*/ 38 w 312"/>
                  <a:gd name="T59" fmla="*/ 317 h 322"/>
                  <a:gd name="T60" fmla="*/ 41 w 312"/>
                  <a:gd name="T61" fmla="*/ 320 h 322"/>
                  <a:gd name="T62" fmla="*/ 43 w 312"/>
                  <a:gd name="T63" fmla="*/ 322 h 322"/>
                  <a:gd name="T64" fmla="*/ 48 w 312"/>
                  <a:gd name="T65" fmla="*/ 322 h 322"/>
                  <a:gd name="T66" fmla="*/ 52 w 312"/>
                  <a:gd name="T67" fmla="*/ 322 h 322"/>
                  <a:gd name="T68" fmla="*/ 55 w 312"/>
                  <a:gd name="T69" fmla="*/ 321 h 322"/>
                  <a:gd name="T70" fmla="*/ 156 w 312"/>
                  <a:gd name="T71" fmla="*/ 253 h 322"/>
                  <a:gd name="T72" fmla="*/ 257 w 312"/>
                  <a:gd name="T73" fmla="*/ 321 h 322"/>
                  <a:gd name="T74" fmla="*/ 260 w 312"/>
                  <a:gd name="T75" fmla="*/ 322 h 322"/>
                  <a:gd name="T76" fmla="*/ 263 w 312"/>
                  <a:gd name="T77" fmla="*/ 322 h 322"/>
                  <a:gd name="T78" fmla="*/ 268 w 312"/>
                  <a:gd name="T79" fmla="*/ 322 h 322"/>
                  <a:gd name="T80" fmla="*/ 272 w 312"/>
                  <a:gd name="T81" fmla="*/ 320 h 322"/>
                  <a:gd name="T82" fmla="*/ 274 w 312"/>
                  <a:gd name="T83" fmla="*/ 317 h 322"/>
                  <a:gd name="T84" fmla="*/ 275 w 312"/>
                  <a:gd name="T85" fmla="*/ 314 h 322"/>
                  <a:gd name="T86" fmla="*/ 275 w 312"/>
                  <a:gd name="T87" fmla="*/ 310 h 322"/>
                  <a:gd name="T88" fmla="*/ 275 w 312"/>
                  <a:gd name="T89" fmla="*/ 306 h 322"/>
                  <a:gd name="T90" fmla="*/ 231 w 312"/>
                  <a:gd name="T91" fmla="*/ 207 h 322"/>
                  <a:gd name="T92" fmla="*/ 307 w 312"/>
                  <a:gd name="T93" fmla="*/ 140 h 322"/>
                  <a:gd name="T94" fmla="*/ 310 w 312"/>
                  <a:gd name="T95" fmla="*/ 138 h 322"/>
                  <a:gd name="T96" fmla="*/ 311 w 312"/>
                  <a:gd name="T97" fmla="*/ 134 h 322"/>
                  <a:gd name="T98" fmla="*/ 312 w 312"/>
                  <a:gd name="T99" fmla="*/ 131 h 322"/>
                  <a:gd name="T100" fmla="*/ 311 w 312"/>
                  <a:gd name="T101" fmla="*/ 127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2" h="322">
                    <a:moveTo>
                      <a:pt x="311" y="127"/>
                    </a:moveTo>
                    <a:lnTo>
                      <a:pt x="308" y="124"/>
                    </a:lnTo>
                    <a:lnTo>
                      <a:pt x="306" y="121"/>
                    </a:lnTo>
                    <a:lnTo>
                      <a:pt x="304" y="120"/>
                    </a:lnTo>
                    <a:lnTo>
                      <a:pt x="300" y="119"/>
                    </a:lnTo>
                    <a:lnTo>
                      <a:pt x="200" y="119"/>
                    </a:lnTo>
                    <a:lnTo>
                      <a:pt x="167" y="8"/>
                    </a:lnTo>
                    <a:lnTo>
                      <a:pt x="166" y="5"/>
                    </a:lnTo>
                    <a:lnTo>
                      <a:pt x="163" y="2"/>
                    </a:lnTo>
                    <a:lnTo>
                      <a:pt x="160" y="0"/>
                    </a:lnTo>
                    <a:lnTo>
                      <a:pt x="156" y="0"/>
                    </a:lnTo>
                    <a:lnTo>
                      <a:pt x="153" y="0"/>
                    </a:lnTo>
                    <a:lnTo>
                      <a:pt x="149" y="2"/>
                    </a:lnTo>
                    <a:lnTo>
                      <a:pt x="146" y="5"/>
                    </a:lnTo>
                    <a:lnTo>
                      <a:pt x="144" y="8"/>
                    </a:lnTo>
                    <a:lnTo>
                      <a:pt x="111" y="119"/>
                    </a:lnTo>
                    <a:lnTo>
                      <a:pt x="12" y="119"/>
                    </a:lnTo>
                    <a:lnTo>
                      <a:pt x="9" y="120"/>
                    </a:lnTo>
                    <a:lnTo>
                      <a:pt x="5" y="121"/>
                    </a:lnTo>
                    <a:lnTo>
                      <a:pt x="3" y="124"/>
                    </a:lnTo>
                    <a:lnTo>
                      <a:pt x="0" y="127"/>
                    </a:lnTo>
                    <a:lnTo>
                      <a:pt x="0" y="131"/>
                    </a:lnTo>
                    <a:lnTo>
                      <a:pt x="0" y="134"/>
                    </a:lnTo>
                    <a:lnTo>
                      <a:pt x="2" y="138"/>
                    </a:lnTo>
                    <a:lnTo>
                      <a:pt x="4" y="140"/>
                    </a:lnTo>
                    <a:lnTo>
                      <a:pt x="81" y="204"/>
                    </a:lnTo>
                    <a:lnTo>
                      <a:pt x="37" y="306"/>
                    </a:lnTo>
                    <a:lnTo>
                      <a:pt x="36" y="309"/>
                    </a:lnTo>
                    <a:lnTo>
                      <a:pt x="36" y="314"/>
                    </a:lnTo>
                    <a:lnTo>
                      <a:pt x="38" y="317"/>
                    </a:lnTo>
                    <a:lnTo>
                      <a:pt x="41" y="320"/>
                    </a:lnTo>
                    <a:lnTo>
                      <a:pt x="43" y="322"/>
                    </a:lnTo>
                    <a:lnTo>
                      <a:pt x="48" y="322"/>
                    </a:lnTo>
                    <a:lnTo>
                      <a:pt x="52" y="322"/>
                    </a:lnTo>
                    <a:lnTo>
                      <a:pt x="55" y="321"/>
                    </a:lnTo>
                    <a:lnTo>
                      <a:pt x="156" y="253"/>
                    </a:lnTo>
                    <a:lnTo>
                      <a:pt x="257" y="321"/>
                    </a:lnTo>
                    <a:lnTo>
                      <a:pt x="260" y="322"/>
                    </a:lnTo>
                    <a:lnTo>
                      <a:pt x="263" y="322"/>
                    </a:lnTo>
                    <a:lnTo>
                      <a:pt x="268" y="322"/>
                    </a:lnTo>
                    <a:lnTo>
                      <a:pt x="272" y="320"/>
                    </a:lnTo>
                    <a:lnTo>
                      <a:pt x="274" y="317"/>
                    </a:lnTo>
                    <a:lnTo>
                      <a:pt x="275" y="314"/>
                    </a:lnTo>
                    <a:lnTo>
                      <a:pt x="275" y="310"/>
                    </a:lnTo>
                    <a:lnTo>
                      <a:pt x="275" y="306"/>
                    </a:lnTo>
                    <a:lnTo>
                      <a:pt x="231" y="207"/>
                    </a:lnTo>
                    <a:lnTo>
                      <a:pt x="307" y="140"/>
                    </a:lnTo>
                    <a:lnTo>
                      <a:pt x="310" y="138"/>
                    </a:lnTo>
                    <a:lnTo>
                      <a:pt x="311" y="134"/>
                    </a:lnTo>
                    <a:lnTo>
                      <a:pt x="312" y="131"/>
                    </a:lnTo>
                    <a:lnTo>
                      <a:pt x="311" y="1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41"/>
              <p:cNvSpPr>
                <a:spLocks/>
              </p:cNvSpPr>
              <p:nvPr/>
            </p:nvSpPr>
            <p:spPr bwMode="auto">
              <a:xfrm>
                <a:off x="7600950" y="3200400"/>
                <a:ext cx="123825" cy="127000"/>
              </a:xfrm>
              <a:custGeom>
                <a:avLst/>
                <a:gdLst>
                  <a:gd name="T0" fmla="*/ 300 w 312"/>
                  <a:gd name="T1" fmla="*/ 119 h 322"/>
                  <a:gd name="T2" fmla="*/ 201 w 312"/>
                  <a:gd name="T3" fmla="*/ 119 h 322"/>
                  <a:gd name="T4" fmla="*/ 168 w 312"/>
                  <a:gd name="T5" fmla="*/ 8 h 322"/>
                  <a:gd name="T6" fmla="*/ 167 w 312"/>
                  <a:gd name="T7" fmla="*/ 5 h 322"/>
                  <a:gd name="T8" fmla="*/ 163 w 312"/>
                  <a:gd name="T9" fmla="*/ 2 h 322"/>
                  <a:gd name="T10" fmla="*/ 161 w 312"/>
                  <a:gd name="T11" fmla="*/ 0 h 322"/>
                  <a:gd name="T12" fmla="*/ 156 w 312"/>
                  <a:gd name="T13" fmla="*/ 0 h 322"/>
                  <a:gd name="T14" fmla="*/ 153 w 312"/>
                  <a:gd name="T15" fmla="*/ 0 h 322"/>
                  <a:gd name="T16" fmla="*/ 149 w 312"/>
                  <a:gd name="T17" fmla="*/ 2 h 322"/>
                  <a:gd name="T18" fmla="*/ 147 w 312"/>
                  <a:gd name="T19" fmla="*/ 5 h 322"/>
                  <a:gd name="T20" fmla="*/ 146 w 312"/>
                  <a:gd name="T21" fmla="*/ 8 h 322"/>
                  <a:gd name="T22" fmla="*/ 112 w 312"/>
                  <a:gd name="T23" fmla="*/ 119 h 322"/>
                  <a:gd name="T24" fmla="*/ 13 w 312"/>
                  <a:gd name="T25" fmla="*/ 119 h 322"/>
                  <a:gd name="T26" fmla="*/ 9 w 312"/>
                  <a:gd name="T27" fmla="*/ 120 h 322"/>
                  <a:gd name="T28" fmla="*/ 6 w 312"/>
                  <a:gd name="T29" fmla="*/ 121 h 322"/>
                  <a:gd name="T30" fmla="*/ 4 w 312"/>
                  <a:gd name="T31" fmla="*/ 124 h 322"/>
                  <a:gd name="T32" fmla="*/ 2 w 312"/>
                  <a:gd name="T33" fmla="*/ 127 h 322"/>
                  <a:gd name="T34" fmla="*/ 0 w 312"/>
                  <a:gd name="T35" fmla="*/ 131 h 322"/>
                  <a:gd name="T36" fmla="*/ 2 w 312"/>
                  <a:gd name="T37" fmla="*/ 134 h 322"/>
                  <a:gd name="T38" fmla="*/ 3 w 312"/>
                  <a:gd name="T39" fmla="*/ 138 h 322"/>
                  <a:gd name="T40" fmla="*/ 5 w 312"/>
                  <a:gd name="T41" fmla="*/ 140 h 322"/>
                  <a:gd name="T42" fmla="*/ 82 w 312"/>
                  <a:gd name="T43" fmla="*/ 204 h 322"/>
                  <a:gd name="T44" fmla="*/ 38 w 312"/>
                  <a:gd name="T45" fmla="*/ 306 h 322"/>
                  <a:gd name="T46" fmla="*/ 37 w 312"/>
                  <a:gd name="T47" fmla="*/ 309 h 322"/>
                  <a:gd name="T48" fmla="*/ 37 w 312"/>
                  <a:gd name="T49" fmla="*/ 314 h 322"/>
                  <a:gd name="T50" fmla="*/ 38 w 312"/>
                  <a:gd name="T51" fmla="*/ 317 h 322"/>
                  <a:gd name="T52" fmla="*/ 41 w 312"/>
                  <a:gd name="T53" fmla="*/ 320 h 322"/>
                  <a:gd name="T54" fmla="*/ 44 w 312"/>
                  <a:gd name="T55" fmla="*/ 322 h 322"/>
                  <a:gd name="T56" fmla="*/ 48 w 312"/>
                  <a:gd name="T57" fmla="*/ 322 h 322"/>
                  <a:gd name="T58" fmla="*/ 52 w 312"/>
                  <a:gd name="T59" fmla="*/ 322 h 322"/>
                  <a:gd name="T60" fmla="*/ 55 w 312"/>
                  <a:gd name="T61" fmla="*/ 321 h 322"/>
                  <a:gd name="T62" fmla="*/ 156 w 312"/>
                  <a:gd name="T63" fmla="*/ 253 h 322"/>
                  <a:gd name="T64" fmla="*/ 257 w 312"/>
                  <a:gd name="T65" fmla="*/ 321 h 322"/>
                  <a:gd name="T66" fmla="*/ 261 w 312"/>
                  <a:gd name="T67" fmla="*/ 322 h 322"/>
                  <a:gd name="T68" fmla="*/ 264 w 312"/>
                  <a:gd name="T69" fmla="*/ 322 h 322"/>
                  <a:gd name="T70" fmla="*/ 268 w 312"/>
                  <a:gd name="T71" fmla="*/ 322 h 322"/>
                  <a:gd name="T72" fmla="*/ 272 w 312"/>
                  <a:gd name="T73" fmla="*/ 320 h 322"/>
                  <a:gd name="T74" fmla="*/ 275 w 312"/>
                  <a:gd name="T75" fmla="*/ 317 h 322"/>
                  <a:gd name="T76" fmla="*/ 276 w 312"/>
                  <a:gd name="T77" fmla="*/ 314 h 322"/>
                  <a:gd name="T78" fmla="*/ 276 w 312"/>
                  <a:gd name="T79" fmla="*/ 310 h 322"/>
                  <a:gd name="T80" fmla="*/ 275 w 312"/>
                  <a:gd name="T81" fmla="*/ 306 h 322"/>
                  <a:gd name="T82" fmla="*/ 231 w 312"/>
                  <a:gd name="T83" fmla="*/ 207 h 322"/>
                  <a:gd name="T84" fmla="*/ 308 w 312"/>
                  <a:gd name="T85" fmla="*/ 140 h 322"/>
                  <a:gd name="T86" fmla="*/ 311 w 312"/>
                  <a:gd name="T87" fmla="*/ 138 h 322"/>
                  <a:gd name="T88" fmla="*/ 312 w 312"/>
                  <a:gd name="T89" fmla="*/ 134 h 322"/>
                  <a:gd name="T90" fmla="*/ 312 w 312"/>
                  <a:gd name="T91" fmla="*/ 131 h 322"/>
                  <a:gd name="T92" fmla="*/ 312 w 312"/>
                  <a:gd name="T93" fmla="*/ 127 h 322"/>
                  <a:gd name="T94" fmla="*/ 310 w 312"/>
                  <a:gd name="T95" fmla="*/ 124 h 322"/>
                  <a:gd name="T96" fmla="*/ 307 w 312"/>
                  <a:gd name="T97" fmla="*/ 121 h 322"/>
                  <a:gd name="T98" fmla="*/ 304 w 312"/>
                  <a:gd name="T99" fmla="*/ 120 h 322"/>
                  <a:gd name="T100" fmla="*/ 300 w 312"/>
                  <a:gd name="T101" fmla="*/ 119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2" h="322">
                    <a:moveTo>
                      <a:pt x="300" y="119"/>
                    </a:moveTo>
                    <a:lnTo>
                      <a:pt x="201" y="119"/>
                    </a:lnTo>
                    <a:lnTo>
                      <a:pt x="168" y="8"/>
                    </a:lnTo>
                    <a:lnTo>
                      <a:pt x="167" y="5"/>
                    </a:lnTo>
                    <a:lnTo>
                      <a:pt x="163" y="2"/>
                    </a:lnTo>
                    <a:lnTo>
                      <a:pt x="161" y="0"/>
                    </a:lnTo>
                    <a:lnTo>
                      <a:pt x="156" y="0"/>
                    </a:lnTo>
                    <a:lnTo>
                      <a:pt x="153" y="0"/>
                    </a:lnTo>
                    <a:lnTo>
                      <a:pt x="149" y="2"/>
                    </a:lnTo>
                    <a:lnTo>
                      <a:pt x="147" y="5"/>
                    </a:lnTo>
                    <a:lnTo>
                      <a:pt x="146" y="8"/>
                    </a:lnTo>
                    <a:lnTo>
                      <a:pt x="112" y="119"/>
                    </a:lnTo>
                    <a:lnTo>
                      <a:pt x="13" y="119"/>
                    </a:lnTo>
                    <a:lnTo>
                      <a:pt x="9" y="120"/>
                    </a:lnTo>
                    <a:lnTo>
                      <a:pt x="6" y="121"/>
                    </a:lnTo>
                    <a:lnTo>
                      <a:pt x="4" y="124"/>
                    </a:lnTo>
                    <a:lnTo>
                      <a:pt x="2" y="127"/>
                    </a:lnTo>
                    <a:lnTo>
                      <a:pt x="0" y="131"/>
                    </a:lnTo>
                    <a:lnTo>
                      <a:pt x="2" y="134"/>
                    </a:lnTo>
                    <a:lnTo>
                      <a:pt x="3" y="138"/>
                    </a:lnTo>
                    <a:lnTo>
                      <a:pt x="5" y="140"/>
                    </a:lnTo>
                    <a:lnTo>
                      <a:pt x="82" y="204"/>
                    </a:lnTo>
                    <a:lnTo>
                      <a:pt x="38" y="306"/>
                    </a:lnTo>
                    <a:lnTo>
                      <a:pt x="37" y="309"/>
                    </a:lnTo>
                    <a:lnTo>
                      <a:pt x="37" y="314"/>
                    </a:lnTo>
                    <a:lnTo>
                      <a:pt x="38" y="317"/>
                    </a:lnTo>
                    <a:lnTo>
                      <a:pt x="41" y="320"/>
                    </a:lnTo>
                    <a:lnTo>
                      <a:pt x="44" y="322"/>
                    </a:lnTo>
                    <a:lnTo>
                      <a:pt x="48" y="322"/>
                    </a:lnTo>
                    <a:lnTo>
                      <a:pt x="52" y="322"/>
                    </a:lnTo>
                    <a:lnTo>
                      <a:pt x="55" y="321"/>
                    </a:lnTo>
                    <a:lnTo>
                      <a:pt x="156" y="253"/>
                    </a:lnTo>
                    <a:lnTo>
                      <a:pt x="257" y="321"/>
                    </a:lnTo>
                    <a:lnTo>
                      <a:pt x="261" y="322"/>
                    </a:lnTo>
                    <a:lnTo>
                      <a:pt x="264" y="322"/>
                    </a:lnTo>
                    <a:lnTo>
                      <a:pt x="268" y="322"/>
                    </a:lnTo>
                    <a:lnTo>
                      <a:pt x="272" y="320"/>
                    </a:lnTo>
                    <a:lnTo>
                      <a:pt x="275" y="317"/>
                    </a:lnTo>
                    <a:lnTo>
                      <a:pt x="276" y="314"/>
                    </a:lnTo>
                    <a:lnTo>
                      <a:pt x="276" y="310"/>
                    </a:lnTo>
                    <a:lnTo>
                      <a:pt x="275" y="306"/>
                    </a:lnTo>
                    <a:lnTo>
                      <a:pt x="231" y="207"/>
                    </a:lnTo>
                    <a:lnTo>
                      <a:pt x="308" y="140"/>
                    </a:lnTo>
                    <a:lnTo>
                      <a:pt x="311" y="138"/>
                    </a:lnTo>
                    <a:lnTo>
                      <a:pt x="312" y="134"/>
                    </a:lnTo>
                    <a:lnTo>
                      <a:pt x="312" y="131"/>
                    </a:lnTo>
                    <a:lnTo>
                      <a:pt x="312" y="127"/>
                    </a:lnTo>
                    <a:lnTo>
                      <a:pt x="310" y="124"/>
                    </a:lnTo>
                    <a:lnTo>
                      <a:pt x="307" y="121"/>
                    </a:lnTo>
                    <a:lnTo>
                      <a:pt x="304" y="120"/>
                    </a:lnTo>
                    <a:lnTo>
                      <a:pt x="300" y="1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5389715" y="4090995"/>
            <a:ext cx="770544" cy="770544"/>
            <a:chOff x="5499572" y="3869487"/>
            <a:chExt cx="770544" cy="770544"/>
          </a:xfrm>
        </p:grpSpPr>
        <p:sp>
          <p:nvSpPr>
            <p:cNvPr id="91" name="Snip Single Corner Rectangle 90"/>
            <p:cNvSpPr/>
            <p:nvPr/>
          </p:nvSpPr>
          <p:spPr>
            <a:xfrm>
              <a:off x="5499572" y="3869487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4" name="Freeform 3391"/>
            <p:cNvSpPr>
              <a:spLocks noEditPoints="1"/>
            </p:cNvSpPr>
            <p:nvPr/>
          </p:nvSpPr>
          <p:spPr bwMode="auto">
            <a:xfrm>
              <a:off x="5695220" y="4065135"/>
              <a:ext cx="379248" cy="379248"/>
            </a:xfrm>
            <a:custGeom>
              <a:avLst/>
              <a:gdLst>
                <a:gd name="T0" fmla="*/ 400 w 721"/>
                <a:gd name="T1" fmla="*/ 502 h 721"/>
                <a:gd name="T2" fmla="*/ 441 w 721"/>
                <a:gd name="T3" fmla="*/ 487 h 721"/>
                <a:gd name="T4" fmla="*/ 456 w 721"/>
                <a:gd name="T5" fmla="*/ 469 h 721"/>
                <a:gd name="T6" fmla="*/ 477 w 721"/>
                <a:gd name="T7" fmla="*/ 475 h 721"/>
                <a:gd name="T8" fmla="*/ 498 w 721"/>
                <a:gd name="T9" fmla="*/ 505 h 721"/>
                <a:gd name="T10" fmla="*/ 361 w 721"/>
                <a:gd name="T11" fmla="*/ 709 h 721"/>
                <a:gd name="T12" fmla="*/ 315 w 721"/>
                <a:gd name="T13" fmla="*/ 654 h 721"/>
                <a:gd name="T14" fmla="*/ 347 w 721"/>
                <a:gd name="T15" fmla="*/ 606 h 721"/>
                <a:gd name="T16" fmla="*/ 365 w 721"/>
                <a:gd name="T17" fmla="*/ 601 h 721"/>
                <a:gd name="T18" fmla="*/ 387 w 721"/>
                <a:gd name="T19" fmla="*/ 623 h 721"/>
                <a:gd name="T20" fmla="*/ 415 w 721"/>
                <a:gd name="T21" fmla="*/ 691 h 721"/>
                <a:gd name="T22" fmla="*/ 225 w 721"/>
                <a:gd name="T23" fmla="*/ 505 h 721"/>
                <a:gd name="T24" fmla="*/ 245 w 721"/>
                <a:gd name="T25" fmla="*/ 477 h 721"/>
                <a:gd name="T26" fmla="*/ 265 w 721"/>
                <a:gd name="T27" fmla="*/ 469 h 721"/>
                <a:gd name="T28" fmla="*/ 280 w 721"/>
                <a:gd name="T29" fmla="*/ 487 h 721"/>
                <a:gd name="T30" fmla="*/ 321 w 721"/>
                <a:gd name="T31" fmla="*/ 502 h 721"/>
                <a:gd name="T32" fmla="*/ 222 w 721"/>
                <a:gd name="T33" fmla="*/ 511 h 721"/>
                <a:gd name="T34" fmla="*/ 397 w 721"/>
                <a:gd name="T35" fmla="*/ 541 h 721"/>
                <a:gd name="T36" fmla="*/ 385 w 721"/>
                <a:gd name="T37" fmla="*/ 565 h 721"/>
                <a:gd name="T38" fmla="*/ 361 w 721"/>
                <a:gd name="T39" fmla="*/ 577 h 721"/>
                <a:gd name="T40" fmla="*/ 335 w 721"/>
                <a:gd name="T41" fmla="*/ 565 h 721"/>
                <a:gd name="T42" fmla="*/ 325 w 721"/>
                <a:gd name="T43" fmla="*/ 541 h 721"/>
                <a:gd name="T44" fmla="*/ 681 w 721"/>
                <a:gd name="T45" fmla="*/ 552 h 721"/>
                <a:gd name="T46" fmla="*/ 633 w 721"/>
                <a:gd name="T47" fmla="*/ 522 h 721"/>
                <a:gd name="T48" fmla="*/ 524 w 721"/>
                <a:gd name="T49" fmla="*/ 477 h 721"/>
                <a:gd name="T50" fmla="*/ 484 w 721"/>
                <a:gd name="T51" fmla="*/ 448 h 721"/>
                <a:gd name="T52" fmla="*/ 457 w 721"/>
                <a:gd name="T53" fmla="*/ 433 h 721"/>
                <a:gd name="T54" fmla="*/ 466 w 721"/>
                <a:gd name="T55" fmla="*/ 366 h 721"/>
                <a:gd name="T56" fmla="*/ 489 w 721"/>
                <a:gd name="T57" fmla="*/ 322 h 721"/>
                <a:gd name="T58" fmla="*/ 504 w 721"/>
                <a:gd name="T59" fmla="*/ 279 h 721"/>
                <a:gd name="T60" fmla="*/ 513 w 721"/>
                <a:gd name="T61" fmla="*/ 247 h 721"/>
                <a:gd name="T62" fmla="*/ 506 w 721"/>
                <a:gd name="T63" fmla="*/ 215 h 721"/>
                <a:gd name="T64" fmla="*/ 501 w 721"/>
                <a:gd name="T65" fmla="*/ 193 h 721"/>
                <a:gd name="T66" fmla="*/ 527 w 721"/>
                <a:gd name="T67" fmla="*/ 102 h 721"/>
                <a:gd name="T68" fmla="*/ 519 w 721"/>
                <a:gd name="T69" fmla="*/ 51 h 721"/>
                <a:gd name="T70" fmla="*/ 493 w 721"/>
                <a:gd name="T71" fmla="*/ 26 h 721"/>
                <a:gd name="T72" fmla="*/ 453 w 721"/>
                <a:gd name="T73" fmla="*/ 9 h 721"/>
                <a:gd name="T74" fmla="*/ 383 w 721"/>
                <a:gd name="T75" fmla="*/ 0 h 721"/>
                <a:gd name="T76" fmla="*/ 311 w 721"/>
                <a:gd name="T77" fmla="*/ 9 h 721"/>
                <a:gd name="T78" fmla="*/ 271 w 721"/>
                <a:gd name="T79" fmla="*/ 32 h 721"/>
                <a:gd name="T80" fmla="*/ 239 w 721"/>
                <a:gd name="T81" fmla="*/ 50 h 721"/>
                <a:gd name="T82" fmla="*/ 222 w 721"/>
                <a:gd name="T83" fmla="*/ 66 h 721"/>
                <a:gd name="T84" fmla="*/ 211 w 721"/>
                <a:gd name="T85" fmla="*/ 95 h 721"/>
                <a:gd name="T86" fmla="*/ 217 w 721"/>
                <a:gd name="T87" fmla="*/ 164 h 721"/>
                <a:gd name="T88" fmla="*/ 227 w 721"/>
                <a:gd name="T89" fmla="*/ 202 h 721"/>
                <a:gd name="T90" fmla="*/ 212 w 721"/>
                <a:gd name="T91" fmla="*/ 230 h 721"/>
                <a:gd name="T92" fmla="*/ 213 w 721"/>
                <a:gd name="T93" fmla="*/ 263 h 721"/>
                <a:gd name="T94" fmla="*/ 229 w 721"/>
                <a:gd name="T95" fmla="*/ 290 h 721"/>
                <a:gd name="T96" fmla="*/ 243 w 721"/>
                <a:gd name="T97" fmla="*/ 348 h 721"/>
                <a:gd name="T98" fmla="*/ 265 w 721"/>
                <a:gd name="T99" fmla="*/ 378 h 721"/>
                <a:gd name="T100" fmla="*/ 249 w 721"/>
                <a:gd name="T101" fmla="*/ 441 h 721"/>
                <a:gd name="T102" fmla="*/ 209 w 721"/>
                <a:gd name="T103" fmla="*/ 473 h 721"/>
                <a:gd name="T104" fmla="*/ 134 w 721"/>
                <a:gd name="T105" fmla="*/ 502 h 721"/>
                <a:gd name="T106" fmla="*/ 50 w 721"/>
                <a:gd name="T107" fmla="*/ 547 h 721"/>
                <a:gd name="T108" fmla="*/ 28 w 721"/>
                <a:gd name="T109" fmla="*/ 573 h 721"/>
                <a:gd name="T110" fmla="*/ 9 w 721"/>
                <a:gd name="T111" fmla="*/ 629 h 721"/>
                <a:gd name="T112" fmla="*/ 0 w 721"/>
                <a:gd name="T113" fmla="*/ 713 h 721"/>
                <a:gd name="T114" fmla="*/ 709 w 721"/>
                <a:gd name="T115" fmla="*/ 721 h 721"/>
                <a:gd name="T116" fmla="*/ 721 w 721"/>
                <a:gd name="T117" fmla="*/ 709 h 721"/>
                <a:gd name="T118" fmla="*/ 709 w 721"/>
                <a:gd name="T119" fmla="*/ 606 h 721"/>
                <a:gd name="T120" fmla="*/ 691 w 721"/>
                <a:gd name="T121" fmla="*/ 564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1" h="721">
                  <a:moveTo>
                    <a:pt x="415" y="510"/>
                  </a:moveTo>
                  <a:lnTo>
                    <a:pt x="415" y="510"/>
                  </a:lnTo>
                  <a:lnTo>
                    <a:pt x="415" y="510"/>
                  </a:lnTo>
                  <a:lnTo>
                    <a:pt x="400" y="502"/>
                  </a:lnTo>
                  <a:lnTo>
                    <a:pt x="414" y="498"/>
                  </a:lnTo>
                  <a:lnTo>
                    <a:pt x="428" y="493"/>
                  </a:lnTo>
                  <a:lnTo>
                    <a:pt x="434" y="491"/>
                  </a:lnTo>
                  <a:lnTo>
                    <a:pt x="441" y="487"/>
                  </a:lnTo>
                  <a:lnTo>
                    <a:pt x="447" y="482"/>
                  </a:lnTo>
                  <a:lnTo>
                    <a:pt x="453" y="477"/>
                  </a:lnTo>
                  <a:lnTo>
                    <a:pt x="456" y="473"/>
                  </a:lnTo>
                  <a:lnTo>
                    <a:pt x="456" y="469"/>
                  </a:lnTo>
                  <a:lnTo>
                    <a:pt x="456" y="459"/>
                  </a:lnTo>
                  <a:lnTo>
                    <a:pt x="464" y="462"/>
                  </a:lnTo>
                  <a:lnTo>
                    <a:pt x="470" y="469"/>
                  </a:lnTo>
                  <a:lnTo>
                    <a:pt x="477" y="475"/>
                  </a:lnTo>
                  <a:lnTo>
                    <a:pt x="483" y="482"/>
                  </a:lnTo>
                  <a:lnTo>
                    <a:pt x="489" y="489"/>
                  </a:lnTo>
                  <a:lnTo>
                    <a:pt x="495" y="497"/>
                  </a:lnTo>
                  <a:lnTo>
                    <a:pt x="498" y="505"/>
                  </a:lnTo>
                  <a:lnTo>
                    <a:pt x="501" y="511"/>
                  </a:lnTo>
                  <a:lnTo>
                    <a:pt x="522" y="574"/>
                  </a:lnTo>
                  <a:lnTo>
                    <a:pt x="415" y="510"/>
                  </a:lnTo>
                  <a:close/>
                  <a:moveTo>
                    <a:pt x="361" y="709"/>
                  </a:moveTo>
                  <a:lnTo>
                    <a:pt x="293" y="709"/>
                  </a:lnTo>
                  <a:lnTo>
                    <a:pt x="299" y="691"/>
                  </a:lnTo>
                  <a:lnTo>
                    <a:pt x="306" y="672"/>
                  </a:lnTo>
                  <a:lnTo>
                    <a:pt x="315" y="654"/>
                  </a:lnTo>
                  <a:lnTo>
                    <a:pt x="322" y="637"/>
                  </a:lnTo>
                  <a:lnTo>
                    <a:pt x="333" y="623"/>
                  </a:lnTo>
                  <a:lnTo>
                    <a:pt x="342" y="611"/>
                  </a:lnTo>
                  <a:lnTo>
                    <a:pt x="347" y="606"/>
                  </a:lnTo>
                  <a:lnTo>
                    <a:pt x="351" y="604"/>
                  </a:lnTo>
                  <a:lnTo>
                    <a:pt x="356" y="601"/>
                  </a:lnTo>
                  <a:lnTo>
                    <a:pt x="361" y="601"/>
                  </a:lnTo>
                  <a:lnTo>
                    <a:pt x="365" y="601"/>
                  </a:lnTo>
                  <a:lnTo>
                    <a:pt x="370" y="604"/>
                  </a:lnTo>
                  <a:lnTo>
                    <a:pt x="374" y="606"/>
                  </a:lnTo>
                  <a:lnTo>
                    <a:pt x="379" y="611"/>
                  </a:lnTo>
                  <a:lnTo>
                    <a:pt x="387" y="623"/>
                  </a:lnTo>
                  <a:lnTo>
                    <a:pt x="396" y="637"/>
                  </a:lnTo>
                  <a:lnTo>
                    <a:pt x="403" y="654"/>
                  </a:lnTo>
                  <a:lnTo>
                    <a:pt x="410" y="673"/>
                  </a:lnTo>
                  <a:lnTo>
                    <a:pt x="415" y="691"/>
                  </a:lnTo>
                  <a:lnTo>
                    <a:pt x="420" y="709"/>
                  </a:lnTo>
                  <a:lnTo>
                    <a:pt x="361" y="709"/>
                  </a:lnTo>
                  <a:close/>
                  <a:moveTo>
                    <a:pt x="222" y="511"/>
                  </a:moveTo>
                  <a:lnTo>
                    <a:pt x="225" y="505"/>
                  </a:lnTo>
                  <a:lnTo>
                    <a:pt x="229" y="497"/>
                  </a:lnTo>
                  <a:lnTo>
                    <a:pt x="234" y="489"/>
                  </a:lnTo>
                  <a:lnTo>
                    <a:pt x="239" y="483"/>
                  </a:lnTo>
                  <a:lnTo>
                    <a:pt x="245" y="477"/>
                  </a:lnTo>
                  <a:lnTo>
                    <a:pt x="252" y="470"/>
                  </a:lnTo>
                  <a:lnTo>
                    <a:pt x="258" y="464"/>
                  </a:lnTo>
                  <a:lnTo>
                    <a:pt x="265" y="460"/>
                  </a:lnTo>
                  <a:lnTo>
                    <a:pt x="265" y="469"/>
                  </a:lnTo>
                  <a:lnTo>
                    <a:pt x="265" y="473"/>
                  </a:lnTo>
                  <a:lnTo>
                    <a:pt x="267" y="477"/>
                  </a:lnTo>
                  <a:lnTo>
                    <a:pt x="274" y="482"/>
                  </a:lnTo>
                  <a:lnTo>
                    <a:pt x="280" y="487"/>
                  </a:lnTo>
                  <a:lnTo>
                    <a:pt x="286" y="491"/>
                  </a:lnTo>
                  <a:lnTo>
                    <a:pt x="293" y="493"/>
                  </a:lnTo>
                  <a:lnTo>
                    <a:pt x="307" y="498"/>
                  </a:lnTo>
                  <a:lnTo>
                    <a:pt x="321" y="502"/>
                  </a:lnTo>
                  <a:lnTo>
                    <a:pt x="306" y="511"/>
                  </a:lnTo>
                  <a:lnTo>
                    <a:pt x="306" y="511"/>
                  </a:lnTo>
                  <a:lnTo>
                    <a:pt x="202" y="574"/>
                  </a:lnTo>
                  <a:lnTo>
                    <a:pt x="222" y="511"/>
                  </a:lnTo>
                  <a:close/>
                  <a:moveTo>
                    <a:pt x="325" y="528"/>
                  </a:moveTo>
                  <a:lnTo>
                    <a:pt x="361" y="506"/>
                  </a:lnTo>
                  <a:lnTo>
                    <a:pt x="397" y="528"/>
                  </a:lnTo>
                  <a:lnTo>
                    <a:pt x="397" y="541"/>
                  </a:lnTo>
                  <a:lnTo>
                    <a:pt x="396" y="547"/>
                  </a:lnTo>
                  <a:lnTo>
                    <a:pt x="393" y="554"/>
                  </a:lnTo>
                  <a:lnTo>
                    <a:pt x="391" y="560"/>
                  </a:lnTo>
                  <a:lnTo>
                    <a:pt x="385" y="565"/>
                  </a:lnTo>
                  <a:lnTo>
                    <a:pt x="380" y="570"/>
                  </a:lnTo>
                  <a:lnTo>
                    <a:pt x="374" y="573"/>
                  </a:lnTo>
                  <a:lnTo>
                    <a:pt x="367" y="575"/>
                  </a:lnTo>
                  <a:lnTo>
                    <a:pt x="361" y="577"/>
                  </a:lnTo>
                  <a:lnTo>
                    <a:pt x="353" y="575"/>
                  </a:lnTo>
                  <a:lnTo>
                    <a:pt x="347" y="573"/>
                  </a:lnTo>
                  <a:lnTo>
                    <a:pt x="340" y="570"/>
                  </a:lnTo>
                  <a:lnTo>
                    <a:pt x="335" y="565"/>
                  </a:lnTo>
                  <a:lnTo>
                    <a:pt x="331" y="560"/>
                  </a:lnTo>
                  <a:lnTo>
                    <a:pt x="328" y="554"/>
                  </a:lnTo>
                  <a:lnTo>
                    <a:pt x="325" y="547"/>
                  </a:lnTo>
                  <a:lnTo>
                    <a:pt x="325" y="541"/>
                  </a:lnTo>
                  <a:lnTo>
                    <a:pt x="325" y="528"/>
                  </a:lnTo>
                  <a:close/>
                  <a:moveTo>
                    <a:pt x="691" y="564"/>
                  </a:moveTo>
                  <a:lnTo>
                    <a:pt x="686" y="557"/>
                  </a:lnTo>
                  <a:lnTo>
                    <a:pt x="681" y="552"/>
                  </a:lnTo>
                  <a:lnTo>
                    <a:pt x="674" y="547"/>
                  </a:lnTo>
                  <a:lnTo>
                    <a:pt x="668" y="541"/>
                  </a:lnTo>
                  <a:lnTo>
                    <a:pt x="651" y="531"/>
                  </a:lnTo>
                  <a:lnTo>
                    <a:pt x="633" y="522"/>
                  </a:lnTo>
                  <a:lnTo>
                    <a:pt x="591" y="502"/>
                  </a:lnTo>
                  <a:lnTo>
                    <a:pt x="545" y="484"/>
                  </a:lnTo>
                  <a:lnTo>
                    <a:pt x="534" y="480"/>
                  </a:lnTo>
                  <a:lnTo>
                    <a:pt x="524" y="477"/>
                  </a:lnTo>
                  <a:lnTo>
                    <a:pt x="514" y="473"/>
                  </a:lnTo>
                  <a:lnTo>
                    <a:pt x="504" y="469"/>
                  </a:lnTo>
                  <a:lnTo>
                    <a:pt x="495" y="457"/>
                  </a:lnTo>
                  <a:lnTo>
                    <a:pt x="484" y="448"/>
                  </a:lnTo>
                  <a:lnTo>
                    <a:pt x="473" y="441"/>
                  </a:lnTo>
                  <a:lnTo>
                    <a:pt x="462" y="434"/>
                  </a:lnTo>
                  <a:lnTo>
                    <a:pt x="460" y="433"/>
                  </a:lnTo>
                  <a:lnTo>
                    <a:pt x="457" y="433"/>
                  </a:lnTo>
                  <a:lnTo>
                    <a:pt x="456" y="433"/>
                  </a:lnTo>
                  <a:lnTo>
                    <a:pt x="456" y="378"/>
                  </a:lnTo>
                  <a:lnTo>
                    <a:pt x="461" y="373"/>
                  </a:lnTo>
                  <a:lnTo>
                    <a:pt x="466" y="366"/>
                  </a:lnTo>
                  <a:lnTo>
                    <a:pt x="473" y="358"/>
                  </a:lnTo>
                  <a:lnTo>
                    <a:pt x="479" y="348"/>
                  </a:lnTo>
                  <a:lnTo>
                    <a:pt x="484" y="337"/>
                  </a:lnTo>
                  <a:lnTo>
                    <a:pt x="489" y="322"/>
                  </a:lnTo>
                  <a:lnTo>
                    <a:pt x="492" y="308"/>
                  </a:lnTo>
                  <a:lnTo>
                    <a:pt x="495" y="290"/>
                  </a:lnTo>
                  <a:lnTo>
                    <a:pt x="500" y="285"/>
                  </a:lnTo>
                  <a:lnTo>
                    <a:pt x="504" y="279"/>
                  </a:lnTo>
                  <a:lnTo>
                    <a:pt x="507" y="271"/>
                  </a:lnTo>
                  <a:lnTo>
                    <a:pt x="510" y="262"/>
                  </a:lnTo>
                  <a:lnTo>
                    <a:pt x="511" y="254"/>
                  </a:lnTo>
                  <a:lnTo>
                    <a:pt x="513" y="247"/>
                  </a:lnTo>
                  <a:lnTo>
                    <a:pt x="513" y="238"/>
                  </a:lnTo>
                  <a:lnTo>
                    <a:pt x="511" y="230"/>
                  </a:lnTo>
                  <a:lnTo>
                    <a:pt x="510" y="222"/>
                  </a:lnTo>
                  <a:lnTo>
                    <a:pt x="506" y="215"/>
                  </a:lnTo>
                  <a:lnTo>
                    <a:pt x="502" y="208"/>
                  </a:lnTo>
                  <a:lnTo>
                    <a:pt x="497" y="202"/>
                  </a:lnTo>
                  <a:lnTo>
                    <a:pt x="498" y="198"/>
                  </a:lnTo>
                  <a:lnTo>
                    <a:pt x="501" y="193"/>
                  </a:lnTo>
                  <a:lnTo>
                    <a:pt x="510" y="167"/>
                  </a:lnTo>
                  <a:lnTo>
                    <a:pt x="520" y="135"/>
                  </a:lnTo>
                  <a:lnTo>
                    <a:pt x="524" y="118"/>
                  </a:lnTo>
                  <a:lnTo>
                    <a:pt x="527" y="102"/>
                  </a:lnTo>
                  <a:lnTo>
                    <a:pt x="527" y="85"/>
                  </a:lnTo>
                  <a:lnTo>
                    <a:pt x="525" y="68"/>
                  </a:lnTo>
                  <a:lnTo>
                    <a:pt x="523" y="59"/>
                  </a:lnTo>
                  <a:lnTo>
                    <a:pt x="519" y="51"/>
                  </a:lnTo>
                  <a:lnTo>
                    <a:pt x="514" y="44"/>
                  </a:lnTo>
                  <a:lnTo>
                    <a:pt x="509" y="37"/>
                  </a:lnTo>
                  <a:lnTo>
                    <a:pt x="501" y="31"/>
                  </a:lnTo>
                  <a:lnTo>
                    <a:pt x="493" y="26"/>
                  </a:lnTo>
                  <a:lnTo>
                    <a:pt x="484" y="21"/>
                  </a:lnTo>
                  <a:lnTo>
                    <a:pt x="475" y="16"/>
                  </a:lnTo>
                  <a:lnTo>
                    <a:pt x="465" y="12"/>
                  </a:lnTo>
                  <a:lnTo>
                    <a:pt x="453" y="9"/>
                  </a:lnTo>
                  <a:lnTo>
                    <a:pt x="442" y="7"/>
                  </a:lnTo>
                  <a:lnTo>
                    <a:pt x="430" y="4"/>
                  </a:lnTo>
                  <a:lnTo>
                    <a:pt x="407" y="0"/>
                  </a:lnTo>
                  <a:lnTo>
                    <a:pt x="383" y="0"/>
                  </a:lnTo>
                  <a:lnTo>
                    <a:pt x="365" y="0"/>
                  </a:lnTo>
                  <a:lnTo>
                    <a:pt x="347" y="1"/>
                  </a:lnTo>
                  <a:lnTo>
                    <a:pt x="329" y="5"/>
                  </a:lnTo>
                  <a:lnTo>
                    <a:pt x="311" y="9"/>
                  </a:lnTo>
                  <a:lnTo>
                    <a:pt x="295" y="16"/>
                  </a:lnTo>
                  <a:lnTo>
                    <a:pt x="281" y="23"/>
                  </a:lnTo>
                  <a:lnTo>
                    <a:pt x="276" y="27"/>
                  </a:lnTo>
                  <a:lnTo>
                    <a:pt x="271" y="32"/>
                  </a:lnTo>
                  <a:lnTo>
                    <a:pt x="266" y="37"/>
                  </a:lnTo>
                  <a:lnTo>
                    <a:pt x="263" y="44"/>
                  </a:lnTo>
                  <a:lnTo>
                    <a:pt x="251" y="46"/>
                  </a:lnTo>
                  <a:lnTo>
                    <a:pt x="239" y="50"/>
                  </a:lnTo>
                  <a:lnTo>
                    <a:pt x="234" y="53"/>
                  </a:lnTo>
                  <a:lnTo>
                    <a:pt x="230" y="57"/>
                  </a:lnTo>
                  <a:lnTo>
                    <a:pt x="225" y="60"/>
                  </a:lnTo>
                  <a:lnTo>
                    <a:pt x="222" y="66"/>
                  </a:lnTo>
                  <a:lnTo>
                    <a:pt x="217" y="72"/>
                  </a:lnTo>
                  <a:lnTo>
                    <a:pt x="215" y="78"/>
                  </a:lnTo>
                  <a:lnTo>
                    <a:pt x="212" y="87"/>
                  </a:lnTo>
                  <a:lnTo>
                    <a:pt x="211" y="95"/>
                  </a:lnTo>
                  <a:lnTo>
                    <a:pt x="209" y="112"/>
                  </a:lnTo>
                  <a:lnTo>
                    <a:pt x="211" y="130"/>
                  </a:lnTo>
                  <a:lnTo>
                    <a:pt x="213" y="148"/>
                  </a:lnTo>
                  <a:lnTo>
                    <a:pt x="217" y="164"/>
                  </a:lnTo>
                  <a:lnTo>
                    <a:pt x="221" y="181"/>
                  </a:lnTo>
                  <a:lnTo>
                    <a:pt x="225" y="194"/>
                  </a:lnTo>
                  <a:lnTo>
                    <a:pt x="226" y="198"/>
                  </a:lnTo>
                  <a:lnTo>
                    <a:pt x="227" y="202"/>
                  </a:lnTo>
                  <a:lnTo>
                    <a:pt x="222" y="207"/>
                  </a:lnTo>
                  <a:lnTo>
                    <a:pt x="217" y="215"/>
                  </a:lnTo>
                  <a:lnTo>
                    <a:pt x="215" y="221"/>
                  </a:lnTo>
                  <a:lnTo>
                    <a:pt x="212" y="230"/>
                  </a:lnTo>
                  <a:lnTo>
                    <a:pt x="211" y="238"/>
                  </a:lnTo>
                  <a:lnTo>
                    <a:pt x="211" y="247"/>
                  </a:lnTo>
                  <a:lnTo>
                    <a:pt x="212" y="254"/>
                  </a:lnTo>
                  <a:lnTo>
                    <a:pt x="213" y="263"/>
                  </a:lnTo>
                  <a:lnTo>
                    <a:pt x="216" y="272"/>
                  </a:lnTo>
                  <a:lnTo>
                    <a:pt x="220" y="280"/>
                  </a:lnTo>
                  <a:lnTo>
                    <a:pt x="224" y="285"/>
                  </a:lnTo>
                  <a:lnTo>
                    <a:pt x="229" y="290"/>
                  </a:lnTo>
                  <a:lnTo>
                    <a:pt x="230" y="307"/>
                  </a:lnTo>
                  <a:lnTo>
                    <a:pt x="234" y="322"/>
                  </a:lnTo>
                  <a:lnTo>
                    <a:pt x="238" y="337"/>
                  </a:lnTo>
                  <a:lnTo>
                    <a:pt x="243" y="348"/>
                  </a:lnTo>
                  <a:lnTo>
                    <a:pt x="249" y="358"/>
                  </a:lnTo>
                  <a:lnTo>
                    <a:pt x="254" y="366"/>
                  </a:lnTo>
                  <a:lnTo>
                    <a:pt x="260" y="373"/>
                  </a:lnTo>
                  <a:lnTo>
                    <a:pt x="265" y="378"/>
                  </a:lnTo>
                  <a:lnTo>
                    <a:pt x="265" y="433"/>
                  </a:lnTo>
                  <a:lnTo>
                    <a:pt x="262" y="433"/>
                  </a:lnTo>
                  <a:lnTo>
                    <a:pt x="261" y="434"/>
                  </a:lnTo>
                  <a:lnTo>
                    <a:pt x="249" y="441"/>
                  </a:lnTo>
                  <a:lnTo>
                    <a:pt x="239" y="448"/>
                  </a:lnTo>
                  <a:lnTo>
                    <a:pt x="229" y="457"/>
                  </a:lnTo>
                  <a:lnTo>
                    <a:pt x="220" y="469"/>
                  </a:lnTo>
                  <a:lnTo>
                    <a:pt x="209" y="473"/>
                  </a:lnTo>
                  <a:lnTo>
                    <a:pt x="200" y="477"/>
                  </a:lnTo>
                  <a:lnTo>
                    <a:pt x="190" y="480"/>
                  </a:lnTo>
                  <a:lnTo>
                    <a:pt x="181" y="484"/>
                  </a:lnTo>
                  <a:lnTo>
                    <a:pt x="134" y="502"/>
                  </a:lnTo>
                  <a:lnTo>
                    <a:pt x="91" y="522"/>
                  </a:lnTo>
                  <a:lnTo>
                    <a:pt x="73" y="531"/>
                  </a:lnTo>
                  <a:lnTo>
                    <a:pt x="57" y="541"/>
                  </a:lnTo>
                  <a:lnTo>
                    <a:pt x="50" y="547"/>
                  </a:lnTo>
                  <a:lnTo>
                    <a:pt x="44" y="552"/>
                  </a:lnTo>
                  <a:lnTo>
                    <a:pt x="39" y="557"/>
                  </a:lnTo>
                  <a:lnTo>
                    <a:pt x="34" y="564"/>
                  </a:lnTo>
                  <a:lnTo>
                    <a:pt x="28" y="573"/>
                  </a:lnTo>
                  <a:lnTo>
                    <a:pt x="23" y="583"/>
                  </a:lnTo>
                  <a:lnTo>
                    <a:pt x="19" y="595"/>
                  </a:lnTo>
                  <a:lnTo>
                    <a:pt x="16" y="606"/>
                  </a:lnTo>
                  <a:lnTo>
                    <a:pt x="9" y="629"/>
                  </a:lnTo>
                  <a:lnTo>
                    <a:pt x="5" y="653"/>
                  </a:lnTo>
                  <a:lnTo>
                    <a:pt x="1" y="691"/>
                  </a:lnTo>
                  <a:lnTo>
                    <a:pt x="0" y="709"/>
                  </a:lnTo>
                  <a:lnTo>
                    <a:pt x="0" y="713"/>
                  </a:lnTo>
                  <a:lnTo>
                    <a:pt x="4" y="717"/>
                  </a:lnTo>
                  <a:lnTo>
                    <a:pt x="8" y="719"/>
                  </a:lnTo>
                  <a:lnTo>
                    <a:pt x="12" y="721"/>
                  </a:lnTo>
                  <a:lnTo>
                    <a:pt x="709" y="721"/>
                  </a:lnTo>
                  <a:lnTo>
                    <a:pt x="714" y="719"/>
                  </a:lnTo>
                  <a:lnTo>
                    <a:pt x="718" y="717"/>
                  </a:lnTo>
                  <a:lnTo>
                    <a:pt x="721" y="713"/>
                  </a:lnTo>
                  <a:lnTo>
                    <a:pt x="721" y="709"/>
                  </a:lnTo>
                  <a:lnTo>
                    <a:pt x="721" y="691"/>
                  </a:lnTo>
                  <a:lnTo>
                    <a:pt x="718" y="653"/>
                  </a:lnTo>
                  <a:lnTo>
                    <a:pt x="714" y="629"/>
                  </a:lnTo>
                  <a:lnTo>
                    <a:pt x="709" y="606"/>
                  </a:lnTo>
                  <a:lnTo>
                    <a:pt x="705" y="595"/>
                  </a:lnTo>
                  <a:lnTo>
                    <a:pt x="701" y="583"/>
                  </a:lnTo>
                  <a:lnTo>
                    <a:pt x="696" y="573"/>
                  </a:lnTo>
                  <a:lnTo>
                    <a:pt x="691" y="5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6685574" y="3080268"/>
            <a:ext cx="770544" cy="770544"/>
            <a:chOff x="6734801" y="2766689"/>
            <a:chExt cx="770544" cy="770544"/>
          </a:xfrm>
        </p:grpSpPr>
        <p:sp>
          <p:nvSpPr>
            <p:cNvPr id="92" name="Snip Single Corner Rectangle 91"/>
            <p:cNvSpPr/>
            <p:nvPr/>
          </p:nvSpPr>
          <p:spPr>
            <a:xfrm>
              <a:off x="6734801" y="2766689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344"/>
            <p:cNvSpPr>
              <a:spLocks/>
            </p:cNvSpPr>
            <p:nvPr/>
          </p:nvSpPr>
          <p:spPr bwMode="auto">
            <a:xfrm>
              <a:off x="6933609" y="2965497"/>
              <a:ext cx="372928" cy="372928"/>
            </a:xfrm>
            <a:custGeom>
              <a:avLst/>
              <a:gdLst>
                <a:gd name="T0" fmla="*/ 853 w 886"/>
                <a:gd name="T1" fmla="*/ 137 h 886"/>
                <a:gd name="T2" fmla="*/ 842 w 886"/>
                <a:gd name="T3" fmla="*/ 134 h 886"/>
                <a:gd name="T4" fmla="*/ 833 w 886"/>
                <a:gd name="T5" fmla="*/ 138 h 886"/>
                <a:gd name="T6" fmla="*/ 646 w 886"/>
                <a:gd name="T7" fmla="*/ 172 h 886"/>
                <a:gd name="T8" fmla="*/ 754 w 886"/>
                <a:gd name="T9" fmla="*/ 46 h 886"/>
                <a:gd name="T10" fmla="*/ 754 w 886"/>
                <a:gd name="T11" fmla="*/ 37 h 886"/>
                <a:gd name="T12" fmla="*/ 747 w 886"/>
                <a:gd name="T13" fmla="*/ 29 h 886"/>
                <a:gd name="T14" fmla="*/ 704 w 886"/>
                <a:gd name="T15" fmla="*/ 12 h 886"/>
                <a:gd name="T16" fmla="*/ 659 w 886"/>
                <a:gd name="T17" fmla="*/ 2 h 886"/>
                <a:gd name="T18" fmla="*/ 615 w 886"/>
                <a:gd name="T19" fmla="*/ 0 h 886"/>
                <a:gd name="T20" fmla="*/ 577 w 886"/>
                <a:gd name="T21" fmla="*/ 6 h 886"/>
                <a:gd name="T22" fmla="*/ 539 w 886"/>
                <a:gd name="T23" fmla="*/ 15 h 886"/>
                <a:gd name="T24" fmla="*/ 505 w 886"/>
                <a:gd name="T25" fmla="*/ 31 h 886"/>
                <a:gd name="T26" fmla="*/ 473 w 886"/>
                <a:gd name="T27" fmla="*/ 52 h 886"/>
                <a:gd name="T28" fmla="*/ 443 w 886"/>
                <a:gd name="T29" fmla="*/ 76 h 886"/>
                <a:gd name="T30" fmla="*/ 405 w 886"/>
                <a:gd name="T31" fmla="*/ 124 h 886"/>
                <a:gd name="T32" fmla="*/ 380 w 886"/>
                <a:gd name="T33" fmla="*/ 178 h 886"/>
                <a:gd name="T34" fmla="*/ 368 w 886"/>
                <a:gd name="T35" fmla="*/ 235 h 886"/>
                <a:gd name="T36" fmla="*/ 368 w 886"/>
                <a:gd name="T37" fmla="*/ 293 h 886"/>
                <a:gd name="T38" fmla="*/ 382 w 886"/>
                <a:gd name="T39" fmla="*/ 351 h 886"/>
                <a:gd name="T40" fmla="*/ 21 w 886"/>
                <a:gd name="T41" fmla="*/ 738 h 886"/>
                <a:gd name="T42" fmla="*/ 7 w 886"/>
                <a:gd name="T43" fmla="*/ 762 h 886"/>
                <a:gd name="T44" fmla="*/ 1 w 886"/>
                <a:gd name="T45" fmla="*/ 787 h 886"/>
                <a:gd name="T46" fmla="*/ 2 w 886"/>
                <a:gd name="T47" fmla="*/ 813 h 886"/>
                <a:gd name="T48" fmla="*/ 11 w 886"/>
                <a:gd name="T49" fmla="*/ 838 h 886"/>
                <a:gd name="T50" fmla="*/ 27 w 886"/>
                <a:gd name="T51" fmla="*/ 860 h 886"/>
                <a:gd name="T52" fmla="*/ 48 w 886"/>
                <a:gd name="T53" fmla="*/ 875 h 886"/>
                <a:gd name="T54" fmla="*/ 73 w 886"/>
                <a:gd name="T55" fmla="*/ 884 h 886"/>
                <a:gd name="T56" fmla="*/ 99 w 886"/>
                <a:gd name="T57" fmla="*/ 885 h 886"/>
                <a:gd name="T58" fmla="*/ 125 w 886"/>
                <a:gd name="T59" fmla="*/ 879 h 886"/>
                <a:gd name="T60" fmla="*/ 148 w 886"/>
                <a:gd name="T61" fmla="*/ 866 h 886"/>
                <a:gd name="T62" fmla="*/ 530 w 886"/>
                <a:gd name="T63" fmla="*/ 502 h 886"/>
                <a:gd name="T64" fmla="*/ 570 w 886"/>
                <a:gd name="T65" fmla="*/ 515 h 886"/>
                <a:gd name="T66" fmla="*/ 612 w 886"/>
                <a:gd name="T67" fmla="*/ 520 h 886"/>
                <a:gd name="T68" fmla="*/ 626 w 886"/>
                <a:gd name="T69" fmla="*/ 520 h 886"/>
                <a:gd name="T70" fmla="*/ 664 w 886"/>
                <a:gd name="T71" fmla="*/ 518 h 886"/>
                <a:gd name="T72" fmla="*/ 702 w 886"/>
                <a:gd name="T73" fmla="*/ 509 h 886"/>
                <a:gd name="T74" fmla="*/ 737 w 886"/>
                <a:gd name="T75" fmla="*/ 496 h 886"/>
                <a:gd name="T76" fmla="*/ 769 w 886"/>
                <a:gd name="T77" fmla="*/ 477 h 886"/>
                <a:gd name="T78" fmla="*/ 800 w 886"/>
                <a:gd name="T79" fmla="*/ 454 h 886"/>
                <a:gd name="T80" fmla="*/ 837 w 886"/>
                <a:gd name="T81" fmla="*/ 413 h 886"/>
                <a:gd name="T82" fmla="*/ 867 w 886"/>
                <a:gd name="T83" fmla="*/ 360 h 886"/>
                <a:gd name="T84" fmla="*/ 883 w 886"/>
                <a:gd name="T85" fmla="*/ 301 h 886"/>
                <a:gd name="T86" fmla="*/ 885 w 886"/>
                <a:gd name="T87" fmla="*/ 241 h 886"/>
                <a:gd name="T88" fmla="*/ 873 w 886"/>
                <a:gd name="T89" fmla="*/ 181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86" h="886">
                  <a:moveTo>
                    <a:pt x="857" y="143"/>
                  </a:moveTo>
                  <a:lnTo>
                    <a:pt x="855" y="139"/>
                  </a:lnTo>
                  <a:lnTo>
                    <a:pt x="853" y="137"/>
                  </a:lnTo>
                  <a:lnTo>
                    <a:pt x="849" y="135"/>
                  </a:lnTo>
                  <a:lnTo>
                    <a:pt x="846" y="133"/>
                  </a:lnTo>
                  <a:lnTo>
                    <a:pt x="842" y="134"/>
                  </a:lnTo>
                  <a:lnTo>
                    <a:pt x="839" y="135"/>
                  </a:lnTo>
                  <a:lnTo>
                    <a:pt x="836" y="136"/>
                  </a:lnTo>
                  <a:lnTo>
                    <a:pt x="833" y="138"/>
                  </a:lnTo>
                  <a:lnTo>
                    <a:pt x="712" y="259"/>
                  </a:lnTo>
                  <a:lnTo>
                    <a:pt x="646" y="259"/>
                  </a:lnTo>
                  <a:lnTo>
                    <a:pt x="646" y="172"/>
                  </a:lnTo>
                  <a:lnTo>
                    <a:pt x="751" y="53"/>
                  </a:lnTo>
                  <a:lnTo>
                    <a:pt x="753" y="49"/>
                  </a:lnTo>
                  <a:lnTo>
                    <a:pt x="754" y="46"/>
                  </a:lnTo>
                  <a:lnTo>
                    <a:pt x="755" y="43"/>
                  </a:lnTo>
                  <a:lnTo>
                    <a:pt x="755" y="39"/>
                  </a:lnTo>
                  <a:lnTo>
                    <a:pt x="754" y="37"/>
                  </a:lnTo>
                  <a:lnTo>
                    <a:pt x="752" y="33"/>
                  </a:lnTo>
                  <a:lnTo>
                    <a:pt x="750" y="31"/>
                  </a:lnTo>
                  <a:lnTo>
                    <a:pt x="747" y="29"/>
                  </a:lnTo>
                  <a:lnTo>
                    <a:pt x="733" y="23"/>
                  </a:lnTo>
                  <a:lnTo>
                    <a:pt x="719" y="16"/>
                  </a:lnTo>
                  <a:lnTo>
                    <a:pt x="704" y="12"/>
                  </a:lnTo>
                  <a:lnTo>
                    <a:pt x="689" y="8"/>
                  </a:lnTo>
                  <a:lnTo>
                    <a:pt x="674" y="5"/>
                  </a:lnTo>
                  <a:lnTo>
                    <a:pt x="659" y="2"/>
                  </a:lnTo>
                  <a:lnTo>
                    <a:pt x="643" y="1"/>
                  </a:lnTo>
                  <a:lnTo>
                    <a:pt x="628" y="0"/>
                  </a:lnTo>
                  <a:lnTo>
                    <a:pt x="615" y="0"/>
                  </a:lnTo>
                  <a:lnTo>
                    <a:pt x="602" y="1"/>
                  </a:lnTo>
                  <a:lnTo>
                    <a:pt x="589" y="3"/>
                  </a:lnTo>
                  <a:lnTo>
                    <a:pt x="577" y="6"/>
                  </a:lnTo>
                  <a:lnTo>
                    <a:pt x="564" y="8"/>
                  </a:lnTo>
                  <a:lnTo>
                    <a:pt x="552" y="11"/>
                  </a:lnTo>
                  <a:lnTo>
                    <a:pt x="539" y="15"/>
                  </a:lnTo>
                  <a:lnTo>
                    <a:pt x="527" y="19"/>
                  </a:lnTo>
                  <a:lnTo>
                    <a:pt x="516" y="25"/>
                  </a:lnTo>
                  <a:lnTo>
                    <a:pt x="505" y="31"/>
                  </a:lnTo>
                  <a:lnTo>
                    <a:pt x="493" y="37"/>
                  </a:lnTo>
                  <a:lnTo>
                    <a:pt x="482" y="44"/>
                  </a:lnTo>
                  <a:lnTo>
                    <a:pt x="473" y="52"/>
                  </a:lnTo>
                  <a:lnTo>
                    <a:pt x="462" y="59"/>
                  </a:lnTo>
                  <a:lnTo>
                    <a:pt x="452" y="68"/>
                  </a:lnTo>
                  <a:lnTo>
                    <a:pt x="443" y="76"/>
                  </a:lnTo>
                  <a:lnTo>
                    <a:pt x="429" y="91"/>
                  </a:lnTo>
                  <a:lnTo>
                    <a:pt x="416" y="107"/>
                  </a:lnTo>
                  <a:lnTo>
                    <a:pt x="405" y="124"/>
                  </a:lnTo>
                  <a:lnTo>
                    <a:pt x="396" y="141"/>
                  </a:lnTo>
                  <a:lnTo>
                    <a:pt x="387" y="160"/>
                  </a:lnTo>
                  <a:lnTo>
                    <a:pt x="380" y="178"/>
                  </a:lnTo>
                  <a:lnTo>
                    <a:pt x="374" y="196"/>
                  </a:lnTo>
                  <a:lnTo>
                    <a:pt x="370" y="215"/>
                  </a:lnTo>
                  <a:lnTo>
                    <a:pt x="368" y="235"/>
                  </a:lnTo>
                  <a:lnTo>
                    <a:pt x="366" y="254"/>
                  </a:lnTo>
                  <a:lnTo>
                    <a:pt x="367" y="274"/>
                  </a:lnTo>
                  <a:lnTo>
                    <a:pt x="368" y="293"/>
                  </a:lnTo>
                  <a:lnTo>
                    <a:pt x="371" y="313"/>
                  </a:lnTo>
                  <a:lnTo>
                    <a:pt x="376" y="332"/>
                  </a:lnTo>
                  <a:lnTo>
                    <a:pt x="382" y="351"/>
                  </a:lnTo>
                  <a:lnTo>
                    <a:pt x="390" y="369"/>
                  </a:lnTo>
                  <a:lnTo>
                    <a:pt x="27" y="732"/>
                  </a:lnTo>
                  <a:lnTo>
                    <a:pt x="21" y="738"/>
                  </a:lnTo>
                  <a:lnTo>
                    <a:pt x="16" y="746"/>
                  </a:lnTo>
                  <a:lnTo>
                    <a:pt x="11" y="753"/>
                  </a:lnTo>
                  <a:lnTo>
                    <a:pt x="7" y="762"/>
                  </a:lnTo>
                  <a:lnTo>
                    <a:pt x="4" y="769"/>
                  </a:lnTo>
                  <a:lnTo>
                    <a:pt x="2" y="778"/>
                  </a:lnTo>
                  <a:lnTo>
                    <a:pt x="1" y="787"/>
                  </a:lnTo>
                  <a:lnTo>
                    <a:pt x="0" y="796"/>
                  </a:lnTo>
                  <a:lnTo>
                    <a:pt x="1" y="805"/>
                  </a:lnTo>
                  <a:lnTo>
                    <a:pt x="2" y="813"/>
                  </a:lnTo>
                  <a:lnTo>
                    <a:pt x="4" y="822"/>
                  </a:lnTo>
                  <a:lnTo>
                    <a:pt x="7" y="830"/>
                  </a:lnTo>
                  <a:lnTo>
                    <a:pt x="11" y="838"/>
                  </a:lnTo>
                  <a:lnTo>
                    <a:pt x="15" y="845"/>
                  </a:lnTo>
                  <a:lnTo>
                    <a:pt x="20" y="853"/>
                  </a:lnTo>
                  <a:lnTo>
                    <a:pt x="27" y="860"/>
                  </a:lnTo>
                  <a:lnTo>
                    <a:pt x="33" y="866"/>
                  </a:lnTo>
                  <a:lnTo>
                    <a:pt x="41" y="871"/>
                  </a:lnTo>
                  <a:lnTo>
                    <a:pt x="48" y="875"/>
                  </a:lnTo>
                  <a:lnTo>
                    <a:pt x="55" y="879"/>
                  </a:lnTo>
                  <a:lnTo>
                    <a:pt x="64" y="882"/>
                  </a:lnTo>
                  <a:lnTo>
                    <a:pt x="73" y="884"/>
                  </a:lnTo>
                  <a:lnTo>
                    <a:pt x="81" y="885"/>
                  </a:lnTo>
                  <a:lnTo>
                    <a:pt x="91" y="886"/>
                  </a:lnTo>
                  <a:lnTo>
                    <a:pt x="99" y="885"/>
                  </a:lnTo>
                  <a:lnTo>
                    <a:pt x="108" y="884"/>
                  </a:lnTo>
                  <a:lnTo>
                    <a:pt x="116" y="882"/>
                  </a:lnTo>
                  <a:lnTo>
                    <a:pt x="125" y="879"/>
                  </a:lnTo>
                  <a:lnTo>
                    <a:pt x="133" y="875"/>
                  </a:lnTo>
                  <a:lnTo>
                    <a:pt x="140" y="871"/>
                  </a:lnTo>
                  <a:lnTo>
                    <a:pt x="148" y="866"/>
                  </a:lnTo>
                  <a:lnTo>
                    <a:pt x="154" y="860"/>
                  </a:lnTo>
                  <a:lnTo>
                    <a:pt x="517" y="497"/>
                  </a:lnTo>
                  <a:lnTo>
                    <a:pt x="530" y="502"/>
                  </a:lnTo>
                  <a:lnTo>
                    <a:pt x="543" y="507"/>
                  </a:lnTo>
                  <a:lnTo>
                    <a:pt x="556" y="512"/>
                  </a:lnTo>
                  <a:lnTo>
                    <a:pt x="570" y="515"/>
                  </a:lnTo>
                  <a:lnTo>
                    <a:pt x="584" y="517"/>
                  </a:lnTo>
                  <a:lnTo>
                    <a:pt x="598" y="519"/>
                  </a:lnTo>
                  <a:lnTo>
                    <a:pt x="612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26" y="520"/>
                  </a:lnTo>
                  <a:lnTo>
                    <a:pt x="639" y="520"/>
                  </a:lnTo>
                  <a:lnTo>
                    <a:pt x="651" y="519"/>
                  </a:lnTo>
                  <a:lnTo>
                    <a:pt x="664" y="518"/>
                  </a:lnTo>
                  <a:lnTo>
                    <a:pt x="677" y="516"/>
                  </a:lnTo>
                  <a:lnTo>
                    <a:pt x="689" y="513"/>
                  </a:lnTo>
                  <a:lnTo>
                    <a:pt x="702" y="509"/>
                  </a:lnTo>
                  <a:lnTo>
                    <a:pt x="714" y="505"/>
                  </a:lnTo>
                  <a:lnTo>
                    <a:pt x="725" y="501"/>
                  </a:lnTo>
                  <a:lnTo>
                    <a:pt x="737" y="496"/>
                  </a:lnTo>
                  <a:lnTo>
                    <a:pt x="748" y="490"/>
                  </a:lnTo>
                  <a:lnTo>
                    <a:pt x="758" y="484"/>
                  </a:lnTo>
                  <a:lnTo>
                    <a:pt x="769" y="477"/>
                  </a:lnTo>
                  <a:lnTo>
                    <a:pt x="780" y="470"/>
                  </a:lnTo>
                  <a:lnTo>
                    <a:pt x="791" y="462"/>
                  </a:lnTo>
                  <a:lnTo>
                    <a:pt x="800" y="454"/>
                  </a:lnTo>
                  <a:lnTo>
                    <a:pt x="810" y="444"/>
                  </a:lnTo>
                  <a:lnTo>
                    <a:pt x="824" y="429"/>
                  </a:lnTo>
                  <a:lnTo>
                    <a:pt x="837" y="413"/>
                  </a:lnTo>
                  <a:lnTo>
                    <a:pt x="848" y="396"/>
                  </a:lnTo>
                  <a:lnTo>
                    <a:pt x="858" y="378"/>
                  </a:lnTo>
                  <a:lnTo>
                    <a:pt x="867" y="360"/>
                  </a:lnTo>
                  <a:lnTo>
                    <a:pt x="873" y="340"/>
                  </a:lnTo>
                  <a:lnTo>
                    <a:pt x="878" y="321"/>
                  </a:lnTo>
                  <a:lnTo>
                    <a:pt x="883" y="301"/>
                  </a:lnTo>
                  <a:lnTo>
                    <a:pt x="885" y="282"/>
                  </a:lnTo>
                  <a:lnTo>
                    <a:pt x="886" y="261"/>
                  </a:lnTo>
                  <a:lnTo>
                    <a:pt x="885" y="241"/>
                  </a:lnTo>
                  <a:lnTo>
                    <a:pt x="883" y="221"/>
                  </a:lnTo>
                  <a:lnTo>
                    <a:pt x="878" y="200"/>
                  </a:lnTo>
                  <a:lnTo>
                    <a:pt x="873" y="181"/>
                  </a:lnTo>
                  <a:lnTo>
                    <a:pt x="865" y="162"/>
                  </a:lnTo>
                  <a:lnTo>
                    <a:pt x="857" y="1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EA34F"/>
                </a:solidFill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7981432" y="2069541"/>
            <a:ext cx="770544" cy="770544"/>
            <a:chOff x="7970031" y="1663891"/>
            <a:chExt cx="770544" cy="770544"/>
          </a:xfrm>
        </p:grpSpPr>
        <p:sp>
          <p:nvSpPr>
            <p:cNvPr id="94" name="Snip Single Corner Rectangle 93"/>
            <p:cNvSpPr/>
            <p:nvPr/>
          </p:nvSpPr>
          <p:spPr>
            <a:xfrm>
              <a:off x="7970031" y="1663891"/>
              <a:ext cx="770544" cy="770544"/>
            </a:xfrm>
            <a:prstGeom prst="snip1Rect">
              <a:avLst>
                <a:gd name="adj" fmla="val 26725"/>
              </a:avLst>
            </a:prstGeom>
            <a:gradFill flip="none" rotWithShape="1">
              <a:gsLst>
                <a:gs pos="100000">
                  <a:srgbClr val="69AFC0"/>
                </a:gs>
                <a:gs pos="0">
                  <a:srgbClr val="125680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78" name="Group 77"/>
            <p:cNvGrpSpPr/>
            <p:nvPr/>
          </p:nvGrpSpPr>
          <p:grpSpPr>
            <a:xfrm>
              <a:off x="8164625" y="1902732"/>
              <a:ext cx="381356" cy="292864"/>
              <a:chOff x="1450975" y="2559050"/>
              <a:chExt cx="287338" cy="220663"/>
            </a:xfrm>
            <a:solidFill>
              <a:schemeClr val="bg1"/>
            </a:solidFill>
            <a:effectLst/>
          </p:grpSpPr>
          <p:sp>
            <p:nvSpPr>
              <p:cNvPr id="79" name="Freeform 518"/>
              <p:cNvSpPr>
                <a:spLocks/>
              </p:cNvSpPr>
              <p:nvPr/>
            </p:nvSpPr>
            <p:spPr bwMode="auto">
              <a:xfrm>
                <a:off x="1552575" y="2559050"/>
                <a:ext cx="185738" cy="187325"/>
              </a:xfrm>
              <a:custGeom>
                <a:avLst/>
                <a:gdLst>
                  <a:gd name="T0" fmla="*/ 15 w 587"/>
                  <a:gd name="T1" fmla="*/ 0 h 588"/>
                  <a:gd name="T2" fmla="*/ 9 w 587"/>
                  <a:gd name="T3" fmla="*/ 2 h 588"/>
                  <a:gd name="T4" fmla="*/ 4 w 587"/>
                  <a:gd name="T5" fmla="*/ 5 h 588"/>
                  <a:gd name="T6" fmla="*/ 1 w 587"/>
                  <a:gd name="T7" fmla="*/ 10 h 588"/>
                  <a:gd name="T8" fmla="*/ 0 w 587"/>
                  <a:gd name="T9" fmla="*/ 15 h 588"/>
                  <a:gd name="T10" fmla="*/ 14 w 587"/>
                  <a:gd name="T11" fmla="*/ 453 h 588"/>
                  <a:gd name="T12" fmla="*/ 40 w 587"/>
                  <a:gd name="T13" fmla="*/ 458 h 588"/>
                  <a:gd name="T14" fmla="*/ 64 w 587"/>
                  <a:gd name="T15" fmla="*/ 469 h 588"/>
                  <a:gd name="T16" fmla="*/ 85 w 587"/>
                  <a:gd name="T17" fmla="*/ 483 h 588"/>
                  <a:gd name="T18" fmla="*/ 105 w 587"/>
                  <a:gd name="T19" fmla="*/ 501 h 588"/>
                  <a:gd name="T20" fmla="*/ 119 w 587"/>
                  <a:gd name="T21" fmla="*/ 524 h 588"/>
                  <a:gd name="T22" fmla="*/ 129 w 587"/>
                  <a:gd name="T23" fmla="*/ 548 h 588"/>
                  <a:gd name="T24" fmla="*/ 135 w 587"/>
                  <a:gd name="T25" fmla="*/ 574 h 588"/>
                  <a:gd name="T26" fmla="*/ 286 w 587"/>
                  <a:gd name="T27" fmla="*/ 588 h 588"/>
                  <a:gd name="T28" fmla="*/ 288 w 587"/>
                  <a:gd name="T29" fmla="*/ 560 h 588"/>
                  <a:gd name="T30" fmla="*/ 297 w 587"/>
                  <a:gd name="T31" fmla="*/ 536 h 588"/>
                  <a:gd name="T32" fmla="*/ 308 w 587"/>
                  <a:gd name="T33" fmla="*/ 512 h 588"/>
                  <a:gd name="T34" fmla="*/ 326 w 587"/>
                  <a:gd name="T35" fmla="*/ 492 h 588"/>
                  <a:gd name="T36" fmla="*/ 346 w 587"/>
                  <a:gd name="T37" fmla="*/ 476 h 588"/>
                  <a:gd name="T38" fmla="*/ 369 w 587"/>
                  <a:gd name="T39" fmla="*/ 463 h 588"/>
                  <a:gd name="T40" fmla="*/ 394 w 587"/>
                  <a:gd name="T41" fmla="*/ 455 h 588"/>
                  <a:gd name="T42" fmla="*/ 421 w 587"/>
                  <a:gd name="T43" fmla="*/ 452 h 588"/>
                  <a:gd name="T44" fmla="*/ 449 w 587"/>
                  <a:gd name="T45" fmla="*/ 455 h 588"/>
                  <a:gd name="T46" fmla="*/ 474 w 587"/>
                  <a:gd name="T47" fmla="*/ 463 h 588"/>
                  <a:gd name="T48" fmla="*/ 497 w 587"/>
                  <a:gd name="T49" fmla="*/ 476 h 588"/>
                  <a:gd name="T50" fmla="*/ 517 w 587"/>
                  <a:gd name="T51" fmla="*/ 492 h 588"/>
                  <a:gd name="T52" fmla="*/ 534 w 587"/>
                  <a:gd name="T53" fmla="*/ 512 h 588"/>
                  <a:gd name="T54" fmla="*/ 547 w 587"/>
                  <a:gd name="T55" fmla="*/ 536 h 588"/>
                  <a:gd name="T56" fmla="*/ 554 w 587"/>
                  <a:gd name="T57" fmla="*/ 560 h 588"/>
                  <a:gd name="T58" fmla="*/ 556 w 587"/>
                  <a:gd name="T59" fmla="*/ 588 h 588"/>
                  <a:gd name="T60" fmla="*/ 574 w 587"/>
                  <a:gd name="T61" fmla="*/ 587 h 588"/>
                  <a:gd name="T62" fmla="*/ 580 w 587"/>
                  <a:gd name="T63" fmla="*/ 585 h 588"/>
                  <a:gd name="T64" fmla="*/ 584 w 587"/>
                  <a:gd name="T65" fmla="*/ 582 h 588"/>
                  <a:gd name="T66" fmla="*/ 586 w 587"/>
                  <a:gd name="T67" fmla="*/ 576 h 588"/>
                  <a:gd name="T68" fmla="*/ 587 w 587"/>
                  <a:gd name="T69" fmla="*/ 15 h 588"/>
                  <a:gd name="T70" fmla="*/ 585 w 587"/>
                  <a:gd name="T71" fmla="*/ 10 h 588"/>
                  <a:gd name="T72" fmla="*/ 582 w 587"/>
                  <a:gd name="T73" fmla="*/ 5 h 588"/>
                  <a:gd name="T74" fmla="*/ 578 w 587"/>
                  <a:gd name="T75" fmla="*/ 2 h 588"/>
                  <a:gd name="T76" fmla="*/ 572 w 587"/>
                  <a:gd name="T77" fmla="*/ 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7" h="588">
                    <a:moveTo>
                      <a:pt x="572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452"/>
                    </a:lnTo>
                    <a:lnTo>
                      <a:pt x="14" y="453"/>
                    </a:lnTo>
                    <a:lnTo>
                      <a:pt x="27" y="455"/>
                    </a:lnTo>
                    <a:lnTo>
                      <a:pt x="40" y="458"/>
                    </a:lnTo>
                    <a:lnTo>
                      <a:pt x="52" y="463"/>
                    </a:lnTo>
                    <a:lnTo>
                      <a:pt x="64" y="469"/>
                    </a:lnTo>
                    <a:lnTo>
                      <a:pt x="76" y="476"/>
                    </a:lnTo>
                    <a:lnTo>
                      <a:pt x="85" y="483"/>
                    </a:lnTo>
                    <a:lnTo>
                      <a:pt x="95" y="492"/>
                    </a:lnTo>
                    <a:lnTo>
                      <a:pt x="105" y="501"/>
                    </a:lnTo>
                    <a:lnTo>
                      <a:pt x="112" y="512"/>
                    </a:lnTo>
                    <a:lnTo>
                      <a:pt x="119" y="524"/>
                    </a:lnTo>
                    <a:lnTo>
                      <a:pt x="125" y="536"/>
                    </a:lnTo>
                    <a:lnTo>
                      <a:pt x="129" y="548"/>
                    </a:lnTo>
                    <a:lnTo>
                      <a:pt x="133" y="560"/>
                    </a:lnTo>
                    <a:lnTo>
                      <a:pt x="135" y="574"/>
                    </a:lnTo>
                    <a:lnTo>
                      <a:pt x="135" y="588"/>
                    </a:lnTo>
                    <a:lnTo>
                      <a:pt x="286" y="588"/>
                    </a:lnTo>
                    <a:lnTo>
                      <a:pt x="286" y="574"/>
                    </a:lnTo>
                    <a:lnTo>
                      <a:pt x="288" y="560"/>
                    </a:lnTo>
                    <a:lnTo>
                      <a:pt x="292" y="548"/>
                    </a:lnTo>
                    <a:lnTo>
                      <a:pt x="297" y="536"/>
                    </a:lnTo>
                    <a:lnTo>
                      <a:pt x="302" y="524"/>
                    </a:lnTo>
                    <a:lnTo>
                      <a:pt x="308" y="512"/>
                    </a:lnTo>
                    <a:lnTo>
                      <a:pt x="317" y="501"/>
                    </a:lnTo>
                    <a:lnTo>
                      <a:pt x="326" y="492"/>
                    </a:lnTo>
                    <a:lnTo>
                      <a:pt x="335" y="483"/>
                    </a:lnTo>
                    <a:lnTo>
                      <a:pt x="346" y="476"/>
                    </a:lnTo>
                    <a:lnTo>
                      <a:pt x="357" y="469"/>
                    </a:lnTo>
                    <a:lnTo>
                      <a:pt x="369" y="463"/>
                    </a:lnTo>
                    <a:lnTo>
                      <a:pt x="381" y="458"/>
                    </a:lnTo>
                    <a:lnTo>
                      <a:pt x="394" y="455"/>
                    </a:lnTo>
                    <a:lnTo>
                      <a:pt x="407" y="453"/>
                    </a:lnTo>
                    <a:lnTo>
                      <a:pt x="421" y="452"/>
                    </a:lnTo>
                    <a:lnTo>
                      <a:pt x="435" y="453"/>
                    </a:lnTo>
                    <a:lnTo>
                      <a:pt x="449" y="455"/>
                    </a:lnTo>
                    <a:lnTo>
                      <a:pt x="462" y="458"/>
                    </a:lnTo>
                    <a:lnTo>
                      <a:pt x="474" y="463"/>
                    </a:lnTo>
                    <a:lnTo>
                      <a:pt x="485" y="469"/>
                    </a:lnTo>
                    <a:lnTo>
                      <a:pt x="497" y="476"/>
                    </a:lnTo>
                    <a:lnTo>
                      <a:pt x="507" y="483"/>
                    </a:lnTo>
                    <a:lnTo>
                      <a:pt x="517" y="492"/>
                    </a:lnTo>
                    <a:lnTo>
                      <a:pt x="526" y="501"/>
                    </a:lnTo>
                    <a:lnTo>
                      <a:pt x="534" y="512"/>
                    </a:lnTo>
                    <a:lnTo>
                      <a:pt x="540" y="524"/>
                    </a:lnTo>
                    <a:lnTo>
                      <a:pt x="547" y="536"/>
                    </a:lnTo>
                    <a:lnTo>
                      <a:pt x="551" y="548"/>
                    </a:lnTo>
                    <a:lnTo>
                      <a:pt x="554" y="560"/>
                    </a:lnTo>
                    <a:lnTo>
                      <a:pt x="556" y="574"/>
                    </a:lnTo>
                    <a:lnTo>
                      <a:pt x="556" y="588"/>
                    </a:lnTo>
                    <a:lnTo>
                      <a:pt x="572" y="588"/>
                    </a:lnTo>
                    <a:lnTo>
                      <a:pt x="574" y="587"/>
                    </a:lnTo>
                    <a:lnTo>
                      <a:pt x="578" y="587"/>
                    </a:lnTo>
                    <a:lnTo>
                      <a:pt x="580" y="585"/>
                    </a:lnTo>
                    <a:lnTo>
                      <a:pt x="582" y="584"/>
                    </a:lnTo>
                    <a:lnTo>
                      <a:pt x="584" y="582"/>
                    </a:lnTo>
                    <a:lnTo>
                      <a:pt x="585" y="579"/>
                    </a:lnTo>
                    <a:lnTo>
                      <a:pt x="586" y="576"/>
                    </a:lnTo>
                    <a:lnTo>
                      <a:pt x="587" y="573"/>
                    </a:lnTo>
                    <a:lnTo>
                      <a:pt x="587" y="15"/>
                    </a:lnTo>
                    <a:lnTo>
                      <a:pt x="586" y="13"/>
                    </a:lnTo>
                    <a:lnTo>
                      <a:pt x="585" y="10"/>
                    </a:lnTo>
                    <a:lnTo>
                      <a:pt x="584" y="8"/>
                    </a:lnTo>
                    <a:lnTo>
                      <a:pt x="582" y="5"/>
                    </a:lnTo>
                    <a:lnTo>
                      <a:pt x="580" y="4"/>
                    </a:lnTo>
                    <a:lnTo>
                      <a:pt x="578" y="2"/>
                    </a:lnTo>
                    <a:lnTo>
                      <a:pt x="574" y="2"/>
                    </a:lnTo>
                    <a:lnTo>
                      <a:pt x="5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19"/>
              <p:cNvSpPr>
                <a:spLocks noEditPoints="1"/>
              </p:cNvSpPr>
              <p:nvPr/>
            </p:nvSpPr>
            <p:spPr bwMode="auto">
              <a:xfrm>
                <a:off x="1450975" y="2606675"/>
                <a:ext cx="92075" cy="115888"/>
              </a:xfrm>
              <a:custGeom>
                <a:avLst/>
                <a:gdLst>
                  <a:gd name="T0" fmla="*/ 145 w 287"/>
                  <a:gd name="T1" fmla="*/ 121 h 362"/>
                  <a:gd name="T2" fmla="*/ 134 w 287"/>
                  <a:gd name="T3" fmla="*/ 125 h 362"/>
                  <a:gd name="T4" fmla="*/ 127 w 287"/>
                  <a:gd name="T5" fmla="*/ 133 h 362"/>
                  <a:gd name="T6" fmla="*/ 121 w 287"/>
                  <a:gd name="T7" fmla="*/ 143 h 362"/>
                  <a:gd name="T8" fmla="*/ 121 w 287"/>
                  <a:gd name="T9" fmla="*/ 225 h 362"/>
                  <a:gd name="T10" fmla="*/ 120 w 287"/>
                  <a:gd name="T11" fmla="*/ 231 h 362"/>
                  <a:gd name="T12" fmla="*/ 117 w 287"/>
                  <a:gd name="T13" fmla="*/ 236 h 362"/>
                  <a:gd name="T14" fmla="*/ 112 w 287"/>
                  <a:gd name="T15" fmla="*/ 239 h 362"/>
                  <a:gd name="T16" fmla="*/ 106 w 287"/>
                  <a:gd name="T17" fmla="*/ 240 h 362"/>
                  <a:gd name="T18" fmla="*/ 100 w 287"/>
                  <a:gd name="T19" fmla="*/ 239 h 362"/>
                  <a:gd name="T20" fmla="*/ 96 w 287"/>
                  <a:gd name="T21" fmla="*/ 236 h 362"/>
                  <a:gd name="T22" fmla="*/ 92 w 287"/>
                  <a:gd name="T23" fmla="*/ 231 h 362"/>
                  <a:gd name="T24" fmla="*/ 91 w 287"/>
                  <a:gd name="T25" fmla="*/ 225 h 362"/>
                  <a:gd name="T26" fmla="*/ 91 w 287"/>
                  <a:gd name="T27" fmla="*/ 143 h 362"/>
                  <a:gd name="T28" fmla="*/ 93 w 287"/>
                  <a:gd name="T29" fmla="*/ 132 h 362"/>
                  <a:gd name="T30" fmla="*/ 98 w 287"/>
                  <a:gd name="T31" fmla="*/ 121 h 362"/>
                  <a:gd name="T32" fmla="*/ 104 w 287"/>
                  <a:gd name="T33" fmla="*/ 111 h 362"/>
                  <a:gd name="T34" fmla="*/ 113 w 287"/>
                  <a:gd name="T35" fmla="*/ 104 h 362"/>
                  <a:gd name="T36" fmla="*/ 122 w 287"/>
                  <a:gd name="T37" fmla="*/ 97 h 362"/>
                  <a:gd name="T38" fmla="*/ 133 w 287"/>
                  <a:gd name="T39" fmla="*/ 92 h 362"/>
                  <a:gd name="T40" fmla="*/ 145 w 287"/>
                  <a:gd name="T41" fmla="*/ 90 h 362"/>
                  <a:gd name="T42" fmla="*/ 226 w 287"/>
                  <a:gd name="T43" fmla="*/ 90 h 362"/>
                  <a:gd name="T44" fmla="*/ 232 w 287"/>
                  <a:gd name="T45" fmla="*/ 91 h 362"/>
                  <a:gd name="T46" fmla="*/ 237 w 287"/>
                  <a:gd name="T47" fmla="*/ 94 h 362"/>
                  <a:gd name="T48" fmla="*/ 240 w 287"/>
                  <a:gd name="T49" fmla="*/ 98 h 362"/>
                  <a:gd name="T50" fmla="*/ 241 w 287"/>
                  <a:gd name="T51" fmla="*/ 105 h 362"/>
                  <a:gd name="T52" fmla="*/ 240 w 287"/>
                  <a:gd name="T53" fmla="*/ 110 h 362"/>
                  <a:gd name="T54" fmla="*/ 237 w 287"/>
                  <a:gd name="T55" fmla="*/ 116 h 362"/>
                  <a:gd name="T56" fmla="*/ 232 w 287"/>
                  <a:gd name="T57" fmla="*/ 119 h 362"/>
                  <a:gd name="T58" fmla="*/ 226 w 287"/>
                  <a:gd name="T59" fmla="*/ 120 h 362"/>
                  <a:gd name="T60" fmla="*/ 287 w 287"/>
                  <a:gd name="T61" fmla="*/ 304 h 362"/>
                  <a:gd name="T62" fmla="*/ 287 w 287"/>
                  <a:gd name="T63" fmla="*/ 12 h 362"/>
                  <a:gd name="T64" fmla="*/ 284 w 287"/>
                  <a:gd name="T65" fmla="*/ 6 h 362"/>
                  <a:gd name="T66" fmla="*/ 280 w 287"/>
                  <a:gd name="T67" fmla="*/ 2 h 362"/>
                  <a:gd name="T68" fmla="*/ 275 w 287"/>
                  <a:gd name="T69" fmla="*/ 0 h 362"/>
                  <a:gd name="T70" fmla="*/ 136 w 287"/>
                  <a:gd name="T71" fmla="*/ 0 h 362"/>
                  <a:gd name="T72" fmla="*/ 109 w 287"/>
                  <a:gd name="T73" fmla="*/ 2 h 362"/>
                  <a:gd name="T74" fmla="*/ 84 w 287"/>
                  <a:gd name="T75" fmla="*/ 10 h 362"/>
                  <a:gd name="T76" fmla="*/ 60 w 287"/>
                  <a:gd name="T77" fmla="*/ 22 h 362"/>
                  <a:gd name="T78" fmla="*/ 40 w 287"/>
                  <a:gd name="T79" fmla="*/ 39 h 362"/>
                  <a:gd name="T80" fmla="*/ 24 w 287"/>
                  <a:gd name="T81" fmla="*/ 59 h 362"/>
                  <a:gd name="T82" fmla="*/ 11 w 287"/>
                  <a:gd name="T83" fmla="*/ 82 h 362"/>
                  <a:gd name="T84" fmla="*/ 3 w 287"/>
                  <a:gd name="T85" fmla="*/ 108 h 362"/>
                  <a:gd name="T86" fmla="*/ 0 w 287"/>
                  <a:gd name="T87" fmla="*/ 135 h 362"/>
                  <a:gd name="T88" fmla="*/ 196 w 287"/>
                  <a:gd name="T89" fmla="*/ 361 h 362"/>
                  <a:gd name="T90" fmla="*/ 203 w 287"/>
                  <a:gd name="T91" fmla="*/ 362 h 362"/>
                  <a:gd name="T92" fmla="*/ 219 w 287"/>
                  <a:gd name="T93" fmla="*/ 342 h 362"/>
                  <a:gd name="T94" fmla="*/ 239 w 287"/>
                  <a:gd name="T95" fmla="*/ 326 h 362"/>
                  <a:gd name="T96" fmla="*/ 262 w 287"/>
                  <a:gd name="T97" fmla="*/ 312 h 362"/>
                  <a:gd name="T98" fmla="*/ 287 w 287"/>
                  <a:gd name="T99" fmla="*/ 30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87" h="362">
                    <a:moveTo>
                      <a:pt x="151" y="120"/>
                    </a:moveTo>
                    <a:lnTo>
                      <a:pt x="145" y="121"/>
                    </a:lnTo>
                    <a:lnTo>
                      <a:pt x="140" y="122"/>
                    </a:lnTo>
                    <a:lnTo>
                      <a:pt x="134" y="125"/>
                    </a:lnTo>
                    <a:lnTo>
                      <a:pt x="130" y="128"/>
                    </a:lnTo>
                    <a:lnTo>
                      <a:pt x="127" y="133"/>
                    </a:lnTo>
                    <a:lnTo>
                      <a:pt x="124" y="138"/>
                    </a:lnTo>
                    <a:lnTo>
                      <a:pt x="121" y="143"/>
                    </a:lnTo>
                    <a:lnTo>
                      <a:pt x="121" y="150"/>
                    </a:lnTo>
                    <a:lnTo>
                      <a:pt x="121" y="225"/>
                    </a:lnTo>
                    <a:lnTo>
                      <a:pt x="120" y="228"/>
                    </a:lnTo>
                    <a:lnTo>
                      <a:pt x="120" y="231"/>
                    </a:lnTo>
                    <a:lnTo>
                      <a:pt x="118" y="234"/>
                    </a:lnTo>
                    <a:lnTo>
                      <a:pt x="117" y="236"/>
                    </a:lnTo>
                    <a:lnTo>
                      <a:pt x="115" y="238"/>
                    </a:lnTo>
                    <a:lnTo>
                      <a:pt x="112" y="239"/>
                    </a:lnTo>
                    <a:lnTo>
                      <a:pt x="110" y="240"/>
                    </a:lnTo>
                    <a:lnTo>
                      <a:pt x="106" y="240"/>
                    </a:lnTo>
                    <a:lnTo>
                      <a:pt x="103" y="240"/>
                    </a:lnTo>
                    <a:lnTo>
                      <a:pt x="100" y="239"/>
                    </a:lnTo>
                    <a:lnTo>
                      <a:pt x="98" y="238"/>
                    </a:lnTo>
                    <a:lnTo>
                      <a:pt x="96" y="236"/>
                    </a:lnTo>
                    <a:lnTo>
                      <a:pt x="93" y="234"/>
                    </a:lnTo>
                    <a:lnTo>
                      <a:pt x="92" y="231"/>
                    </a:lnTo>
                    <a:lnTo>
                      <a:pt x="91" y="228"/>
                    </a:lnTo>
                    <a:lnTo>
                      <a:pt x="91" y="225"/>
                    </a:lnTo>
                    <a:lnTo>
                      <a:pt x="91" y="150"/>
                    </a:lnTo>
                    <a:lnTo>
                      <a:pt x="91" y="143"/>
                    </a:lnTo>
                    <a:lnTo>
                      <a:pt x="92" y="138"/>
                    </a:lnTo>
                    <a:lnTo>
                      <a:pt x="93" y="132"/>
                    </a:lnTo>
                    <a:lnTo>
                      <a:pt x="96" y="126"/>
                    </a:lnTo>
                    <a:lnTo>
                      <a:pt x="98" y="121"/>
                    </a:lnTo>
                    <a:lnTo>
                      <a:pt x="101" y="117"/>
                    </a:lnTo>
                    <a:lnTo>
                      <a:pt x="104" y="111"/>
                    </a:lnTo>
                    <a:lnTo>
                      <a:pt x="109" y="107"/>
                    </a:lnTo>
                    <a:lnTo>
                      <a:pt x="113" y="104"/>
                    </a:lnTo>
                    <a:lnTo>
                      <a:pt x="117" y="99"/>
                    </a:lnTo>
                    <a:lnTo>
                      <a:pt x="122" y="97"/>
                    </a:lnTo>
                    <a:lnTo>
                      <a:pt x="128" y="94"/>
                    </a:lnTo>
                    <a:lnTo>
                      <a:pt x="133" y="92"/>
                    </a:lnTo>
                    <a:lnTo>
                      <a:pt x="139" y="91"/>
                    </a:lnTo>
                    <a:lnTo>
                      <a:pt x="145" y="90"/>
                    </a:lnTo>
                    <a:lnTo>
                      <a:pt x="151" y="90"/>
                    </a:lnTo>
                    <a:lnTo>
                      <a:pt x="226" y="90"/>
                    </a:lnTo>
                    <a:lnTo>
                      <a:pt x="230" y="90"/>
                    </a:lnTo>
                    <a:lnTo>
                      <a:pt x="232" y="91"/>
                    </a:lnTo>
                    <a:lnTo>
                      <a:pt x="235" y="92"/>
                    </a:lnTo>
                    <a:lnTo>
                      <a:pt x="237" y="94"/>
                    </a:lnTo>
                    <a:lnTo>
                      <a:pt x="239" y="96"/>
                    </a:lnTo>
                    <a:lnTo>
                      <a:pt x="240" y="98"/>
                    </a:lnTo>
                    <a:lnTo>
                      <a:pt x="241" y="102"/>
                    </a:lnTo>
                    <a:lnTo>
                      <a:pt x="241" y="105"/>
                    </a:lnTo>
                    <a:lnTo>
                      <a:pt x="241" y="108"/>
                    </a:lnTo>
                    <a:lnTo>
                      <a:pt x="240" y="110"/>
                    </a:lnTo>
                    <a:lnTo>
                      <a:pt x="239" y="113"/>
                    </a:lnTo>
                    <a:lnTo>
                      <a:pt x="237" y="116"/>
                    </a:lnTo>
                    <a:lnTo>
                      <a:pt x="235" y="118"/>
                    </a:lnTo>
                    <a:lnTo>
                      <a:pt x="232" y="119"/>
                    </a:lnTo>
                    <a:lnTo>
                      <a:pt x="230" y="120"/>
                    </a:lnTo>
                    <a:lnTo>
                      <a:pt x="226" y="120"/>
                    </a:lnTo>
                    <a:lnTo>
                      <a:pt x="151" y="120"/>
                    </a:lnTo>
                    <a:close/>
                    <a:moveTo>
                      <a:pt x="287" y="304"/>
                    </a:moveTo>
                    <a:lnTo>
                      <a:pt x="287" y="15"/>
                    </a:lnTo>
                    <a:lnTo>
                      <a:pt x="287" y="12"/>
                    </a:lnTo>
                    <a:lnTo>
                      <a:pt x="285" y="8"/>
                    </a:lnTo>
                    <a:lnTo>
                      <a:pt x="284" y="6"/>
                    </a:lnTo>
                    <a:lnTo>
                      <a:pt x="282" y="4"/>
                    </a:lnTo>
                    <a:lnTo>
                      <a:pt x="280" y="2"/>
                    </a:lnTo>
                    <a:lnTo>
                      <a:pt x="278" y="1"/>
                    </a:lnTo>
                    <a:lnTo>
                      <a:pt x="275" y="0"/>
                    </a:lnTo>
                    <a:lnTo>
                      <a:pt x="272" y="0"/>
                    </a:lnTo>
                    <a:lnTo>
                      <a:pt x="136" y="0"/>
                    </a:lnTo>
                    <a:lnTo>
                      <a:pt x="122" y="0"/>
                    </a:lnTo>
                    <a:lnTo>
                      <a:pt x="109" y="2"/>
                    </a:lnTo>
                    <a:lnTo>
                      <a:pt x="96" y="5"/>
                    </a:lnTo>
                    <a:lnTo>
                      <a:pt x="84" y="10"/>
                    </a:lnTo>
                    <a:lnTo>
                      <a:pt x="72" y="16"/>
                    </a:lnTo>
                    <a:lnTo>
                      <a:pt x="60" y="22"/>
                    </a:lnTo>
                    <a:lnTo>
                      <a:pt x="50" y="31"/>
                    </a:lnTo>
                    <a:lnTo>
                      <a:pt x="40" y="39"/>
                    </a:lnTo>
                    <a:lnTo>
                      <a:pt x="31" y="49"/>
                    </a:lnTo>
                    <a:lnTo>
                      <a:pt x="24" y="59"/>
                    </a:lnTo>
                    <a:lnTo>
                      <a:pt x="17" y="71"/>
                    </a:lnTo>
                    <a:lnTo>
                      <a:pt x="11" y="82"/>
                    </a:lnTo>
                    <a:lnTo>
                      <a:pt x="7" y="94"/>
                    </a:lnTo>
                    <a:lnTo>
                      <a:pt x="3" y="108"/>
                    </a:lnTo>
                    <a:lnTo>
                      <a:pt x="1" y="121"/>
                    </a:lnTo>
                    <a:lnTo>
                      <a:pt x="0" y="135"/>
                    </a:lnTo>
                    <a:lnTo>
                      <a:pt x="0" y="361"/>
                    </a:lnTo>
                    <a:lnTo>
                      <a:pt x="196" y="361"/>
                    </a:lnTo>
                    <a:lnTo>
                      <a:pt x="200" y="361"/>
                    </a:lnTo>
                    <a:lnTo>
                      <a:pt x="203" y="362"/>
                    </a:lnTo>
                    <a:lnTo>
                      <a:pt x="210" y="352"/>
                    </a:lnTo>
                    <a:lnTo>
                      <a:pt x="219" y="342"/>
                    </a:lnTo>
                    <a:lnTo>
                      <a:pt x="229" y="333"/>
                    </a:lnTo>
                    <a:lnTo>
                      <a:pt x="239" y="326"/>
                    </a:lnTo>
                    <a:lnTo>
                      <a:pt x="250" y="318"/>
                    </a:lnTo>
                    <a:lnTo>
                      <a:pt x="262" y="312"/>
                    </a:lnTo>
                    <a:lnTo>
                      <a:pt x="274" y="308"/>
                    </a:lnTo>
                    <a:lnTo>
                      <a:pt x="287" y="3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20"/>
              <p:cNvSpPr>
                <a:spLocks/>
              </p:cNvSpPr>
              <p:nvPr/>
            </p:nvSpPr>
            <p:spPr bwMode="auto">
              <a:xfrm>
                <a:off x="1450975" y="2732088"/>
                <a:ext cx="60325" cy="28575"/>
              </a:xfrm>
              <a:custGeom>
                <a:avLst/>
                <a:gdLst>
                  <a:gd name="T0" fmla="*/ 0 w 189"/>
                  <a:gd name="T1" fmla="*/ 0 h 90"/>
                  <a:gd name="T2" fmla="*/ 0 w 189"/>
                  <a:gd name="T3" fmla="*/ 75 h 90"/>
                  <a:gd name="T4" fmla="*/ 1 w 189"/>
                  <a:gd name="T5" fmla="*/ 79 h 90"/>
                  <a:gd name="T6" fmla="*/ 2 w 189"/>
                  <a:gd name="T7" fmla="*/ 81 h 90"/>
                  <a:gd name="T8" fmla="*/ 3 w 189"/>
                  <a:gd name="T9" fmla="*/ 84 h 90"/>
                  <a:gd name="T10" fmla="*/ 6 w 189"/>
                  <a:gd name="T11" fmla="*/ 86 h 90"/>
                  <a:gd name="T12" fmla="*/ 8 w 189"/>
                  <a:gd name="T13" fmla="*/ 87 h 90"/>
                  <a:gd name="T14" fmla="*/ 10 w 189"/>
                  <a:gd name="T15" fmla="*/ 89 h 90"/>
                  <a:gd name="T16" fmla="*/ 13 w 189"/>
                  <a:gd name="T17" fmla="*/ 90 h 90"/>
                  <a:gd name="T18" fmla="*/ 15 w 189"/>
                  <a:gd name="T19" fmla="*/ 90 h 90"/>
                  <a:gd name="T20" fmla="*/ 189 w 189"/>
                  <a:gd name="T21" fmla="*/ 90 h 90"/>
                  <a:gd name="T22" fmla="*/ 186 w 189"/>
                  <a:gd name="T23" fmla="*/ 80 h 90"/>
                  <a:gd name="T24" fmla="*/ 184 w 189"/>
                  <a:gd name="T25" fmla="*/ 68 h 90"/>
                  <a:gd name="T26" fmla="*/ 181 w 189"/>
                  <a:gd name="T27" fmla="*/ 57 h 90"/>
                  <a:gd name="T28" fmla="*/ 181 w 189"/>
                  <a:gd name="T29" fmla="*/ 45 h 90"/>
                  <a:gd name="T30" fmla="*/ 181 w 189"/>
                  <a:gd name="T31" fmla="*/ 33 h 90"/>
                  <a:gd name="T32" fmla="*/ 184 w 189"/>
                  <a:gd name="T33" fmla="*/ 22 h 90"/>
                  <a:gd name="T34" fmla="*/ 186 w 189"/>
                  <a:gd name="T35" fmla="*/ 11 h 90"/>
                  <a:gd name="T36" fmla="*/ 189 w 189"/>
                  <a:gd name="T37" fmla="*/ 0 h 90"/>
                  <a:gd name="T38" fmla="*/ 0 w 189"/>
                  <a:gd name="T3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" h="90">
                    <a:moveTo>
                      <a:pt x="0" y="0"/>
                    </a:moveTo>
                    <a:lnTo>
                      <a:pt x="0" y="75"/>
                    </a:lnTo>
                    <a:lnTo>
                      <a:pt x="1" y="79"/>
                    </a:lnTo>
                    <a:lnTo>
                      <a:pt x="2" y="81"/>
                    </a:lnTo>
                    <a:lnTo>
                      <a:pt x="3" y="84"/>
                    </a:lnTo>
                    <a:lnTo>
                      <a:pt x="6" y="86"/>
                    </a:lnTo>
                    <a:lnTo>
                      <a:pt x="8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9" y="90"/>
                    </a:lnTo>
                    <a:lnTo>
                      <a:pt x="186" y="80"/>
                    </a:lnTo>
                    <a:lnTo>
                      <a:pt x="184" y="68"/>
                    </a:lnTo>
                    <a:lnTo>
                      <a:pt x="181" y="57"/>
                    </a:lnTo>
                    <a:lnTo>
                      <a:pt x="181" y="45"/>
                    </a:lnTo>
                    <a:lnTo>
                      <a:pt x="181" y="33"/>
                    </a:lnTo>
                    <a:lnTo>
                      <a:pt x="184" y="22"/>
                    </a:lnTo>
                    <a:lnTo>
                      <a:pt x="186" y="11"/>
                    </a:lnTo>
                    <a:lnTo>
                      <a:pt x="18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21"/>
              <p:cNvSpPr>
                <a:spLocks/>
              </p:cNvSpPr>
              <p:nvPr/>
            </p:nvSpPr>
            <p:spPr bwMode="auto">
              <a:xfrm>
                <a:off x="1652588" y="2711450"/>
                <a:ext cx="66675" cy="68263"/>
              </a:xfrm>
              <a:custGeom>
                <a:avLst/>
                <a:gdLst>
                  <a:gd name="T0" fmla="*/ 94 w 210"/>
                  <a:gd name="T1" fmla="*/ 1 h 211"/>
                  <a:gd name="T2" fmla="*/ 74 w 210"/>
                  <a:gd name="T3" fmla="*/ 5 h 211"/>
                  <a:gd name="T4" fmla="*/ 55 w 210"/>
                  <a:gd name="T5" fmla="*/ 13 h 211"/>
                  <a:gd name="T6" fmla="*/ 39 w 210"/>
                  <a:gd name="T7" fmla="*/ 25 h 211"/>
                  <a:gd name="T8" fmla="*/ 24 w 210"/>
                  <a:gd name="T9" fmla="*/ 39 h 211"/>
                  <a:gd name="T10" fmla="*/ 13 w 210"/>
                  <a:gd name="T11" fmla="*/ 56 h 211"/>
                  <a:gd name="T12" fmla="*/ 4 w 210"/>
                  <a:gd name="T13" fmla="*/ 75 h 211"/>
                  <a:gd name="T14" fmla="*/ 0 w 210"/>
                  <a:gd name="T15" fmla="*/ 96 h 211"/>
                  <a:gd name="T16" fmla="*/ 0 w 210"/>
                  <a:gd name="T17" fmla="*/ 117 h 211"/>
                  <a:gd name="T18" fmla="*/ 4 w 210"/>
                  <a:gd name="T19" fmla="*/ 137 h 211"/>
                  <a:gd name="T20" fmla="*/ 13 w 210"/>
                  <a:gd name="T21" fmla="*/ 156 h 211"/>
                  <a:gd name="T22" fmla="*/ 24 w 210"/>
                  <a:gd name="T23" fmla="*/ 173 h 211"/>
                  <a:gd name="T24" fmla="*/ 39 w 210"/>
                  <a:gd name="T25" fmla="*/ 187 h 211"/>
                  <a:gd name="T26" fmla="*/ 55 w 210"/>
                  <a:gd name="T27" fmla="*/ 199 h 211"/>
                  <a:gd name="T28" fmla="*/ 74 w 210"/>
                  <a:gd name="T29" fmla="*/ 207 h 211"/>
                  <a:gd name="T30" fmla="*/ 94 w 210"/>
                  <a:gd name="T31" fmla="*/ 210 h 211"/>
                  <a:gd name="T32" fmla="*/ 116 w 210"/>
                  <a:gd name="T33" fmla="*/ 210 h 211"/>
                  <a:gd name="T34" fmla="*/ 136 w 210"/>
                  <a:gd name="T35" fmla="*/ 207 h 211"/>
                  <a:gd name="T36" fmla="*/ 155 w 210"/>
                  <a:gd name="T37" fmla="*/ 199 h 211"/>
                  <a:gd name="T38" fmla="*/ 173 w 210"/>
                  <a:gd name="T39" fmla="*/ 187 h 211"/>
                  <a:gd name="T40" fmla="*/ 187 w 210"/>
                  <a:gd name="T41" fmla="*/ 173 h 211"/>
                  <a:gd name="T42" fmla="*/ 198 w 210"/>
                  <a:gd name="T43" fmla="*/ 156 h 211"/>
                  <a:gd name="T44" fmla="*/ 206 w 210"/>
                  <a:gd name="T45" fmla="*/ 137 h 211"/>
                  <a:gd name="T46" fmla="*/ 210 w 210"/>
                  <a:gd name="T47" fmla="*/ 117 h 211"/>
                  <a:gd name="T48" fmla="*/ 210 w 210"/>
                  <a:gd name="T49" fmla="*/ 96 h 211"/>
                  <a:gd name="T50" fmla="*/ 206 w 210"/>
                  <a:gd name="T51" fmla="*/ 74 h 211"/>
                  <a:gd name="T52" fmla="*/ 198 w 210"/>
                  <a:gd name="T53" fmla="*/ 56 h 211"/>
                  <a:gd name="T54" fmla="*/ 187 w 210"/>
                  <a:gd name="T55" fmla="*/ 39 h 211"/>
                  <a:gd name="T56" fmla="*/ 173 w 210"/>
                  <a:gd name="T57" fmla="*/ 25 h 211"/>
                  <a:gd name="T58" fmla="*/ 155 w 210"/>
                  <a:gd name="T59" fmla="*/ 13 h 211"/>
                  <a:gd name="T60" fmla="*/ 136 w 210"/>
                  <a:gd name="T61" fmla="*/ 5 h 211"/>
                  <a:gd name="T62" fmla="*/ 116 w 210"/>
                  <a:gd name="T63" fmla="*/ 1 h 211"/>
                  <a:gd name="T64" fmla="*/ 105 w 210"/>
                  <a:gd name="T65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0" h="211">
                    <a:moveTo>
                      <a:pt x="105" y="0"/>
                    </a:moveTo>
                    <a:lnTo>
                      <a:pt x="94" y="1"/>
                    </a:lnTo>
                    <a:lnTo>
                      <a:pt x="84" y="2"/>
                    </a:lnTo>
                    <a:lnTo>
                      <a:pt x="74" y="5"/>
                    </a:lnTo>
                    <a:lnTo>
                      <a:pt x="64" y="9"/>
                    </a:lnTo>
                    <a:lnTo>
                      <a:pt x="55" y="13"/>
                    </a:lnTo>
                    <a:lnTo>
                      <a:pt x="46" y="18"/>
                    </a:lnTo>
                    <a:lnTo>
                      <a:pt x="39" y="25"/>
                    </a:lnTo>
                    <a:lnTo>
                      <a:pt x="31" y="31"/>
                    </a:lnTo>
                    <a:lnTo>
                      <a:pt x="24" y="39"/>
                    </a:lnTo>
                    <a:lnTo>
                      <a:pt x="18" y="47"/>
                    </a:lnTo>
                    <a:lnTo>
                      <a:pt x="13" y="56"/>
                    </a:lnTo>
                    <a:lnTo>
                      <a:pt x="9" y="64"/>
                    </a:lnTo>
                    <a:lnTo>
                      <a:pt x="4" y="75"/>
                    </a:lnTo>
                    <a:lnTo>
                      <a:pt x="2" y="85"/>
                    </a:lnTo>
                    <a:lnTo>
                      <a:pt x="0" y="96"/>
                    </a:lnTo>
                    <a:lnTo>
                      <a:pt x="0" y="106"/>
                    </a:lnTo>
                    <a:lnTo>
                      <a:pt x="0" y="117"/>
                    </a:lnTo>
                    <a:lnTo>
                      <a:pt x="2" y="127"/>
                    </a:lnTo>
                    <a:lnTo>
                      <a:pt x="4" y="137"/>
                    </a:lnTo>
                    <a:lnTo>
                      <a:pt x="9" y="147"/>
                    </a:lnTo>
                    <a:lnTo>
                      <a:pt x="13" y="156"/>
                    </a:lnTo>
                    <a:lnTo>
                      <a:pt x="18" y="165"/>
                    </a:lnTo>
                    <a:lnTo>
                      <a:pt x="24" y="173"/>
                    </a:lnTo>
                    <a:lnTo>
                      <a:pt x="31" y="180"/>
                    </a:lnTo>
                    <a:lnTo>
                      <a:pt x="39" y="187"/>
                    </a:lnTo>
                    <a:lnTo>
                      <a:pt x="46" y="193"/>
                    </a:lnTo>
                    <a:lnTo>
                      <a:pt x="55" y="199"/>
                    </a:lnTo>
                    <a:lnTo>
                      <a:pt x="64" y="203"/>
                    </a:lnTo>
                    <a:lnTo>
                      <a:pt x="74" y="207"/>
                    </a:lnTo>
                    <a:lnTo>
                      <a:pt x="84" y="209"/>
                    </a:lnTo>
                    <a:lnTo>
                      <a:pt x="94" y="210"/>
                    </a:lnTo>
                    <a:lnTo>
                      <a:pt x="105" y="211"/>
                    </a:lnTo>
                    <a:lnTo>
                      <a:pt x="116" y="210"/>
                    </a:lnTo>
                    <a:lnTo>
                      <a:pt x="127" y="209"/>
                    </a:lnTo>
                    <a:lnTo>
                      <a:pt x="136" y="207"/>
                    </a:lnTo>
                    <a:lnTo>
                      <a:pt x="146" y="203"/>
                    </a:lnTo>
                    <a:lnTo>
                      <a:pt x="155" y="199"/>
                    </a:lnTo>
                    <a:lnTo>
                      <a:pt x="164" y="193"/>
                    </a:lnTo>
                    <a:lnTo>
                      <a:pt x="173" y="187"/>
                    </a:lnTo>
                    <a:lnTo>
                      <a:pt x="180" y="180"/>
                    </a:lnTo>
                    <a:lnTo>
                      <a:pt x="187" y="173"/>
                    </a:lnTo>
                    <a:lnTo>
                      <a:pt x="193" y="165"/>
                    </a:lnTo>
                    <a:lnTo>
                      <a:pt x="198" y="156"/>
                    </a:lnTo>
                    <a:lnTo>
                      <a:pt x="203" y="147"/>
                    </a:lnTo>
                    <a:lnTo>
                      <a:pt x="206" y="137"/>
                    </a:lnTo>
                    <a:lnTo>
                      <a:pt x="208" y="127"/>
                    </a:lnTo>
                    <a:lnTo>
                      <a:pt x="210" y="117"/>
                    </a:lnTo>
                    <a:lnTo>
                      <a:pt x="210" y="106"/>
                    </a:lnTo>
                    <a:lnTo>
                      <a:pt x="210" y="96"/>
                    </a:lnTo>
                    <a:lnTo>
                      <a:pt x="208" y="85"/>
                    </a:lnTo>
                    <a:lnTo>
                      <a:pt x="206" y="74"/>
                    </a:lnTo>
                    <a:lnTo>
                      <a:pt x="203" y="64"/>
                    </a:lnTo>
                    <a:lnTo>
                      <a:pt x="198" y="56"/>
                    </a:lnTo>
                    <a:lnTo>
                      <a:pt x="193" y="47"/>
                    </a:lnTo>
                    <a:lnTo>
                      <a:pt x="187" y="39"/>
                    </a:lnTo>
                    <a:lnTo>
                      <a:pt x="180" y="31"/>
                    </a:lnTo>
                    <a:lnTo>
                      <a:pt x="173" y="25"/>
                    </a:lnTo>
                    <a:lnTo>
                      <a:pt x="164" y="18"/>
                    </a:lnTo>
                    <a:lnTo>
                      <a:pt x="155" y="13"/>
                    </a:lnTo>
                    <a:lnTo>
                      <a:pt x="146" y="9"/>
                    </a:lnTo>
                    <a:lnTo>
                      <a:pt x="136" y="5"/>
                    </a:lnTo>
                    <a:lnTo>
                      <a:pt x="127" y="2"/>
                    </a:lnTo>
                    <a:lnTo>
                      <a:pt x="116" y="1"/>
                    </a:lnTo>
                    <a:lnTo>
                      <a:pt x="105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522"/>
              <p:cNvSpPr>
                <a:spLocks/>
              </p:cNvSpPr>
              <p:nvPr/>
            </p:nvSpPr>
            <p:spPr bwMode="auto">
              <a:xfrm>
                <a:off x="1519238" y="2711450"/>
                <a:ext cx="66675" cy="68263"/>
              </a:xfrm>
              <a:custGeom>
                <a:avLst/>
                <a:gdLst>
                  <a:gd name="T0" fmla="*/ 95 w 211"/>
                  <a:gd name="T1" fmla="*/ 1 h 211"/>
                  <a:gd name="T2" fmla="*/ 74 w 211"/>
                  <a:gd name="T3" fmla="*/ 5 h 211"/>
                  <a:gd name="T4" fmla="*/ 55 w 211"/>
                  <a:gd name="T5" fmla="*/ 13 h 211"/>
                  <a:gd name="T6" fmla="*/ 39 w 211"/>
                  <a:gd name="T7" fmla="*/ 25 h 211"/>
                  <a:gd name="T8" fmla="*/ 24 w 211"/>
                  <a:gd name="T9" fmla="*/ 39 h 211"/>
                  <a:gd name="T10" fmla="*/ 13 w 211"/>
                  <a:gd name="T11" fmla="*/ 56 h 211"/>
                  <a:gd name="T12" fmla="*/ 5 w 211"/>
                  <a:gd name="T13" fmla="*/ 75 h 211"/>
                  <a:gd name="T14" fmla="*/ 0 w 211"/>
                  <a:gd name="T15" fmla="*/ 96 h 211"/>
                  <a:gd name="T16" fmla="*/ 0 w 211"/>
                  <a:gd name="T17" fmla="*/ 117 h 211"/>
                  <a:gd name="T18" fmla="*/ 5 w 211"/>
                  <a:gd name="T19" fmla="*/ 137 h 211"/>
                  <a:gd name="T20" fmla="*/ 13 w 211"/>
                  <a:gd name="T21" fmla="*/ 156 h 211"/>
                  <a:gd name="T22" fmla="*/ 24 w 211"/>
                  <a:gd name="T23" fmla="*/ 173 h 211"/>
                  <a:gd name="T24" fmla="*/ 39 w 211"/>
                  <a:gd name="T25" fmla="*/ 187 h 211"/>
                  <a:gd name="T26" fmla="*/ 55 w 211"/>
                  <a:gd name="T27" fmla="*/ 199 h 211"/>
                  <a:gd name="T28" fmla="*/ 74 w 211"/>
                  <a:gd name="T29" fmla="*/ 207 h 211"/>
                  <a:gd name="T30" fmla="*/ 95 w 211"/>
                  <a:gd name="T31" fmla="*/ 210 h 211"/>
                  <a:gd name="T32" fmla="*/ 116 w 211"/>
                  <a:gd name="T33" fmla="*/ 210 h 211"/>
                  <a:gd name="T34" fmla="*/ 137 w 211"/>
                  <a:gd name="T35" fmla="*/ 207 h 211"/>
                  <a:gd name="T36" fmla="*/ 156 w 211"/>
                  <a:gd name="T37" fmla="*/ 199 h 211"/>
                  <a:gd name="T38" fmla="*/ 173 w 211"/>
                  <a:gd name="T39" fmla="*/ 187 h 211"/>
                  <a:gd name="T40" fmla="*/ 187 w 211"/>
                  <a:gd name="T41" fmla="*/ 173 h 211"/>
                  <a:gd name="T42" fmla="*/ 199 w 211"/>
                  <a:gd name="T43" fmla="*/ 156 h 211"/>
                  <a:gd name="T44" fmla="*/ 206 w 211"/>
                  <a:gd name="T45" fmla="*/ 137 h 211"/>
                  <a:gd name="T46" fmla="*/ 211 w 211"/>
                  <a:gd name="T47" fmla="*/ 117 h 211"/>
                  <a:gd name="T48" fmla="*/ 211 w 211"/>
                  <a:gd name="T49" fmla="*/ 96 h 211"/>
                  <a:gd name="T50" fmla="*/ 206 w 211"/>
                  <a:gd name="T51" fmla="*/ 74 h 211"/>
                  <a:gd name="T52" fmla="*/ 199 w 211"/>
                  <a:gd name="T53" fmla="*/ 56 h 211"/>
                  <a:gd name="T54" fmla="*/ 187 w 211"/>
                  <a:gd name="T55" fmla="*/ 39 h 211"/>
                  <a:gd name="T56" fmla="*/ 173 w 211"/>
                  <a:gd name="T57" fmla="*/ 25 h 211"/>
                  <a:gd name="T58" fmla="*/ 156 w 211"/>
                  <a:gd name="T59" fmla="*/ 13 h 211"/>
                  <a:gd name="T60" fmla="*/ 137 w 211"/>
                  <a:gd name="T61" fmla="*/ 5 h 211"/>
                  <a:gd name="T62" fmla="*/ 116 w 211"/>
                  <a:gd name="T63" fmla="*/ 1 h 211"/>
                  <a:gd name="T64" fmla="*/ 106 w 211"/>
                  <a:gd name="T65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1" h="211">
                    <a:moveTo>
                      <a:pt x="106" y="0"/>
                    </a:moveTo>
                    <a:lnTo>
                      <a:pt x="95" y="1"/>
                    </a:lnTo>
                    <a:lnTo>
                      <a:pt x="84" y="2"/>
                    </a:lnTo>
                    <a:lnTo>
                      <a:pt x="74" y="5"/>
                    </a:lnTo>
                    <a:lnTo>
                      <a:pt x="65" y="9"/>
                    </a:lnTo>
                    <a:lnTo>
                      <a:pt x="55" y="13"/>
                    </a:lnTo>
                    <a:lnTo>
                      <a:pt x="47" y="18"/>
                    </a:lnTo>
                    <a:lnTo>
                      <a:pt x="39" y="25"/>
                    </a:lnTo>
                    <a:lnTo>
                      <a:pt x="32" y="31"/>
                    </a:lnTo>
                    <a:lnTo>
                      <a:pt x="24" y="39"/>
                    </a:lnTo>
                    <a:lnTo>
                      <a:pt x="19" y="47"/>
                    </a:lnTo>
                    <a:lnTo>
                      <a:pt x="13" y="56"/>
                    </a:lnTo>
                    <a:lnTo>
                      <a:pt x="9" y="64"/>
                    </a:lnTo>
                    <a:lnTo>
                      <a:pt x="5" y="75"/>
                    </a:lnTo>
                    <a:lnTo>
                      <a:pt x="3" y="85"/>
                    </a:lnTo>
                    <a:lnTo>
                      <a:pt x="0" y="96"/>
                    </a:lnTo>
                    <a:lnTo>
                      <a:pt x="0" y="106"/>
                    </a:lnTo>
                    <a:lnTo>
                      <a:pt x="0" y="117"/>
                    </a:lnTo>
                    <a:lnTo>
                      <a:pt x="3" y="127"/>
                    </a:lnTo>
                    <a:lnTo>
                      <a:pt x="5" y="137"/>
                    </a:lnTo>
                    <a:lnTo>
                      <a:pt x="9" y="147"/>
                    </a:lnTo>
                    <a:lnTo>
                      <a:pt x="13" y="156"/>
                    </a:lnTo>
                    <a:lnTo>
                      <a:pt x="19" y="165"/>
                    </a:lnTo>
                    <a:lnTo>
                      <a:pt x="24" y="173"/>
                    </a:lnTo>
                    <a:lnTo>
                      <a:pt x="32" y="180"/>
                    </a:lnTo>
                    <a:lnTo>
                      <a:pt x="39" y="187"/>
                    </a:lnTo>
                    <a:lnTo>
                      <a:pt x="47" y="193"/>
                    </a:lnTo>
                    <a:lnTo>
                      <a:pt x="55" y="199"/>
                    </a:lnTo>
                    <a:lnTo>
                      <a:pt x="65" y="203"/>
                    </a:lnTo>
                    <a:lnTo>
                      <a:pt x="74" y="207"/>
                    </a:lnTo>
                    <a:lnTo>
                      <a:pt x="84" y="209"/>
                    </a:lnTo>
                    <a:lnTo>
                      <a:pt x="95" y="210"/>
                    </a:lnTo>
                    <a:lnTo>
                      <a:pt x="106" y="211"/>
                    </a:lnTo>
                    <a:lnTo>
                      <a:pt x="116" y="210"/>
                    </a:lnTo>
                    <a:lnTo>
                      <a:pt x="127" y="209"/>
                    </a:lnTo>
                    <a:lnTo>
                      <a:pt x="137" y="207"/>
                    </a:lnTo>
                    <a:lnTo>
                      <a:pt x="146" y="203"/>
                    </a:lnTo>
                    <a:lnTo>
                      <a:pt x="156" y="199"/>
                    </a:lnTo>
                    <a:lnTo>
                      <a:pt x="165" y="193"/>
                    </a:lnTo>
                    <a:lnTo>
                      <a:pt x="173" y="187"/>
                    </a:lnTo>
                    <a:lnTo>
                      <a:pt x="181" y="180"/>
                    </a:lnTo>
                    <a:lnTo>
                      <a:pt x="187" y="173"/>
                    </a:lnTo>
                    <a:lnTo>
                      <a:pt x="194" y="165"/>
                    </a:lnTo>
                    <a:lnTo>
                      <a:pt x="199" y="156"/>
                    </a:lnTo>
                    <a:lnTo>
                      <a:pt x="203" y="147"/>
                    </a:lnTo>
                    <a:lnTo>
                      <a:pt x="206" y="137"/>
                    </a:lnTo>
                    <a:lnTo>
                      <a:pt x="209" y="127"/>
                    </a:lnTo>
                    <a:lnTo>
                      <a:pt x="211" y="117"/>
                    </a:lnTo>
                    <a:lnTo>
                      <a:pt x="211" y="106"/>
                    </a:lnTo>
                    <a:lnTo>
                      <a:pt x="211" y="96"/>
                    </a:lnTo>
                    <a:lnTo>
                      <a:pt x="209" y="85"/>
                    </a:lnTo>
                    <a:lnTo>
                      <a:pt x="206" y="74"/>
                    </a:lnTo>
                    <a:lnTo>
                      <a:pt x="203" y="64"/>
                    </a:lnTo>
                    <a:lnTo>
                      <a:pt x="199" y="56"/>
                    </a:lnTo>
                    <a:lnTo>
                      <a:pt x="194" y="47"/>
                    </a:lnTo>
                    <a:lnTo>
                      <a:pt x="187" y="39"/>
                    </a:lnTo>
                    <a:lnTo>
                      <a:pt x="181" y="31"/>
                    </a:lnTo>
                    <a:lnTo>
                      <a:pt x="173" y="25"/>
                    </a:lnTo>
                    <a:lnTo>
                      <a:pt x="165" y="18"/>
                    </a:lnTo>
                    <a:lnTo>
                      <a:pt x="156" y="13"/>
                    </a:lnTo>
                    <a:lnTo>
                      <a:pt x="146" y="9"/>
                    </a:lnTo>
                    <a:lnTo>
                      <a:pt x="137" y="5"/>
                    </a:lnTo>
                    <a:lnTo>
                      <a:pt x="127" y="2"/>
                    </a:lnTo>
                    <a:lnTo>
                      <a:pt x="116" y="1"/>
                    </a:lnTo>
                    <a:lnTo>
                      <a:pt x="106" y="0"/>
                    </a:lnTo>
                    <a:lnTo>
                      <a:pt x="10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3" name="Text Placeholder 2"/>
          <p:cNvSpPr txBox="1">
            <a:spLocks/>
          </p:cNvSpPr>
          <p:nvPr/>
        </p:nvSpPr>
        <p:spPr>
          <a:xfrm>
            <a:off x="826809" y="1657888"/>
            <a:ext cx="3427830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04" name="Text Placeholder 2"/>
          <p:cNvSpPr txBox="1">
            <a:spLocks/>
          </p:cNvSpPr>
          <p:nvPr/>
        </p:nvSpPr>
        <p:spPr>
          <a:xfrm>
            <a:off x="8979800" y="2091934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06" name="Text Placeholder 2"/>
          <p:cNvSpPr txBox="1">
            <a:spLocks/>
          </p:cNvSpPr>
          <p:nvPr/>
        </p:nvSpPr>
        <p:spPr>
          <a:xfrm>
            <a:off x="8977783" y="2400730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7" name="Text Placeholder 2"/>
          <p:cNvSpPr txBox="1">
            <a:spLocks/>
          </p:cNvSpPr>
          <p:nvPr/>
        </p:nvSpPr>
        <p:spPr>
          <a:xfrm>
            <a:off x="7689967" y="3110315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08" name="Text Placeholder 2"/>
          <p:cNvSpPr txBox="1">
            <a:spLocks/>
          </p:cNvSpPr>
          <p:nvPr/>
        </p:nvSpPr>
        <p:spPr>
          <a:xfrm>
            <a:off x="7687950" y="3419111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09" name="Text Placeholder 2"/>
          <p:cNvSpPr txBox="1">
            <a:spLocks/>
          </p:cNvSpPr>
          <p:nvPr/>
        </p:nvSpPr>
        <p:spPr>
          <a:xfrm>
            <a:off x="6380784" y="4116726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0" name="Text Placeholder 2"/>
          <p:cNvSpPr txBox="1">
            <a:spLocks/>
          </p:cNvSpPr>
          <p:nvPr/>
        </p:nvSpPr>
        <p:spPr>
          <a:xfrm>
            <a:off x="6378767" y="4425522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11" name="Text Placeholder 2"/>
          <p:cNvSpPr txBox="1">
            <a:spLocks/>
          </p:cNvSpPr>
          <p:nvPr/>
        </p:nvSpPr>
        <p:spPr>
          <a:xfrm>
            <a:off x="5096272" y="5127452"/>
            <a:ext cx="125636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2" name="Text Placeholder 2"/>
          <p:cNvSpPr txBox="1">
            <a:spLocks/>
          </p:cNvSpPr>
          <p:nvPr/>
        </p:nvSpPr>
        <p:spPr>
          <a:xfrm>
            <a:off x="5094255" y="5436248"/>
            <a:ext cx="2407583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</a:t>
            </a:r>
          </a:p>
        </p:txBody>
      </p:sp>
      <p:sp>
        <p:nvSpPr>
          <p:cNvPr id="113" name="Freeform 7"/>
          <p:cNvSpPr>
            <a:spLocks/>
          </p:cNvSpPr>
          <p:nvPr/>
        </p:nvSpPr>
        <p:spPr bwMode="auto">
          <a:xfrm>
            <a:off x="10781752" y="5001347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8"/>
          <p:cNvSpPr>
            <a:spLocks/>
          </p:cNvSpPr>
          <p:nvPr/>
        </p:nvSpPr>
        <p:spPr bwMode="auto">
          <a:xfrm>
            <a:off x="8212883" y="5908050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9"/>
          <p:cNvSpPr>
            <a:spLocks/>
          </p:cNvSpPr>
          <p:nvPr/>
        </p:nvSpPr>
        <p:spPr bwMode="auto">
          <a:xfrm>
            <a:off x="9427288" y="5637653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13"/>
          <p:cNvSpPr>
            <a:spLocks/>
          </p:cNvSpPr>
          <p:nvPr/>
        </p:nvSpPr>
        <p:spPr bwMode="auto">
          <a:xfrm>
            <a:off x="11273234" y="6156922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14"/>
          <p:cNvSpPr>
            <a:spLocks/>
          </p:cNvSpPr>
          <p:nvPr/>
        </p:nvSpPr>
        <p:spPr bwMode="auto">
          <a:xfrm>
            <a:off x="9171688" y="6236293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15"/>
          <p:cNvSpPr>
            <a:spLocks/>
          </p:cNvSpPr>
          <p:nvPr/>
        </p:nvSpPr>
        <p:spPr bwMode="auto">
          <a:xfrm>
            <a:off x="8983352" y="6325079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51"/>
          <p:cNvSpPr>
            <a:spLocks/>
          </p:cNvSpPr>
          <p:nvPr/>
        </p:nvSpPr>
        <p:spPr bwMode="auto">
          <a:xfrm>
            <a:off x="9763778" y="6490908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51"/>
          <p:cNvSpPr>
            <a:spLocks/>
          </p:cNvSpPr>
          <p:nvPr/>
        </p:nvSpPr>
        <p:spPr bwMode="auto">
          <a:xfrm>
            <a:off x="8616906" y="6490908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51"/>
          <p:cNvSpPr>
            <a:spLocks/>
          </p:cNvSpPr>
          <p:nvPr/>
        </p:nvSpPr>
        <p:spPr bwMode="auto">
          <a:xfrm>
            <a:off x="10959405" y="6490907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/>
          <p:cNvSpPr>
            <a:spLocks/>
          </p:cNvSpPr>
          <p:nvPr/>
        </p:nvSpPr>
        <p:spPr bwMode="auto">
          <a:xfrm>
            <a:off x="11360415" y="6490908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694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564366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7" name="Snip Single Corner Rectangle 106"/>
          <p:cNvSpPr/>
          <p:nvPr/>
        </p:nvSpPr>
        <p:spPr>
          <a:xfrm>
            <a:off x="6616769" y="938792"/>
            <a:ext cx="1039410" cy="4877802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122141">
                  <a:alpha val="50000"/>
                </a:srgbClr>
              </a:gs>
              <a:gs pos="0">
                <a:srgbClr val="125680">
                  <a:alpha val="50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Snip Single Corner Rectangle 107"/>
          <p:cNvSpPr/>
          <p:nvPr/>
        </p:nvSpPr>
        <p:spPr>
          <a:xfrm>
            <a:off x="9555633" y="938792"/>
            <a:ext cx="1039410" cy="4877802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122141">
                  <a:alpha val="50000"/>
                </a:srgbClr>
              </a:gs>
              <a:gs pos="0">
                <a:srgbClr val="125680">
                  <a:alpha val="50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Rectangle 48"/>
          <p:cNvSpPr>
            <a:spLocks noChangeArrowheads="1"/>
          </p:cNvSpPr>
          <p:nvPr/>
        </p:nvSpPr>
        <p:spPr bwMode="auto">
          <a:xfrm>
            <a:off x="3110" y="5643660"/>
            <a:ext cx="12188890" cy="1214340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613850" y="4869259"/>
            <a:ext cx="1559618" cy="774401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851965" y="415446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8"/>
          <p:cNvSpPr>
            <a:spLocks/>
          </p:cNvSpPr>
          <p:nvPr/>
        </p:nvSpPr>
        <p:spPr bwMode="auto">
          <a:xfrm>
            <a:off x="4276988" y="506116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4"/>
          <p:cNvSpPr>
            <a:spLocks/>
          </p:cNvSpPr>
          <p:nvPr/>
        </p:nvSpPr>
        <p:spPr bwMode="auto">
          <a:xfrm>
            <a:off x="2194531" y="5389407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8"/>
          <p:cNvSpPr>
            <a:spLocks/>
          </p:cNvSpPr>
          <p:nvPr/>
        </p:nvSpPr>
        <p:spPr bwMode="auto">
          <a:xfrm>
            <a:off x="3176568" y="5137844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9"/>
          <p:cNvSpPr>
            <a:spLocks/>
          </p:cNvSpPr>
          <p:nvPr/>
        </p:nvSpPr>
        <p:spPr bwMode="auto">
          <a:xfrm>
            <a:off x="-180080" y="5643660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50"/>
          <p:cNvSpPr>
            <a:spLocks/>
          </p:cNvSpPr>
          <p:nvPr/>
        </p:nvSpPr>
        <p:spPr bwMode="auto">
          <a:xfrm>
            <a:off x="1224601" y="5643660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51"/>
          <p:cNvSpPr>
            <a:spLocks/>
          </p:cNvSpPr>
          <p:nvPr/>
        </p:nvSpPr>
        <p:spPr bwMode="auto">
          <a:xfrm>
            <a:off x="4342457" y="5643660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56"/>
          <p:cNvSpPr>
            <a:spLocks/>
          </p:cNvSpPr>
          <p:nvPr/>
        </p:nvSpPr>
        <p:spPr bwMode="auto">
          <a:xfrm>
            <a:off x="3265355" y="5643660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21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4"/>
            <p:cNvSpPr>
              <a:spLocks noChangeArrowheads="1"/>
            </p:cNvSpPr>
            <p:nvPr/>
          </p:nvSpPr>
          <p:spPr bwMode="auto">
            <a:xfrm>
              <a:off x="2936214" y="4258356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Freeform 15"/>
          <p:cNvSpPr>
            <a:spLocks/>
          </p:cNvSpPr>
          <p:nvPr/>
        </p:nvSpPr>
        <p:spPr bwMode="auto">
          <a:xfrm>
            <a:off x="2006195" y="5478193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8760888" y="5816594"/>
            <a:ext cx="2628900" cy="454024"/>
          </a:xfrm>
          <a:custGeom>
            <a:avLst/>
            <a:gdLst>
              <a:gd name="T0" fmla="*/ 349 w 698"/>
              <a:gd name="T1" fmla="*/ 0 h 118"/>
              <a:gd name="T2" fmla="*/ 0 w 698"/>
              <a:gd name="T3" fmla="*/ 0 h 118"/>
              <a:gd name="T4" fmla="*/ 80 w 698"/>
              <a:gd name="T5" fmla="*/ 86 h 118"/>
              <a:gd name="T6" fmla="*/ 155 w 698"/>
              <a:gd name="T7" fmla="*/ 118 h 118"/>
              <a:gd name="T8" fmla="*/ 349 w 698"/>
              <a:gd name="T9" fmla="*/ 118 h 118"/>
              <a:gd name="T10" fmla="*/ 543 w 698"/>
              <a:gd name="T11" fmla="*/ 118 h 118"/>
              <a:gd name="T12" fmla="*/ 618 w 698"/>
              <a:gd name="T13" fmla="*/ 86 h 118"/>
              <a:gd name="T14" fmla="*/ 698 w 698"/>
              <a:gd name="T15" fmla="*/ 0 h 118"/>
              <a:gd name="T16" fmla="*/ 349 w 698"/>
              <a:gd name="T1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8" h="118">
                <a:moveTo>
                  <a:pt x="349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86"/>
                  <a:pt x="80" y="86"/>
                  <a:pt x="80" y="86"/>
                </a:cubicBezTo>
                <a:cubicBezTo>
                  <a:pt x="99" y="106"/>
                  <a:pt x="126" y="118"/>
                  <a:pt x="155" y="118"/>
                </a:cubicBezTo>
                <a:cubicBezTo>
                  <a:pt x="349" y="118"/>
                  <a:pt x="349" y="118"/>
                  <a:pt x="349" y="118"/>
                </a:cubicBezTo>
                <a:cubicBezTo>
                  <a:pt x="543" y="118"/>
                  <a:pt x="543" y="118"/>
                  <a:pt x="543" y="118"/>
                </a:cubicBezTo>
                <a:cubicBezTo>
                  <a:pt x="572" y="118"/>
                  <a:pt x="599" y="106"/>
                  <a:pt x="618" y="86"/>
                </a:cubicBezTo>
                <a:cubicBezTo>
                  <a:pt x="698" y="0"/>
                  <a:pt x="698" y="0"/>
                  <a:pt x="698" y="0"/>
                </a:cubicBezTo>
                <a:lnTo>
                  <a:pt x="349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18"/>
          <p:cNvSpPr>
            <a:spLocks/>
          </p:cNvSpPr>
          <p:nvPr/>
        </p:nvSpPr>
        <p:spPr bwMode="auto">
          <a:xfrm>
            <a:off x="-414400" y="4606467"/>
            <a:ext cx="2093698" cy="1037193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 flipV="1">
            <a:off x="8929766" y="6265734"/>
            <a:ext cx="2291144" cy="395692"/>
          </a:xfrm>
          <a:custGeom>
            <a:avLst/>
            <a:gdLst>
              <a:gd name="T0" fmla="*/ 349 w 698"/>
              <a:gd name="T1" fmla="*/ 0 h 118"/>
              <a:gd name="T2" fmla="*/ 0 w 698"/>
              <a:gd name="T3" fmla="*/ 0 h 118"/>
              <a:gd name="T4" fmla="*/ 80 w 698"/>
              <a:gd name="T5" fmla="*/ 86 h 118"/>
              <a:gd name="T6" fmla="*/ 155 w 698"/>
              <a:gd name="T7" fmla="*/ 118 h 118"/>
              <a:gd name="T8" fmla="*/ 349 w 698"/>
              <a:gd name="T9" fmla="*/ 118 h 118"/>
              <a:gd name="T10" fmla="*/ 543 w 698"/>
              <a:gd name="T11" fmla="*/ 118 h 118"/>
              <a:gd name="T12" fmla="*/ 618 w 698"/>
              <a:gd name="T13" fmla="*/ 86 h 118"/>
              <a:gd name="T14" fmla="*/ 698 w 698"/>
              <a:gd name="T15" fmla="*/ 0 h 118"/>
              <a:gd name="T16" fmla="*/ 349 w 698"/>
              <a:gd name="T1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8" h="118">
                <a:moveTo>
                  <a:pt x="349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86"/>
                  <a:pt x="80" y="86"/>
                  <a:pt x="80" y="86"/>
                </a:cubicBezTo>
                <a:cubicBezTo>
                  <a:pt x="99" y="106"/>
                  <a:pt x="126" y="118"/>
                  <a:pt x="155" y="118"/>
                </a:cubicBezTo>
                <a:cubicBezTo>
                  <a:pt x="349" y="118"/>
                  <a:pt x="349" y="118"/>
                  <a:pt x="349" y="118"/>
                </a:cubicBezTo>
                <a:cubicBezTo>
                  <a:pt x="543" y="118"/>
                  <a:pt x="543" y="118"/>
                  <a:pt x="543" y="118"/>
                </a:cubicBezTo>
                <a:cubicBezTo>
                  <a:pt x="572" y="118"/>
                  <a:pt x="599" y="106"/>
                  <a:pt x="618" y="86"/>
                </a:cubicBezTo>
                <a:cubicBezTo>
                  <a:pt x="698" y="0"/>
                  <a:pt x="698" y="0"/>
                  <a:pt x="698" y="0"/>
                </a:cubicBezTo>
                <a:lnTo>
                  <a:pt x="349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5822024" y="5816594"/>
            <a:ext cx="2628900" cy="454024"/>
          </a:xfrm>
          <a:custGeom>
            <a:avLst/>
            <a:gdLst>
              <a:gd name="T0" fmla="*/ 349 w 698"/>
              <a:gd name="T1" fmla="*/ 0 h 118"/>
              <a:gd name="T2" fmla="*/ 0 w 698"/>
              <a:gd name="T3" fmla="*/ 0 h 118"/>
              <a:gd name="T4" fmla="*/ 80 w 698"/>
              <a:gd name="T5" fmla="*/ 86 h 118"/>
              <a:gd name="T6" fmla="*/ 155 w 698"/>
              <a:gd name="T7" fmla="*/ 118 h 118"/>
              <a:gd name="T8" fmla="*/ 349 w 698"/>
              <a:gd name="T9" fmla="*/ 118 h 118"/>
              <a:gd name="T10" fmla="*/ 543 w 698"/>
              <a:gd name="T11" fmla="*/ 118 h 118"/>
              <a:gd name="T12" fmla="*/ 618 w 698"/>
              <a:gd name="T13" fmla="*/ 86 h 118"/>
              <a:gd name="T14" fmla="*/ 698 w 698"/>
              <a:gd name="T15" fmla="*/ 0 h 118"/>
              <a:gd name="T16" fmla="*/ 349 w 698"/>
              <a:gd name="T1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8" h="118">
                <a:moveTo>
                  <a:pt x="349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86"/>
                  <a:pt x="80" y="86"/>
                  <a:pt x="80" y="86"/>
                </a:cubicBezTo>
                <a:cubicBezTo>
                  <a:pt x="99" y="106"/>
                  <a:pt x="126" y="118"/>
                  <a:pt x="155" y="118"/>
                </a:cubicBezTo>
                <a:cubicBezTo>
                  <a:pt x="349" y="118"/>
                  <a:pt x="349" y="118"/>
                  <a:pt x="349" y="118"/>
                </a:cubicBezTo>
                <a:cubicBezTo>
                  <a:pt x="543" y="118"/>
                  <a:pt x="543" y="118"/>
                  <a:pt x="543" y="118"/>
                </a:cubicBezTo>
                <a:cubicBezTo>
                  <a:pt x="572" y="118"/>
                  <a:pt x="599" y="106"/>
                  <a:pt x="618" y="86"/>
                </a:cubicBezTo>
                <a:cubicBezTo>
                  <a:pt x="698" y="0"/>
                  <a:pt x="698" y="0"/>
                  <a:pt x="698" y="0"/>
                </a:cubicBezTo>
                <a:lnTo>
                  <a:pt x="349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 flipV="1">
            <a:off x="5990902" y="6265734"/>
            <a:ext cx="2291144" cy="395692"/>
          </a:xfrm>
          <a:custGeom>
            <a:avLst/>
            <a:gdLst>
              <a:gd name="T0" fmla="*/ 349 w 698"/>
              <a:gd name="T1" fmla="*/ 0 h 118"/>
              <a:gd name="T2" fmla="*/ 0 w 698"/>
              <a:gd name="T3" fmla="*/ 0 h 118"/>
              <a:gd name="T4" fmla="*/ 80 w 698"/>
              <a:gd name="T5" fmla="*/ 86 h 118"/>
              <a:gd name="T6" fmla="*/ 155 w 698"/>
              <a:gd name="T7" fmla="*/ 118 h 118"/>
              <a:gd name="T8" fmla="*/ 349 w 698"/>
              <a:gd name="T9" fmla="*/ 118 h 118"/>
              <a:gd name="T10" fmla="*/ 543 w 698"/>
              <a:gd name="T11" fmla="*/ 118 h 118"/>
              <a:gd name="T12" fmla="*/ 618 w 698"/>
              <a:gd name="T13" fmla="*/ 86 h 118"/>
              <a:gd name="T14" fmla="*/ 698 w 698"/>
              <a:gd name="T15" fmla="*/ 0 h 118"/>
              <a:gd name="T16" fmla="*/ 349 w 698"/>
              <a:gd name="T1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8" h="118">
                <a:moveTo>
                  <a:pt x="349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86"/>
                  <a:pt x="80" y="86"/>
                  <a:pt x="80" y="86"/>
                </a:cubicBezTo>
                <a:cubicBezTo>
                  <a:pt x="99" y="106"/>
                  <a:pt x="126" y="118"/>
                  <a:pt x="155" y="118"/>
                </a:cubicBezTo>
                <a:cubicBezTo>
                  <a:pt x="349" y="118"/>
                  <a:pt x="349" y="118"/>
                  <a:pt x="349" y="118"/>
                </a:cubicBezTo>
                <a:cubicBezTo>
                  <a:pt x="543" y="118"/>
                  <a:pt x="543" y="118"/>
                  <a:pt x="543" y="118"/>
                </a:cubicBezTo>
                <a:cubicBezTo>
                  <a:pt x="572" y="118"/>
                  <a:pt x="599" y="106"/>
                  <a:pt x="618" y="86"/>
                </a:cubicBezTo>
                <a:cubicBezTo>
                  <a:pt x="698" y="0"/>
                  <a:pt x="698" y="0"/>
                  <a:pt x="698" y="0"/>
                </a:cubicBezTo>
                <a:lnTo>
                  <a:pt x="349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826809" y="589490"/>
            <a:ext cx="1631024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CHART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6158558" y="940089"/>
            <a:ext cx="1955832" cy="4500118"/>
            <a:chOff x="5823843" y="1919577"/>
            <a:chExt cx="2625262" cy="3520630"/>
          </a:xfrm>
        </p:grpSpPr>
        <p:cxnSp>
          <p:nvCxnSpPr>
            <p:cNvPr id="58" name="Straight Connector 57"/>
            <p:cNvCxnSpPr/>
            <p:nvPr/>
          </p:nvCxnSpPr>
          <p:spPr>
            <a:xfrm>
              <a:off x="5823843" y="544020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5823843" y="5049025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5823843" y="4657844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5823843" y="4266663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5823843" y="3875482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5823843" y="3484301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>
              <a:off x="5823843" y="3093120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5823843" y="2701939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5823843" y="2310758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5823843" y="191957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Snip Single Corner Rectangle 54"/>
          <p:cNvSpPr/>
          <p:nvPr/>
        </p:nvSpPr>
        <p:spPr>
          <a:xfrm>
            <a:off x="6616769" y="3124538"/>
            <a:ext cx="1039410" cy="2692056"/>
          </a:xfrm>
          <a:prstGeom prst="snip1Rect">
            <a:avLst>
              <a:gd name="adj" fmla="val 50000"/>
            </a:avLst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9097422" y="940089"/>
            <a:ext cx="1955832" cy="4500118"/>
            <a:chOff x="5823843" y="1919577"/>
            <a:chExt cx="2625262" cy="3520630"/>
          </a:xfrm>
        </p:grpSpPr>
        <p:cxnSp>
          <p:nvCxnSpPr>
            <p:cNvPr id="71" name="Straight Connector 70"/>
            <p:cNvCxnSpPr/>
            <p:nvPr/>
          </p:nvCxnSpPr>
          <p:spPr>
            <a:xfrm>
              <a:off x="5823843" y="544020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>
              <a:off x="5823843" y="5049025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5823843" y="4657844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5823843" y="4266663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5823843" y="3875482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5823843" y="3484301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5823843" y="3093120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5823843" y="2701939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5823843" y="2310758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5823843" y="191957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Snip Single Corner Rectangle 55"/>
          <p:cNvSpPr/>
          <p:nvPr/>
        </p:nvSpPr>
        <p:spPr>
          <a:xfrm>
            <a:off x="9555633" y="1169815"/>
            <a:ext cx="1039410" cy="4646779"/>
          </a:xfrm>
          <a:prstGeom prst="snip1Rect">
            <a:avLst>
              <a:gd name="adj" fmla="val 50000"/>
            </a:avLst>
          </a:pr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814271" y="5324275"/>
            <a:ext cx="644407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2800" dirty="0">
                <a:solidFill>
                  <a:srgbClr val="F6443B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520</a:t>
            </a:r>
            <a:endParaRPr lang="en-US" sz="2800" dirty="0">
              <a:solidFill>
                <a:srgbClr val="F6443B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9753135" y="5324275"/>
            <a:ext cx="644407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2800" dirty="0">
                <a:solidFill>
                  <a:srgbClr val="F6443B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930</a:t>
            </a:r>
            <a:endParaRPr lang="en-US" sz="2800" dirty="0">
              <a:solidFill>
                <a:srgbClr val="F6443B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826809" y="1615946"/>
            <a:ext cx="4588265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Lorem Ipsum is simply dummy text of the printing and typesetting industry. Lorem Ipsum has been the industry's standard dummy text ever since the 1500s, when an unknown printer took a galley of type and scrambled it to make a type specimen book.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9692175" y="1297454"/>
            <a:ext cx="339677" cy="339677"/>
            <a:chOff x="4319588" y="2492375"/>
            <a:chExt cx="287338" cy="287338"/>
          </a:xfrm>
          <a:solidFill>
            <a:schemeClr val="bg1"/>
          </a:solidFill>
          <a:effectLst/>
        </p:grpSpPr>
        <p:sp>
          <p:nvSpPr>
            <p:cNvPr id="86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solidFill>
              <a:srgbClr val="125680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solidFill>
              <a:srgbClr val="125680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Freeform 4347"/>
          <p:cNvSpPr>
            <a:spLocks/>
          </p:cNvSpPr>
          <p:nvPr/>
        </p:nvSpPr>
        <p:spPr bwMode="auto">
          <a:xfrm>
            <a:off x="6789763" y="3311983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826810" y="3394856"/>
            <a:ext cx="1955358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Lorem Ipsum is simply dummy text of the printing and typesetting industry.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459716" y="3394856"/>
            <a:ext cx="1955358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Lorem Ipsum is simply dummy text of the printing and typesetting industry.</a:t>
            </a:r>
          </a:p>
        </p:txBody>
      </p:sp>
      <p:sp>
        <p:nvSpPr>
          <p:cNvPr id="101" name="Freeform 4347"/>
          <p:cNvSpPr>
            <a:spLocks/>
          </p:cNvSpPr>
          <p:nvPr/>
        </p:nvSpPr>
        <p:spPr bwMode="auto">
          <a:xfrm>
            <a:off x="814298" y="3001688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2" name="Group 101"/>
          <p:cNvGrpSpPr/>
          <p:nvPr/>
        </p:nvGrpSpPr>
        <p:grpSpPr>
          <a:xfrm>
            <a:off x="3459716" y="2927320"/>
            <a:ext cx="339677" cy="339677"/>
            <a:chOff x="4319588" y="2492375"/>
            <a:chExt cx="287338" cy="287338"/>
          </a:xfrm>
          <a:solidFill>
            <a:srgbClr val="B0F7F4"/>
          </a:solidFill>
          <a:effectLst/>
        </p:grpSpPr>
        <p:sp>
          <p:nvSpPr>
            <p:cNvPr id="103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6" name="Straight Connector 105"/>
          <p:cNvCxnSpPr/>
          <p:nvPr/>
        </p:nvCxnSpPr>
        <p:spPr>
          <a:xfrm>
            <a:off x="826809" y="2713327"/>
            <a:ext cx="4588265" cy="0"/>
          </a:xfrm>
          <a:prstGeom prst="line">
            <a:avLst/>
          </a:prstGeom>
          <a:ln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10234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0" y="0"/>
            <a:ext cx="12192000" cy="2210338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Rectangle 48"/>
          <p:cNvSpPr>
            <a:spLocks noChangeArrowheads="1"/>
          </p:cNvSpPr>
          <p:nvPr/>
        </p:nvSpPr>
        <p:spPr bwMode="auto">
          <a:xfrm>
            <a:off x="3110" y="1563362"/>
            <a:ext cx="12188890" cy="5294638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7"/>
          <p:cNvSpPr>
            <a:spLocks/>
          </p:cNvSpPr>
          <p:nvPr/>
        </p:nvSpPr>
        <p:spPr bwMode="auto">
          <a:xfrm>
            <a:off x="10781752" y="73439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8"/>
          <p:cNvSpPr>
            <a:spLocks/>
          </p:cNvSpPr>
          <p:nvPr/>
        </p:nvSpPr>
        <p:spPr bwMode="auto">
          <a:xfrm>
            <a:off x="8212883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19"/>
          <p:cNvSpPr>
            <a:spLocks/>
          </p:cNvSpPr>
          <p:nvPr/>
        </p:nvSpPr>
        <p:spPr bwMode="auto">
          <a:xfrm>
            <a:off x="9427288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3"/>
          <p:cNvSpPr>
            <a:spLocks/>
          </p:cNvSpPr>
          <p:nvPr/>
        </p:nvSpPr>
        <p:spPr bwMode="auto">
          <a:xfrm>
            <a:off x="11273234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4"/>
          <p:cNvSpPr>
            <a:spLocks/>
          </p:cNvSpPr>
          <p:nvPr/>
        </p:nvSpPr>
        <p:spPr bwMode="auto">
          <a:xfrm>
            <a:off x="9171688" y="1308385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5"/>
          <p:cNvSpPr>
            <a:spLocks/>
          </p:cNvSpPr>
          <p:nvPr/>
        </p:nvSpPr>
        <p:spPr bwMode="auto">
          <a:xfrm>
            <a:off x="8983352" y="1397171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-28325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9"/>
          <p:cNvSpPr>
            <a:spLocks/>
          </p:cNvSpPr>
          <p:nvPr/>
        </p:nvSpPr>
        <p:spPr bwMode="auto">
          <a:xfrm>
            <a:off x="-992576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3"/>
          <p:cNvSpPr>
            <a:spLocks/>
          </p:cNvSpPr>
          <p:nvPr/>
        </p:nvSpPr>
        <p:spPr bwMode="auto">
          <a:xfrm>
            <a:off x="853370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51"/>
          <p:cNvSpPr>
            <a:spLocks/>
          </p:cNvSpPr>
          <p:nvPr/>
        </p:nvSpPr>
        <p:spPr bwMode="auto">
          <a:xfrm>
            <a:off x="-663933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1"/>
          <p:cNvSpPr>
            <a:spLocks/>
          </p:cNvSpPr>
          <p:nvPr/>
        </p:nvSpPr>
        <p:spPr bwMode="auto">
          <a:xfrm>
            <a:off x="9763778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51"/>
          <p:cNvSpPr>
            <a:spLocks/>
          </p:cNvSpPr>
          <p:nvPr/>
        </p:nvSpPr>
        <p:spPr bwMode="auto">
          <a:xfrm>
            <a:off x="8616906" y="1563000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51"/>
          <p:cNvSpPr>
            <a:spLocks/>
          </p:cNvSpPr>
          <p:nvPr/>
        </p:nvSpPr>
        <p:spPr bwMode="auto">
          <a:xfrm>
            <a:off x="10959405" y="1562999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51"/>
          <p:cNvSpPr>
            <a:spLocks/>
          </p:cNvSpPr>
          <p:nvPr/>
        </p:nvSpPr>
        <p:spPr bwMode="auto">
          <a:xfrm>
            <a:off x="11360415" y="1563000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/>
          <p:cNvSpPr/>
          <p:nvPr/>
        </p:nvSpPr>
        <p:spPr>
          <a:xfrm rot="2700000">
            <a:off x="4946034" y="2982077"/>
            <a:ext cx="2299930" cy="2299929"/>
          </a:xfrm>
          <a:prstGeom prst="rect">
            <a:avLst/>
          </a:pr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1" name="Group 20"/>
          <p:cNvGrpSpPr/>
          <p:nvPr/>
        </p:nvGrpSpPr>
        <p:grpSpPr>
          <a:xfrm>
            <a:off x="4175051" y="3600348"/>
            <a:ext cx="1063389" cy="1063389"/>
            <a:chOff x="4008932" y="3023376"/>
            <a:chExt cx="1021462" cy="1021462"/>
          </a:xfrm>
          <a:effectLst>
            <a:outerShdw blurRad="292100" dist="1143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8" name="Rectangle 17"/>
            <p:cNvSpPr/>
            <p:nvPr/>
          </p:nvSpPr>
          <p:spPr>
            <a:xfrm rot="2700000">
              <a:off x="4008932" y="302337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 rot="2700000">
              <a:off x="4128275" y="314271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953560" y="3600348"/>
            <a:ext cx="1063389" cy="1063389"/>
            <a:chOff x="4008932" y="3023376"/>
            <a:chExt cx="1021462" cy="1021462"/>
          </a:xfrm>
          <a:effectLst>
            <a:outerShdw blurRad="292100" dist="1143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3" name="Rectangle 22"/>
            <p:cNvSpPr/>
            <p:nvPr/>
          </p:nvSpPr>
          <p:spPr>
            <a:xfrm rot="2700000">
              <a:off x="4008932" y="302337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 rot="2700000">
              <a:off x="4128275" y="314271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564306" y="2206799"/>
            <a:ext cx="1063389" cy="1063389"/>
            <a:chOff x="4008932" y="3023376"/>
            <a:chExt cx="1021462" cy="1021462"/>
          </a:xfrm>
          <a:effectLst>
            <a:outerShdw blurRad="292100" dist="1143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7" name="Rectangle 26"/>
            <p:cNvSpPr/>
            <p:nvPr/>
          </p:nvSpPr>
          <p:spPr>
            <a:xfrm rot="2700000">
              <a:off x="4008932" y="302337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 rot="2700000">
              <a:off x="4128275" y="314271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564306" y="4995248"/>
            <a:ext cx="1063389" cy="1063389"/>
            <a:chOff x="4008932" y="3023376"/>
            <a:chExt cx="1021462" cy="1021462"/>
          </a:xfrm>
          <a:effectLst>
            <a:outerShdw blurRad="292100" dist="1143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30" name="Rectangle 29"/>
            <p:cNvSpPr/>
            <p:nvPr/>
          </p:nvSpPr>
          <p:spPr>
            <a:xfrm rot="2700000">
              <a:off x="4008932" y="3023376"/>
              <a:ext cx="1021462" cy="1021462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 rot="2700000">
              <a:off x="4128275" y="3142719"/>
              <a:ext cx="782776" cy="782776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839447" y="2592498"/>
            <a:ext cx="513107" cy="291991"/>
            <a:chOff x="10453688" y="2085975"/>
            <a:chExt cx="287337" cy="163513"/>
          </a:xfrm>
          <a:solidFill>
            <a:srgbClr val="F6443B"/>
          </a:solidFill>
          <a:effectLst/>
        </p:grpSpPr>
        <p:sp>
          <p:nvSpPr>
            <p:cNvPr id="36" name="Freeform 2072"/>
            <p:cNvSpPr>
              <a:spLocks/>
            </p:cNvSpPr>
            <p:nvPr/>
          </p:nvSpPr>
          <p:spPr bwMode="auto">
            <a:xfrm>
              <a:off x="10453688" y="2114550"/>
              <a:ext cx="49213" cy="106363"/>
            </a:xfrm>
            <a:custGeom>
              <a:avLst/>
              <a:gdLst>
                <a:gd name="T0" fmla="*/ 135 w 151"/>
                <a:gd name="T1" fmla="*/ 0 h 331"/>
                <a:gd name="T2" fmla="*/ 90 w 151"/>
                <a:gd name="T3" fmla="*/ 0 h 331"/>
                <a:gd name="T4" fmla="*/ 85 w 151"/>
                <a:gd name="T5" fmla="*/ 0 h 331"/>
                <a:gd name="T6" fmla="*/ 79 w 151"/>
                <a:gd name="T7" fmla="*/ 2 h 331"/>
                <a:gd name="T8" fmla="*/ 74 w 151"/>
                <a:gd name="T9" fmla="*/ 4 h 331"/>
                <a:gd name="T10" fmla="*/ 68 w 151"/>
                <a:gd name="T11" fmla="*/ 5 h 331"/>
                <a:gd name="T12" fmla="*/ 58 w 151"/>
                <a:gd name="T13" fmla="*/ 11 h 331"/>
                <a:gd name="T14" fmla="*/ 50 w 151"/>
                <a:gd name="T15" fmla="*/ 20 h 331"/>
                <a:gd name="T16" fmla="*/ 41 w 151"/>
                <a:gd name="T17" fmla="*/ 28 h 331"/>
                <a:gd name="T18" fmla="*/ 35 w 151"/>
                <a:gd name="T19" fmla="*/ 39 h 331"/>
                <a:gd name="T20" fmla="*/ 34 w 151"/>
                <a:gd name="T21" fmla="*/ 44 h 331"/>
                <a:gd name="T22" fmla="*/ 32 w 151"/>
                <a:gd name="T23" fmla="*/ 49 h 331"/>
                <a:gd name="T24" fmla="*/ 30 w 151"/>
                <a:gd name="T25" fmla="*/ 55 h 331"/>
                <a:gd name="T26" fmla="*/ 30 w 151"/>
                <a:gd name="T27" fmla="*/ 60 h 331"/>
                <a:gd name="T28" fmla="*/ 30 w 151"/>
                <a:gd name="T29" fmla="*/ 151 h 331"/>
                <a:gd name="T30" fmla="*/ 16 w 151"/>
                <a:gd name="T31" fmla="*/ 151 h 331"/>
                <a:gd name="T32" fmla="*/ 10 w 151"/>
                <a:gd name="T33" fmla="*/ 152 h 331"/>
                <a:gd name="T34" fmla="*/ 5 w 151"/>
                <a:gd name="T35" fmla="*/ 155 h 331"/>
                <a:gd name="T36" fmla="*/ 1 w 151"/>
                <a:gd name="T37" fmla="*/ 160 h 331"/>
                <a:gd name="T38" fmla="*/ 0 w 151"/>
                <a:gd name="T39" fmla="*/ 166 h 331"/>
                <a:gd name="T40" fmla="*/ 1 w 151"/>
                <a:gd name="T41" fmla="*/ 171 h 331"/>
                <a:gd name="T42" fmla="*/ 5 w 151"/>
                <a:gd name="T43" fmla="*/ 176 h 331"/>
                <a:gd name="T44" fmla="*/ 10 w 151"/>
                <a:gd name="T45" fmla="*/ 180 h 331"/>
                <a:gd name="T46" fmla="*/ 16 w 151"/>
                <a:gd name="T47" fmla="*/ 181 h 331"/>
                <a:gd name="T48" fmla="*/ 30 w 151"/>
                <a:gd name="T49" fmla="*/ 181 h 331"/>
                <a:gd name="T50" fmla="*/ 30 w 151"/>
                <a:gd name="T51" fmla="*/ 271 h 331"/>
                <a:gd name="T52" fmla="*/ 30 w 151"/>
                <a:gd name="T53" fmla="*/ 276 h 331"/>
                <a:gd name="T54" fmla="*/ 32 w 151"/>
                <a:gd name="T55" fmla="*/ 282 h 331"/>
                <a:gd name="T56" fmla="*/ 34 w 151"/>
                <a:gd name="T57" fmla="*/ 287 h 331"/>
                <a:gd name="T58" fmla="*/ 35 w 151"/>
                <a:gd name="T59" fmla="*/ 293 h 331"/>
                <a:gd name="T60" fmla="*/ 41 w 151"/>
                <a:gd name="T61" fmla="*/ 303 h 331"/>
                <a:gd name="T62" fmla="*/ 50 w 151"/>
                <a:gd name="T63" fmla="*/ 312 h 331"/>
                <a:gd name="T64" fmla="*/ 58 w 151"/>
                <a:gd name="T65" fmla="*/ 320 h 331"/>
                <a:gd name="T66" fmla="*/ 68 w 151"/>
                <a:gd name="T67" fmla="*/ 326 h 331"/>
                <a:gd name="T68" fmla="*/ 74 w 151"/>
                <a:gd name="T69" fmla="*/ 329 h 331"/>
                <a:gd name="T70" fmla="*/ 79 w 151"/>
                <a:gd name="T71" fmla="*/ 330 h 331"/>
                <a:gd name="T72" fmla="*/ 85 w 151"/>
                <a:gd name="T73" fmla="*/ 331 h 331"/>
                <a:gd name="T74" fmla="*/ 90 w 151"/>
                <a:gd name="T75" fmla="*/ 331 h 331"/>
                <a:gd name="T76" fmla="*/ 135 w 151"/>
                <a:gd name="T77" fmla="*/ 331 h 331"/>
                <a:gd name="T78" fmla="*/ 141 w 151"/>
                <a:gd name="T79" fmla="*/ 330 h 331"/>
                <a:gd name="T80" fmla="*/ 146 w 151"/>
                <a:gd name="T81" fmla="*/ 326 h 331"/>
                <a:gd name="T82" fmla="*/ 150 w 151"/>
                <a:gd name="T83" fmla="*/ 322 h 331"/>
                <a:gd name="T84" fmla="*/ 151 w 151"/>
                <a:gd name="T85" fmla="*/ 317 h 331"/>
                <a:gd name="T86" fmla="*/ 151 w 151"/>
                <a:gd name="T87" fmla="*/ 15 h 331"/>
                <a:gd name="T88" fmla="*/ 150 w 151"/>
                <a:gd name="T89" fmla="*/ 10 h 331"/>
                <a:gd name="T90" fmla="*/ 146 w 151"/>
                <a:gd name="T91" fmla="*/ 5 h 331"/>
                <a:gd name="T92" fmla="*/ 141 w 151"/>
                <a:gd name="T93" fmla="*/ 2 h 331"/>
                <a:gd name="T94" fmla="*/ 135 w 151"/>
                <a:gd name="T9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1" h="331">
                  <a:moveTo>
                    <a:pt x="135" y="0"/>
                  </a:moveTo>
                  <a:lnTo>
                    <a:pt x="90" y="0"/>
                  </a:lnTo>
                  <a:lnTo>
                    <a:pt x="85" y="0"/>
                  </a:lnTo>
                  <a:lnTo>
                    <a:pt x="79" y="2"/>
                  </a:lnTo>
                  <a:lnTo>
                    <a:pt x="74" y="4"/>
                  </a:lnTo>
                  <a:lnTo>
                    <a:pt x="68" y="5"/>
                  </a:lnTo>
                  <a:lnTo>
                    <a:pt x="58" y="11"/>
                  </a:lnTo>
                  <a:lnTo>
                    <a:pt x="50" y="20"/>
                  </a:lnTo>
                  <a:lnTo>
                    <a:pt x="41" y="28"/>
                  </a:lnTo>
                  <a:lnTo>
                    <a:pt x="35" y="39"/>
                  </a:lnTo>
                  <a:lnTo>
                    <a:pt x="34" y="44"/>
                  </a:lnTo>
                  <a:lnTo>
                    <a:pt x="32" y="49"/>
                  </a:lnTo>
                  <a:lnTo>
                    <a:pt x="30" y="55"/>
                  </a:lnTo>
                  <a:lnTo>
                    <a:pt x="30" y="60"/>
                  </a:lnTo>
                  <a:lnTo>
                    <a:pt x="30" y="151"/>
                  </a:lnTo>
                  <a:lnTo>
                    <a:pt x="16" y="151"/>
                  </a:lnTo>
                  <a:lnTo>
                    <a:pt x="10" y="152"/>
                  </a:lnTo>
                  <a:lnTo>
                    <a:pt x="5" y="155"/>
                  </a:lnTo>
                  <a:lnTo>
                    <a:pt x="1" y="160"/>
                  </a:lnTo>
                  <a:lnTo>
                    <a:pt x="0" y="166"/>
                  </a:lnTo>
                  <a:lnTo>
                    <a:pt x="1" y="171"/>
                  </a:lnTo>
                  <a:lnTo>
                    <a:pt x="5" y="176"/>
                  </a:lnTo>
                  <a:lnTo>
                    <a:pt x="10" y="180"/>
                  </a:lnTo>
                  <a:lnTo>
                    <a:pt x="16" y="181"/>
                  </a:lnTo>
                  <a:lnTo>
                    <a:pt x="30" y="181"/>
                  </a:lnTo>
                  <a:lnTo>
                    <a:pt x="30" y="271"/>
                  </a:lnTo>
                  <a:lnTo>
                    <a:pt x="30" y="276"/>
                  </a:lnTo>
                  <a:lnTo>
                    <a:pt x="32" y="282"/>
                  </a:lnTo>
                  <a:lnTo>
                    <a:pt x="34" y="287"/>
                  </a:lnTo>
                  <a:lnTo>
                    <a:pt x="35" y="293"/>
                  </a:lnTo>
                  <a:lnTo>
                    <a:pt x="41" y="303"/>
                  </a:lnTo>
                  <a:lnTo>
                    <a:pt x="50" y="312"/>
                  </a:lnTo>
                  <a:lnTo>
                    <a:pt x="58" y="320"/>
                  </a:lnTo>
                  <a:lnTo>
                    <a:pt x="68" y="326"/>
                  </a:lnTo>
                  <a:lnTo>
                    <a:pt x="74" y="329"/>
                  </a:lnTo>
                  <a:lnTo>
                    <a:pt x="79" y="330"/>
                  </a:lnTo>
                  <a:lnTo>
                    <a:pt x="85" y="331"/>
                  </a:lnTo>
                  <a:lnTo>
                    <a:pt x="90" y="331"/>
                  </a:lnTo>
                  <a:lnTo>
                    <a:pt x="135" y="331"/>
                  </a:lnTo>
                  <a:lnTo>
                    <a:pt x="141" y="330"/>
                  </a:lnTo>
                  <a:lnTo>
                    <a:pt x="146" y="326"/>
                  </a:lnTo>
                  <a:lnTo>
                    <a:pt x="150" y="322"/>
                  </a:lnTo>
                  <a:lnTo>
                    <a:pt x="151" y="317"/>
                  </a:lnTo>
                  <a:lnTo>
                    <a:pt x="151" y="15"/>
                  </a:lnTo>
                  <a:lnTo>
                    <a:pt x="150" y="10"/>
                  </a:lnTo>
                  <a:lnTo>
                    <a:pt x="146" y="5"/>
                  </a:lnTo>
                  <a:lnTo>
                    <a:pt x="141" y="2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073"/>
            <p:cNvSpPr>
              <a:spLocks/>
            </p:cNvSpPr>
            <p:nvPr/>
          </p:nvSpPr>
          <p:spPr bwMode="auto">
            <a:xfrm>
              <a:off x="10512425" y="2085975"/>
              <a:ext cx="171450" cy="163513"/>
            </a:xfrm>
            <a:custGeom>
              <a:avLst/>
              <a:gdLst>
                <a:gd name="T0" fmla="*/ 421 w 542"/>
                <a:gd name="T1" fmla="*/ 0 h 512"/>
                <a:gd name="T2" fmla="*/ 395 w 542"/>
                <a:gd name="T3" fmla="*/ 4 h 512"/>
                <a:gd name="T4" fmla="*/ 386 w 542"/>
                <a:gd name="T5" fmla="*/ 10 h 512"/>
                <a:gd name="T6" fmla="*/ 377 w 542"/>
                <a:gd name="T7" fmla="*/ 16 h 512"/>
                <a:gd name="T8" fmla="*/ 370 w 542"/>
                <a:gd name="T9" fmla="*/ 24 h 512"/>
                <a:gd name="T10" fmla="*/ 365 w 542"/>
                <a:gd name="T11" fmla="*/ 35 h 512"/>
                <a:gd name="T12" fmla="*/ 361 w 542"/>
                <a:gd name="T13" fmla="*/ 60 h 512"/>
                <a:gd name="T14" fmla="*/ 180 w 542"/>
                <a:gd name="T15" fmla="*/ 241 h 512"/>
                <a:gd name="T16" fmla="*/ 179 w 542"/>
                <a:gd name="T17" fmla="*/ 46 h 512"/>
                <a:gd name="T18" fmla="*/ 174 w 542"/>
                <a:gd name="T19" fmla="*/ 29 h 512"/>
                <a:gd name="T20" fmla="*/ 168 w 542"/>
                <a:gd name="T21" fmla="*/ 20 h 512"/>
                <a:gd name="T22" fmla="*/ 161 w 542"/>
                <a:gd name="T23" fmla="*/ 12 h 512"/>
                <a:gd name="T24" fmla="*/ 151 w 542"/>
                <a:gd name="T25" fmla="*/ 6 h 512"/>
                <a:gd name="T26" fmla="*/ 134 w 542"/>
                <a:gd name="T27" fmla="*/ 1 h 512"/>
                <a:gd name="T28" fmla="*/ 59 w 542"/>
                <a:gd name="T29" fmla="*/ 0 h 512"/>
                <a:gd name="T30" fmla="*/ 35 w 542"/>
                <a:gd name="T31" fmla="*/ 4 h 512"/>
                <a:gd name="T32" fmla="*/ 24 w 542"/>
                <a:gd name="T33" fmla="*/ 10 h 512"/>
                <a:gd name="T34" fmla="*/ 15 w 542"/>
                <a:gd name="T35" fmla="*/ 16 h 512"/>
                <a:gd name="T36" fmla="*/ 9 w 542"/>
                <a:gd name="T37" fmla="*/ 24 h 512"/>
                <a:gd name="T38" fmla="*/ 3 w 542"/>
                <a:gd name="T39" fmla="*/ 35 h 512"/>
                <a:gd name="T40" fmla="*/ 0 w 542"/>
                <a:gd name="T41" fmla="*/ 60 h 512"/>
                <a:gd name="T42" fmla="*/ 1 w 542"/>
                <a:gd name="T43" fmla="*/ 465 h 512"/>
                <a:gd name="T44" fmla="*/ 6 w 542"/>
                <a:gd name="T45" fmla="*/ 482 h 512"/>
                <a:gd name="T46" fmla="*/ 12 w 542"/>
                <a:gd name="T47" fmla="*/ 492 h 512"/>
                <a:gd name="T48" fmla="*/ 19 w 542"/>
                <a:gd name="T49" fmla="*/ 499 h 512"/>
                <a:gd name="T50" fmla="*/ 29 w 542"/>
                <a:gd name="T51" fmla="*/ 506 h 512"/>
                <a:gd name="T52" fmla="*/ 46 w 542"/>
                <a:gd name="T53" fmla="*/ 510 h 512"/>
                <a:gd name="T54" fmla="*/ 120 w 542"/>
                <a:gd name="T55" fmla="*/ 512 h 512"/>
                <a:gd name="T56" fmla="*/ 146 w 542"/>
                <a:gd name="T57" fmla="*/ 508 h 512"/>
                <a:gd name="T58" fmla="*/ 156 w 542"/>
                <a:gd name="T59" fmla="*/ 503 h 512"/>
                <a:gd name="T60" fmla="*/ 164 w 542"/>
                <a:gd name="T61" fmla="*/ 496 h 512"/>
                <a:gd name="T62" fmla="*/ 172 w 542"/>
                <a:gd name="T63" fmla="*/ 487 h 512"/>
                <a:gd name="T64" fmla="*/ 177 w 542"/>
                <a:gd name="T65" fmla="*/ 477 h 512"/>
                <a:gd name="T66" fmla="*/ 180 w 542"/>
                <a:gd name="T67" fmla="*/ 452 h 512"/>
                <a:gd name="T68" fmla="*/ 361 w 542"/>
                <a:gd name="T69" fmla="*/ 271 h 512"/>
                <a:gd name="T70" fmla="*/ 362 w 542"/>
                <a:gd name="T71" fmla="*/ 465 h 512"/>
                <a:gd name="T72" fmla="*/ 367 w 542"/>
                <a:gd name="T73" fmla="*/ 482 h 512"/>
                <a:gd name="T74" fmla="*/ 373 w 542"/>
                <a:gd name="T75" fmla="*/ 492 h 512"/>
                <a:gd name="T76" fmla="*/ 381 w 542"/>
                <a:gd name="T77" fmla="*/ 499 h 512"/>
                <a:gd name="T78" fmla="*/ 390 w 542"/>
                <a:gd name="T79" fmla="*/ 506 h 512"/>
                <a:gd name="T80" fmla="*/ 408 w 542"/>
                <a:gd name="T81" fmla="*/ 510 h 512"/>
                <a:gd name="T82" fmla="*/ 481 w 542"/>
                <a:gd name="T83" fmla="*/ 512 h 512"/>
                <a:gd name="T84" fmla="*/ 506 w 542"/>
                <a:gd name="T85" fmla="*/ 508 h 512"/>
                <a:gd name="T86" fmla="*/ 517 w 542"/>
                <a:gd name="T87" fmla="*/ 503 h 512"/>
                <a:gd name="T88" fmla="*/ 526 w 542"/>
                <a:gd name="T89" fmla="*/ 496 h 512"/>
                <a:gd name="T90" fmla="*/ 532 w 542"/>
                <a:gd name="T91" fmla="*/ 487 h 512"/>
                <a:gd name="T92" fmla="*/ 537 w 542"/>
                <a:gd name="T93" fmla="*/ 477 h 512"/>
                <a:gd name="T94" fmla="*/ 542 w 542"/>
                <a:gd name="T95" fmla="*/ 452 h 512"/>
                <a:gd name="T96" fmla="*/ 541 w 542"/>
                <a:gd name="T97" fmla="*/ 46 h 512"/>
                <a:gd name="T98" fmla="*/ 535 w 542"/>
                <a:gd name="T99" fmla="*/ 29 h 512"/>
                <a:gd name="T100" fmla="*/ 530 w 542"/>
                <a:gd name="T101" fmla="*/ 20 h 512"/>
                <a:gd name="T102" fmla="*/ 521 w 542"/>
                <a:gd name="T103" fmla="*/ 12 h 512"/>
                <a:gd name="T104" fmla="*/ 513 w 542"/>
                <a:gd name="T105" fmla="*/ 6 h 512"/>
                <a:gd name="T106" fmla="*/ 494 w 542"/>
                <a:gd name="T107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2" h="512">
                  <a:moveTo>
                    <a:pt x="481" y="0"/>
                  </a:moveTo>
                  <a:lnTo>
                    <a:pt x="421" y="0"/>
                  </a:lnTo>
                  <a:lnTo>
                    <a:pt x="408" y="1"/>
                  </a:lnTo>
                  <a:lnTo>
                    <a:pt x="395" y="4"/>
                  </a:lnTo>
                  <a:lnTo>
                    <a:pt x="390" y="6"/>
                  </a:lnTo>
                  <a:lnTo>
                    <a:pt x="386" y="10"/>
                  </a:lnTo>
                  <a:lnTo>
                    <a:pt x="381" y="12"/>
                  </a:lnTo>
                  <a:lnTo>
                    <a:pt x="377" y="16"/>
                  </a:lnTo>
                  <a:lnTo>
                    <a:pt x="373" y="20"/>
                  </a:lnTo>
                  <a:lnTo>
                    <a:pt x="370" y="24"/>
                  </a:lnTo>
                  <a:lnTo>
                    <a:pt x="367" y="29"/>
                  </a:lnTo>
                  <a:lnTo>
                    <a:pt x="365" y="35"/>
                  </a:lnTo>
                  <a:lnTo>
                    <a:pt x="362" y="46"/>
                  </a:lnTo>
                  <a:lnTo>
                    <a:pt x="361" y="60"/>
                  </a:lnTo>
                  <a:lnTo>
                    <a:pt x="361" y="241"/>
                  </a:lnTo>
                  <a:lnTo>
                    <a:pt x="180" y="241"/>
                  </a:lnTo>
                  <a:lnTo>
                    <a:pt x="180" y="60"/>
                  </a:lnTo>
                  <a:lnTo>
                    <a:pt x="179" y="46"/>
                  </a:lnTo>
                  <a:lnTo>
                    <a:pt x="177" y="35"/>
                  </a:lnTo>
                  <a:lnTo>
                    <a:pt x="174" y="29"/>
                  </a:lnTo>
                  <a:lnTo>
                    <a:pt x="172" y="24"/>
                  </a:lnTo>
                  <a:lnTo>
                    <a:pt x="168" y="20"/>
                  </a:lnTo>
                  <a:lnTo>
                    <a:pt x="164" y="16"/>
                  </a:lnTo>
                  <a:lnTo>
                    <a:pt x="161" y="12"/>
                  </a:lnTo>
                  <a:lnTo>
                    <a:pt x="156" y="10"/>
                  </a:lnTo>
                  <a:lnTo>
                    <a:pt x="151" y="6"/>
                  </a:lnTo>
                  <a:lnTo>
                    <a:pt x="146" y="4"/>
                  </a:lnTo>
                  <a:lnTo>
                    <a:pt x="134" y="1"/>
                  </a:lnTo>
                  <a:lnTo>
                    <a:pt x="120" y="0"/>
                  </a:lnTo>
                  <a:lnTo>
                    <a:pt x="59" y="0"/>
                  </a:lnTo>
                  <a:lnTo>
                    <a:pt x="46" y="1"/>
                  </a:lnTo>
                  <a:lnTo>
                    <a:pt x="35" y="4"/>
                  </a:lnTo>
                  <a:lnTo>
                    <a:pt x="29" y="6"/>
                  </a:lnTo>
                  <a:lnTo>
                    <a:pt x="24" y="10"/>
                  </a:lnTo>
                  <a:lnTo>
                    <a:pt x="19" y="12"/>
                  </a:lnTo>
                  <a:lnTo>
                    <a:pt x="15" y="16"/>
                  </a:lnTo>
                  <a:lnTo>
                    <a:pt x="12" y="20"/>
                  </a:lnTo>
                  <a:lnTo>
                    <a:pt x="9" y="24"/>
                  </a:lnTo>
                  <a:lnTo>
                    <a:pt x="6" y="29"/>
                  </a:lnTo>
                  <a:lnTo>
                    <a:pt x="3" y="35"/>
                  </a:lnTo>
                  <a:lnTo>
                    <a:pt x="1" y="46"/>
                  </a:lnTo>
                  <a:lnTo>
                    <a:pt x="0" y="60"/>
                  </a:lnTo>
                  <a:lnTo>
                    <a:pt x="0" y="452"/>
                  </a:lnTo>
                  <a:lnTo>
                    <a:pt x="1" y="465"/>
                  </a:lnTo>
                  <a:lnTo>
                    <a:pt x="3" y="477"/>
                  </a:lnTo>
                  <a:lnTo>
                    <a:pt x="6" y="482"/>
                  </a:lnTo>
                  <a:lnTo>
                    <a:pt x="9" y="487"/>
                  </a:lnTo>
                  <a:lnTo>
                    <a:pt x="12" y="492"/>
                  </a:lnTo>
                  <a:lnTo>
                    <a:pt x="15" y="496"/>
                  </a:lnTo>
                  <a:lnTo>
                    <a:pt x="19" y="499"/>
                  </a:lnTo>
                  <a:lnTo>
                    <a:pt x="24" y="503"/>
                  </a:lnTo>
                  <a:lnTo>
                    <a:pt x="29" y="506"/>
                  </a:lnTo>
                  <a:lnTo>
                    <a:pt x="35" y="508"/>
                  </a:lnTo>
                  <a:lnTo>
                    <a:pt x="46" y="510"/>
                  </a:lnTo>
                  <a:lnTo>
                    <a:pt x="59" y="512"/>
                  </a:lnTo>
                  <a:lnTo>
                    <a:pt x="120" y="512"/>
                  </a:lnTo>
                  <a:lnTo>
                    <a:pt x="134" y="510"/>
                  </a:lnTo>
                  <a:lnTo>
                    <a:pt x="146" y="508"/>
                  </a:lnTo>
                  <a:lnTo>
                    <a:pt x="151" y="506"/>
                  </a:lnTo>
                  <a:lnTo>
                    <a:pt x="156" y="503"/>
                  </a:lnTo>
                  <a:lnTo>
                    <a:pt x="161" y="499"/>
                  </a:lnTo>
                  <a:lnTo>
                    <a:pt x="164" y="496"/>
                  </a:lnTo>
                  <a:lnTo>
                    <a:pt x="168" y="492"/>
                  </a:lnTo>
                  <a:lnTo>
                    <a:pt x="172" y="487"/>
                  </a:lnTo>
                  <a:lnTo>
                    <a:pt x="174" y="482"/>
                  </a:lnTo>
                  <a:lnTo>
                    <a:pt x="177" y="477"/>
                  </a:lnTo>
                  <a:lnTo>
                    <a:pt x="179" y="465"/>
                  </a:lnTo>
                  <a:lnTo>
                    <a:pt x="180" y="452"/>
                  </a:lnTo>
                  <a:lnTo>
                    <a:pt x="180" y="271"/>
                  </a:lnTo>
                  <a:lnTo>
                    <a:pt x="361" y="271"/>
                  </a:lnTo>
                  <a:lnTo>
                    <a:pt x="361" y="452"/>
                  </a:lnTo>
                  <a:lnTo>
                    <a:pt x="362" y="465"/>
                  </a:lnTo>
                  <a:lnTo>
                    <a:pt x="365" y="477"/>
                  </a:lnTo>
                  <a:lnTo>
                    <a:pt x="367" y="482"/>
                  </a:lnTo>
                  <a:lnTo>
                    <a:pt x="370" y="487"/>
                  </a:lnTo>
                  <a:lnTo>
                    <a:pt x="373" y="492"/>
                  </a:lnTo>
                  <a:lnTo>
                    <a:pt x="377" y="496"/>
                  </a:lnTo>
                  <a:lnTo>
                    <a:pt x="381" y="499"/>
                  </a:lnTo>
                  <a:lnTo>
                    <a:pt x="386" y="503"/>
                  </a:lnTo>
                  <a:lnTo>
                    <a:pt x="390" y="506"/>
                  </a:lnTo>
                  <a:lnTo>
                    <a:pt x="395" y="508"/>
                  </a:lnTo>
                  <a:lnTo>
                    <a:pt x="408" y="510"/>
                  </a:lnTo>
                  <a:lnTo>
                    <a:pt x="421" y="512"/>
                  </a:lnTo>
                  <a:lnTo>
                    <a:pt x="481" y="512"/>
                  </a:lnTo>
                  <a:lnTo>
                    <a:pt x="494" y="510"/>
                  </a:lnTo>
                  <a:lnTo>
                    <a:pt x="506" y="508"/>
                  </a:lnTo>
                  <a:lnTo>
                    <a:pt x="513" y="506"/>
                  </a:lnTo>
                  <a:lnTo>
                    <a:pt x="517" y="503"/>
                  </a:lnTo>
                  <a:lnTo>
                    <a:pt x="521" y="499"/>
                  </a:lnTo>
                  <a:lnTo>
                    <a:pt x="526" y="496"/>
                  </a:lnTo>
                  <a:lnTo>
                    <a:pt x="530" y="492"/>
                  </a:lnTo>
                  <a:lnTo>
                    <a:pt x="532" y="487"/>
                  </a:lnTo>
                  <a:lnTo>
                    <a:pt x="535" y="482"/>
                  </a:lnTo>
                  <a:lnTo>
                    <a:pt x="537" y="477"/>
                  </a:lnTo>
                  <a:lnTo>
                    <a:pt x="541" y="465"/>
                  </a:lnTo>
                  <a:lnTo>
                    <a:pt x="542" y="452"/>
                  </a:lnTo>
                  <a:lnTo>
                    <a:pt x="542" y="60"/>
                  </a:lnTo>
                  <a:lnTo>
                    <a:pt x="541" y="46"/>
                  </a:lnTo>
                  <a:lnTo>
                    <a:pt x="537" y="35"/>
                  </a:lnTo>
                  <a:lnTo>
                    <a:pt x="535" y="29"/>
                  </a:lnTo>
                  <a:lnTo>
                    <a:pt x="532" y="24"/>
                  </a:lnTo>
                  <a:lnTo>
                    <a:pt x="530" y="20"/>
                  </a:lnTo>
                  <a:lnTo>
                    <a:pt x="526" y="16"/>
                  </a:lnTo>
                  <a:lnTo>
                    <a:pt x="521" y="12"/>
                  </a:lnTo>
                  <a:lnTo>
                    <a:pt x="517" y="10"/>
                  </a:lnTo>
                  <a:lnTo>
                    <a:pt x="513" y="6"/>
                  </a:lnTo>
                  <a:lnTo>
                    <a:pt x="506" y="4"/>
                  </a:lnTo>
                  <a:lnTo>
                    <a:pt x="494" y="1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074"/>
            <p:cNvSpPr>
              <a:spLocks/>
            </p:cNvSpPr>
            <p:nvPr/>
          </p:nvSpPr>
          <p:spPr bwMode="auto">
            <a:xfrm>
              <a:off x="10693400" y="2114550"/>
              <a:ext cx="47625" cy="106363"/>
            </a:xfrm>
            <a:custGeom>
              <a:avLst/>
              <a:gdLst>
                <a:gd name="T0" fmla="*/ 136 w 150"/>
                <a:gd name="T1" fmla="*/ 151 h 331"/>
                <a:gd name="T2" fmla="*/ 121 w 150"/>
                <a:gd name="T3" fmla="*/ 151 h 331"/>
                <a:gd name="T4" fmla="*/ 121 w 150"/>
                <a:gd name="T5" fmla="*/ 60 h 331"/>
                <a:gd name="T6" fmla="*/ 120 w 150"/>
                <a:gd name="T7" fmla="*/ 55 h 331"/>
                <a:gd name="T8" fmla="*/ 120 w 150"/>
                <a:gd name="T9" fmla="*/ 49 h 331"/>
                <a:gd name="T10" fmla="*/ 117 w 150"/>
                <a:gd name="T11" fmla="*/ 44 h 331"/>
                <a:gd name="T12" fmla="*/ 115 w 150"/>
                <a:gd name="T13" fmla="*/ 38 h 331"/>
                <a:gd name="T14" fmla="*/ 109 w 150"/>
                <a:gd name="T15" fmla="*/ 28 h 331"/>
                <a:gd name="T16" fmla="*/ 102 w 150"/>
                <a:gd name="T17" fmla="*/ 20 h 331"/>
                <a:gd name="T18" fmla="*/ 93 w 150"/>
                <a:gd name="T19" fmla="*/ 11 h 331"/>
                <a:gd name="T20" fmla="*/ 82 w 150"/>
                <a:gd name="T21" fmla="*/ 5 h 331"/>
                <a:gd name="T22" fmla="*/ 77 w 150"/>
                <a:gd name="T23" fmla="*/ 4 h 331"/>
                <a:gd name="T24" fmla="*/ 71 w 150"/>
                <a:gd name="T25" fmla="*/ 2 h 331"/>
                <a:gd name="T26" fmla="*/ 66 w 150"/>
                <a:gd name="T27" fmla="*/ 0 h 331"/>
                <a:gd name="T28" fmla="*/ 60 w 150"/>
                <a:gd name="T29" fmla="*/ 0 h 331"/>
                <a:gd name="T30" fmla="*/ 15 w 150"/>
                <a:gd name="T31" fmla="*/ 0 h 331"/>
                <a:gd name="T32" fmla="*/ 10 w 150"/>
                <a:gd name="T33" fmla="*/ 2 h 331"/>
                <a:gd name="T34" fmla="*/ 5 w 150"/>
                <a:gd name="T35" fmla="*/ 5 h 331"/>
                <a:gd name="T36" fmla="*/ 1 w 150"/>
                <a:gd name="T37" fmla="*/ 10 h 331"/>
                <a:gd name="T38" fmla="*/ 0 w 150"/>
                <a:gd name="T39" fmla="*/ 15 h 331"/>
                <a:gd name="T40" fmla="*/ 0 w 150"/>
                <a:gd name="T41" fmla="*/ 317 h 331"/>
                <a:gd name="T42" fmla="*/ 1 w 150"/>
                <a:gd name="T43" fmla="*/ 322 h 331"/>
                <a:gd name="T44" fmla="*/ 5 w 150"/>
                <a:gd name="T45" fmla="*/ 326 h 331"/>
                <a:gd name="T46" fmla="*/ 10 w 150"/>
                <a:gd name="T47" fmla="*/ 330 h 331"/>
                <a:gd name="T48" fmla="*/ 15 w 150"/>
                <a:gd name="T49" fmla="*/ 331 h 331"/>
                <a:gd name="T50" fmla="*/ 60 w 150"/>
                <a:gd name="T51" fmla="*/ 331 h 331"/>
                <a:gd name="T52" fmla="*/ 66 w 150"/>
                <a:gd name="T53" fmla="*/ 331 h 331"/>
                <a:gd name="T54" fmla="*/ 71 w 150"/>
                <a:gd name="T55" fmla="*/ 330 h 331"/>
                <a:gd name="T56" fmla="*/ 77 w 150"/>
                <a:gd name="T57" fmla="*/ 329 h 331"/>
                <a:gd name="T58" fmla="*/ 82 w 150"/>
                <a:gd name="T59" fmla="*/ 326 h 331"/>
                <a:gd name="T60" fmla="*/ 93 w 150"/>
                <a:gd name="T61" fmla="*/ 320 h 331"/>
                <a:gd name="T62" fmla="*/ 102 w 150"/>
                <a:gd name="T63" fmla="*/ 312 h 331"/>
                <a:gd name="T64" fmla="*/ 109 w 150"/>
                <a:gd name="T65" fmla="*/ 303 h 331"/>
                <a:gd name="T66" fmla="*/ 115 w 150"/>
                <a:gd name="T67" fmla="*/ 293 h 331"/>
                <a:gd name="T68" fmla="*/ 117 w 150"/>
                <a:gd name="T69" fmla="*/ 287 h 331"/>
                <a:gd name="T70" fmla="*/ 120 w 150"/>
                <a:gd name="T71" fmla="*/ 282 h 331"/>
                <a:gd name="T72" fmla="*/ 120 w 150"/>
                <a:gd name="T73" fmla="*/ 276 h 331"/>
                <a:gd name="T74" fmla="*/ 121 w 150"/>
                <a:gd name="T75" fmla="*/ 271 h 331"/>
                <a:gd name="T76" fmla="*/ 121 w 150"/>
                <a:gd name="T77" fmla="*/ 181 h 331"/>
                <a:gd name="T78" fmla="*/ 136 w 150"/>
                <a:gd name="T79" fmla="*/ 181 h 331"/>
                <a:gd name="T80" fmla="*/ 142 w 150"/>
                <a:gd name="T81" fmla="*/ 180 h 331"/>
                <a:gd name="T82" fmla="*/ 147 w 150"/>
                <a:gd name="T83" fmla="*/ 176 h 331"/>
                <a:gd name="T84" fmla="*/ 149 w 150"/>
                <a:gd name="T85" fmla="*/ 171 h 331"/>
                <a:gd name="T86" fmla="*/ 150 w 150"/>
                <a:gd name="T87" fmla="*/ 166 h 331"/>
                <a:gd name="T88" fmla="*/ 149 w 150"/>
                <a:gd name="T89" fmla="*/ 160 h 331"/>
                <a:gd name="T90" fmla="*/ 147 w 150"/>
                <a:gd name="T91" fmla="*/ 155 h 331"/>
                <a:gd name="T92" fmla="*/ 142 w 150"/>
                <a:gd name="T93" fmla="*/ 152 h 331"/>
                <a:gd name="T94" fmla="*/ 136 w 150"/>
                <a:gd name="T95" fmla="*/ 15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0" h="331">
                  <a:moveTo>
                    <a:pt x="136" y="151"/>
                  </a:moveTo>
                  <a:lnTo>
                    <a:pt x="121" y="151"/>
                  </a:lnTo>
                  <a:lnTo>
                    <a:pt x="121" y="60"/>
                  </a:lnTo>
                  <a:lnTo>
                    <a:pt x="120" y="55"/>
                  </a:lnTo>
                  <a:lnTo>
                    <a:pt x="120" y="49"/>
                  </a:lnTo>
                  <a:lnTo>
                    <a:pt x="117" y="44"/>
                  </a:lnTo>
                  <a:lnTo>
                    <a:pt x="115" y="38"/>
                  </a:lnTo>
                  <a:lnTo>
                    <a:pt x="109" y="28"/>
                  </a:lnTo>
                  <a:lnTo>
                    <a:pt x="102" y="20"/>
                  </a:lnTo>
                  <a:lnTo>
                    <a:pt x="93" y="11"/>
                  </a:lnTo>
                  <a:lnTo>
                    <a:pt x="82" y="5"/>
                  </a:lnTo>
                  <a:lnTo>
                    <a:pt x="77" y="4"/>
                  </a:lnTo>
                  <a:lnTo>
                    <a:pt x="71" y="2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0" y="317"/>
                  </a:lnTo>
                  <a:lnTo>
                    <a:pt x="1" y="322"/>
                  </a:lnTo>
                  <a:lnTo>
                    <a:pt x="5" y="326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60" y="331"/>
                  </a:lnTo>
                  <a:lnTo>
                    <a:pt x="66" y="331"/>
                  </a:lnTo>
                  <a:lnTo>
                    <a:pt x="71" y="330"/>
                  </a:lnTo>
                  <a:lnTo>
                    <a:pt x="77" y="329"/>
                  </a:lnTo>
                  <a:lnTo>
                    <a:pt x="82" y="326"/>
                  </a:lnTo>
                  <a:lnTo>
                    <a:pt x="93" y="320"/>
                  </a:lnTo>
                  <a:lnTo>
                    <a:pt x="102" y="312"/>
                  </a:lnTo>
                  <a:lnTo>
                    <a:pt x="109" y="303"/>
                  </a:lnTo>
                  <a:lnTo>
                    <a:pt x="115" y="293"/>
                  </a:lnTo>
                  <a:lnTo>
                    <a:pt x="117" y="287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1" y="271"/>
                  </a:lnTo>
                  <a:lnTo>
                    <a:pt x="121" y="181"/>
                  </a:lnTo>
                  <a:lnTo>
                    <a:pt x="136" y="181"/>
                  </a:lnTo>
                  <a:lnTo>
                    <a:pt x="142" y="180"/>
                  </a:lnTo>
                  <a:lnTo>
                    <a:pt x="147" y="176"/>
                  </a:lnTo>
                  <a:lnTo>
                    <a:pt x="149" y="171"/>
                  </a:lnTo>
                  <a:lnTo>
                    <a:pt x="150" y="166"/>
                  </a:lnTo>
                  <a:lnTo>
                    <a:pt x="149" y="160"/>
                  </a:lnTo>
                  <a:lnTo>
                    <a:pt x="147" y="155"/>
                  </a:lnTo>
                  <a:lnTo>
                    <a:pt x="142" y="152"/>
                  </a:lnTo>
                  <a:lnTo>
                    <a:pt x="13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300430" y="3937809"/>
            <a:ext cx="395049" cy="388466"/>
            <a:chOff x="6443663" y="2484438"/>
            <a:chExt cx="285750" cy="280987"/>
          </a:xfrm>
          <a:solidFill>
            <a:srgbClr val="F6443B"/>
          </a:solidFill>
          <a:effectLst/>
        </p:grpSpPr>
        <p:sp>
          <p:nvSpPr>
            <p:cNvPr id="40" name="Freeform 3837"/>
            <p:cNvSpPr>
              <a:spLocks/>
            </p:cNvSpPr>
            <p:nvPr/>
          </p:nvSpPr>
          <p:spPr bwMode="auto">
            <a:xfrm>
              <a:off x="6486525" y="2498725"/>
              <a:ext cx="42863" cy="42863"/>
            </a:xfrm>
            <a:custGeom>
              <a:avLst/>
              <a:gdLst>
                <a:gd name="T0" fmla="*/ 84 w 135"/>
                <a:gd name="T1" fmla="*/ 127 h 136"/>
                <a:gd name="T2" fmla="*/ 89 w 135"/>
                <a:gd name="T3" fmla="*/ 130 h 136"/>
                <a:gd name="T4" fmla="*/ 95 w 135"/>
                <a:gd name="T5" fmla="*/ 133 h 136"/>
                <a:gd name="T6" fmla="*/ 100 w 135"/>
                <a:gd name="T7" fmla="*/ 134 h 136"/>
                <a:gd name="T8" fmla="*/ 105 w 135"/>
                <a:gd name="T9" fmla="*/ 136 h 136"/>
                <a:gd name="T10" fmla="*/ 112 w 135"/>
                <a:gd name="T11" fmla="*/ 134 h 136"/>
                <a:gd name="T12" fmla="*/ 117 w 135"/>
                <a:gd name="T13" fmla="*/ 133 h 136"/>
                <a:gd name="T14" fmla="*/ 122 w 135"/>
                <a:gd name="T15" fmla="*/ 130 h 136"/>
                <a:gd name="T16" fmla="*/ 127 w 135"/>
                <a:gd name="T17" fmla="*/ 127 h 136"/>
                <a:gd name="T18" fmla="*/ 131 w 135"/>
                <a:gd name="T19" fmla="*/ 122 h 136"/>
                <a:gd name="T20" fmla="*/ 133 w 135"/>
                <a:gd name="T21" fmla="*/ 116 h 136"/>
                <a:gd name="T22" fmla="*/ 135 w 135"/>
                <a:gd name="T23" fmla="*/ 111 h 136"/>
                <a:gd name="T24" fmla="*/ 135 w 135"/>
                <a:gd name="T25" fmla="*/ 106 h 136"/>
                <a:gd name="T26" fmla="*/ 135 w 135"/>
                <a:gd name="T27" fmla="*/ 100 h 136"/>
                <a:gd name="T28" fmla="*/ 133 w 135"/>
                <a:gd name="T29" fmla="*/ 94 h 136"/>
                <a:gd name="T30" fmla="*/ 131 w 135"/>
                <a:gd name="T31" fmla="*/ 89 h 136"/>
                <a:gd name="T32" fmla="*/ 127 w 135"/>
                <a:gd name="T33" fmla="*/ 84 h 136"/>
                <a:gd name="T34" fmla="*/ 52 w 135"/>
                <a:gd name="T35" fmla="*/ 9 h 136"/>
                <a:gd name="T36" fmla="*/ 47 w 135"/>
                <a:gd name="T37" fmla="*/ 5 h 136"/>
                <a:gd name="T38" fmla="*/ 42 w 135"/>
                <a:gd name="T39" fmla="*/ 3 h 136"/>
                <a:gd name="T40" fmla="*/ 36 w 135"/>
                <a:gd name="T41" fmla="*/ 0 h 136"/>
                <a:gd name="T42" fmla="*/ 30 w 135"/>
                <a:gd name="T43" fmla="*/ 0 h 136"/>
                <a:gd name="T44" fmla="*/ 25 w 135"/>
                <a:gd name="T45" fmla="*/ 0 h 136"/>
                <a:gd name="T46" fmla="*/ 19 w 135"/>
                <a:gd name="T47" fmla="*/ 3 h 136"/>
                <a:gd name="T48" fmla="*/ 14 w 135"/>
                <a:gd name="T49" fmla="*/ 5 h 136"/>
                <a:gd name="T50" fmla="*/ 9 w 135"/>
                <a:gd name="T51" fmla="*/ 9 h 136"/>
                <a:gd name="T52" fmla="*/ 6 w 135"/>
                <a:gd name="T53" fmla="*/ 13 h 136"/>
                <a:gd name="T54" fmla="*/ 2 w 135"/>
                <a:gd name="T55" fmla="*/ 19 h 136"/>
                <a:gd name="T56" fmla="*/ 1 w 135"/>
                <a:gd name="T57" fmla="*/ 25 h 136"/>
                <a:gd name="T58" fmla="*/ 0 w 135"/>
                <a:gd name="T59" fmla="*/ 30 h 136"/>
                <a:gd name="T60" fmla="*/ 1 w 135"/>
                <a:gd name="T61" fmla="*/ 36 h 136"/>
                <a:gd name="T62" fmla="*/ 2 w 135"/>
                <a:gd name="T63" fmla="*/ 41 h 136"/>
                <a:gd name="T64" fmla="*/ 6 w 135"/>
                <a:gd name="T65" fmla="*/ 47 h 136"/>
                <a:gd name="T66" fmla="*/ 9 w 135"/>
                <a:gd name="T67" fmla="*/ 52 h 136"/>
                <a:gd name="T68" fmla="*/ 84 w 135"/>
                <a:gd name="T69" fmla="*/ 12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5" h="136">
                  <a:moveTo>
                    <a:pt x="84" y="127"/>
                  </a:moveTo>
                  <a:lnTo>
                    <a:pt x="89" y="130"/>
                  </a:lnTo>
                  <a:lnTo>
                    <a:pt x="95" y="133"/>
                  </a:lnTo>
                  <a:lnTo>
                    <a:pt x="100" y="134"/>
                  </a:lnTo>
                  <a:lnTo>
                    <a:pt x="105" y="136"/>
                  </a:lnTo>
                  <a:lnTo>
                    <a:pt x="112" y="134"/>
                  </a:lnTo>
                  <a:lnTo>
                    <a:pt x="117" y="133"/>
                  </a:lnTo>
                  <a:lnTo>
                    <a:pt x="122" y="130"/>
                  </a:lnTo>
                  <a:lnTo>
                    <a:pt x="127" y="127"/>
                  </a:lnTo>
                  <a:lnTo>
                    <a:pt x="131" y="122"/>
                  </a:lnTo>
                  <a:lnTo>
                    <a:pt x="133" y="116"/>
                  </a:lnTo>
                  <a:lnTo>
                    <a:pt x="135" y="111"/>
                  </a:lnTo>
                  <a:lnTo>
                    <a:pt x="135" y="106"/>
                  </a:lnTo>
                  <a:lnTo>
                    <a:pt x="135" y="100"/>
                  </a:lnTo>
                  <a:lnTo>
                    <a:pt x="133" y="94"/>
                  </a:lnTo>
                  <a:lnTo>
                    <a:pt x="131" y="89"/>
                  </a:lnTo>
                  <a:lnTo>
                    <a:pt x="127" y="84"/>
                  </a:lnTo>
                  <a:lnTo>
                    <a:pt x="52" y="9"/>
                  </a:lnTo>
                  <a:lnTo>
                    <a:pt x="47" y="5"/>
                  </a:lnTo>
                  <a:lnTo>
                    <a:pt x="42" y="3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9" y="9"/>
                  </a:lnTo>
                  <a:lnTo>
                    <a:pt x="6" y="13"/>
                  </a:lnTo>
                  <a:lnTo>
                    <a:pt x="2" y="19"/>
                  </a:lnTo>
                  <a:lnTo>
                    <a:pt x="1" y="25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6" y="47"/>
                  </a:lnTo>
                  <a:lnTo>
                    <a:pt x="9" y="52"/>
                  </a:lnTo>
                  <a:lnTo>
                    <a:pt x="84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838"/>
            <p:cNvSpPr>
              <a:spLocks/>
            </p:cNvSpPr>
            <p:nvPr/>
          </p:nvSpPr>
          <p:spPr bwMode="auto">
            <a:xfrm>
              <a:off x="6543675" y="2484438"/>
              <a:ext cx="19050" cy="47625"/>
            </a:xfrm>
            <a:custGeom>
              <a:avLst/>
              <a:gdLst>
                <a:gd name="T0" fmla="*/ 30 w 60"/>
                <a:gd name="T1" fmla="*/ 151 h 151"/>
                <a:gd name="T2" fmla="*/ 37 w 60"/>
                <a:gd name="T3" fmla="*/ 149 h 151"/>
                <a:gd name="T4" fmla="*/ 42 w 60"/>
                <a:gd name="T5" fmla="*/ 148 h 151"/>
                <a:gd name="T6" fmla="*/ 48 w 60"/>
                <a:gd name="T7" fmla="*/ 145 h 151"/>
                <a:gd name="T8" fmla="*/ 52 w 60"/>
                <a:gd name="T9" fmla="*/ 142 h 151"/>
                <a:gd name="T10" fmla="*/ 55 w 60"/>
                <a:gd name="T11" fmla="*/ 138 h 151"/>
                <a:gd name="T12" fmla="*/ 58 w 60"/>
                <a:gd name="T13" fmla="*/ 132 h 151"/>
                <a:gd name="T14" fmla="*/ 60 w 60"/>
                <a:gd name="T15" fmla="*/ 127 h 151"/>
                <a:gd name="T16" fmla="*/ 60 w 60"/>
                <a:gd name="T17" fmla="*/ 120 h 151"/>
                <a:gd name="T18" fmla="*/ 60 w 60"/>
                <a:gd name="T19" fmla="*/ 30 h 151"/>
                <a:gd name="T20" fmla="*/ 60 w 60"/>
                <a:gd name="T21" fmla="*/ 24 h 151"/>
                <a:gd name="T22" fmla="*/ 58 w 60"/>
                <a:gd name="T23" fmla="*/ 19 h 151"/>
                <a:gd name="T24" fmla="*/ 55 w 60"/>
                <a:gd name="T25" fmla="*/ 13 h 151"/>
                <a:gd name="T26" fmla="*/ 52 w 60"/>
                <a:gd name="T27" fmla="*/ 9 h 151"/>
                <a:gd name="T28" fmla="*/ 48 w 60"/>
                <a:gd name="T29" fmla="*/ 6 h 151"/>
                <a:gd name="T30" fmla="*/ 42 w 60"/>
                <a:gd name="T31" fmla="*/ 3 h 151"/>
                <a:gd name="T32" fmla="*/ 37 w 60"/>
                <a:gd name="T33" fmla="*/ 0 h 151"/>
                <a:gd name="T34" fmla="*/ 30 w 60"/>
                <a:gd name="T35" fmla="*/ 0 h 151"/>
                <a:gd name="T36" fmla="*/ 25 w 60"/>
                <a:gd name="T37" fmla="*/ 0 h 151"/>
                <a:gd name="T38" fmla="*/ 19 w 60"/>
                <a:gd name="T39" fmla="*/ 3 h 151"/>
                <a:gd name="T40" fmla="*/ 14 w 60"/>
                <a:gd name="T41" fmla="*/ 6 h 151"/>
                <a:gd name="T42" fmla="*/ 9 w 60"/>
                <a:gd name="T43" fmla="*/ 9 h 151"/>
                <a:gd name="T44" fmla="*/ 6 w 60"/>
                <a:gd name="T45" fmla="*/ 13 h 151"/>
                <a:gd name="T46" fmla="*/ 2 w 60"/>
                <a:gd name="T47" fmla="*/ 19 h 151"/>
                <a:gd name="T48" fmla="*/ 1 w 60"/>
                <a:gd name="T49" fmla="*/ 24 h 151"/>
                <a:gd name="T50" fmla="*/ 0 w 60"/>
                <a:gd name="T51" fmla="*/ 30 h 151"/>
                <a:gd name="T52" fmla="*/ 0 w 60"/>
                <a:gd name="T53" fmla="*/ 120 h 151"/>
                <a:gd name="T54" fmla="*/ 1 w 60"/>
                <a:gd name="T55" fmla="*/ 127 h 151"/>
                <a:gd name="T56" fmla="*/ 2 w 60"/>
                <a:gd name="T57" fmla="*/ 132 h 151"/>
                <a:gd name="T58" fmla="*/ 6 w 60"/>
                <a:gd name="T59" fmla="*/ 138 h 151"/>
                <a:gd name="T60" fmla="*/ 9 w 60"/>
                <a:gd name="T61" fmla="*/ 142 h 151"/>
                <a:gd name="T62" fmla="*/ 14 w 60"/>
                <a:gd name="T63" fmla="*/ 145 h 151"/>
                <a:gd name="T64" fmla="*/ 19 w 60"/>
                <a:gd name="T65" fmla="*/ 148 h 151"/>
                <a:gd name="T66" fmla="*/ 25 w 60"/>
                <a:gd name="T67" fmla="*/ 149 h 151"/>
                <a:gd name="T68" fmla="*/ 30 w 60"/>
                <a:gd name="T69" fmla="*/ 151 h 151"/>
                <a:gd name="T70" fmla="*/ 30 w 60"/>
                <a:gd name="T71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151">
                  <a:moveTo>
                    <a:pt x="30" y="151"/>
                  </a:moveTo>
                  <a:lnTo>
                    <a:pt x="37" y="149"/>
                  </a:lnTo>
                  <a:lnTo>
                    <a:pt x="42" y="148"/>
                  </a:lnTo>
                  <a:lnTo>
                    <a:pt x="48" y="145"/>
                  </a:lnTo>
                  <a:lnTo>
                    <a:pt x="52" y="142"/>
                  </a:lnTo>
                  <a:lnTo>
                    <a:pt x="55" y="138"/>
                  </a:lnTo>
                  <a:lnTo>
                    <a:pt x="58" y="132"/>
                  </a:lnTo>
                  <a:lnTo>
                    <a:pt x="60" y="127"/>
                  </a:lnTo>
                  <a:lnTo>
                    <a:pt x="60" y="120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58" y="19"/>
                  </a:lnTo>
                  <a:lnTo>
                    <a:pt x="55" y="13"/>
                  </a:lnTo>
                  <a:lnTo>
                    <a:pt x="52" y="9"/>
                  </a:lnTo>
                  <a:lnTo>
                    <a:pt x="48" y="6"/>
                  </a:lnTo>
                  <a:lnTo>
                    <a:pt x="42" y="3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2" y="19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120"/>
                  </a:lnTo>
                  <a:lnTo>
                    <a:pt x="1" y="127"/>
                  </a:lnTo>
                  <a:lnTo>
                    <a:pt x="2" y="132"/>
                  </a:lnTo>
                  <a:lnTo>
                    <a:pt x="6" y="138"/>
                  </a:lnTo>
                  <a:lnTo>
                    <a:pt x="9" y="142"/>
                  </a:lnTo>
                  <a:lnTo>
                    <a:pt x="14" y="145"/>
                  </a:lnTo>
                  <a:lnTo>
                    <a:pt x="19" y="148"/>
                  </a:lnTo>
                  <a:lnTo>
                    <a:pt x="25" y="149"/>
                  </a:lnTo>
                  <a:lnTo>
                    <a:pt x="30" y="151"/>
                  </a:lnTo>
                  <a:lnTo>
                    <a:pt x="3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39"/>
            <p:cNvSpPr>
              <a:spLocks/>
            </p:cNvSpPr>
            <p:nvPr/>
          </p:nvSpPr>
          <p:spPr bwMode="auto">
            <a:xfrm>
              <a:off x="6467475" y="2555875"/>
              <a:ext cx="47625" cy="19050"/>
            </a:xfrm>
            <a:custGeom>
              <a:avLst/>
              <a:gdLst>
                <a:gd name="T0" fmla="*/ 30 w 150"/>
                <a:gd name="T1" fmla="*/ 60 h 60"/>
                <a:gd name="T2" fmla="*/ 120 w 150"/>
                <a:gd name="T3" fmla="*/ 60 h 60"/>
                <a:gd name="T4" fmla="*/ 127 w 150"/>
                <a:gd name="T5" fmla="*/ 59 h 60"/>
                <a:gd name="T6" fmla="*/ 132 w 150"/>
                <a:gd name="T7" fmla="*/ 57 h 60"/>
                <a:gd name="T8" fmla="*/ 137 w 150"/>
                <a:gd name="T9" fmla="*/ 54 h 60"/>
                <a:gd name="T10" fmla="*/ 142 w 150"/>
                <a:gd name="T11" fmla="*/ 51 h 60"/>
                <a:gd name="T12" fmla="*/ 145 w 150"/>
                <a:gd name="T13" fmla="*/ 47 h 60"/>
                <a:gd name="T14" fmla="*/ 148 w 150"/>
                <a:gd name="T15" fmla="*/ 41 h 60"/>
                <a:gd name="T16" fmla="*/ 150 w 150"/>
                <a:gd name="T17" fmla="*/ 36 h 60"/>
                <a:gd name="T18" fmla="*/ 150 w 150"/>
                <a:gd name="T19" fmla="*/ 30 h 60"/>
                <a:gd name="T20" fmla="*/ 150 w 150"/>
                <a:gd name="T21" fmla="*/ 23 h 60"/>
                <a:gd name="T22" fmla="*/ 148 w 150"/>
                <a:gd name="T23" fmla="*/ 18 h 60"/>
                <a:gd name="T24" fmla="*/ 145 w 150"/>
                <a:gd name="T25" fmla="*/ 12 h 60"/>
                <a:gd name="T26" fmla="*/ 142 w 150"/>
                <a:gd name="T27" fmla="*/ 8 h 60"/>
                <a:gd name="T28" fmla="*/ 137 w 150"/>
                <a:gd name="T29" fmla="*/ 5 h 60"/>
                <a:gd name="T30" fmla="*/ 132 w 150"/>
                <a:gd name="T31" fmla="*/ 2 h 60"/>
                <a:gd name="T32" fmla="*/ 127 w 150"/>
                <a:gd name="T33" fmla="*/ 1 h 60"/>
                <a:gd name="T34" fmla="*/ 120 w 150"/>
                <a:gd name="T35" fmla="*/ 0 h 60"/>
                <a:gd name="T36" fmla="*/ 30 w 150"/>
                <a:gd name="T37" fmla="*/ 0 h 60"/>
                <a:gd name="T38" fmla="*/ 24 w 150"/>
                <a:gd name="T39" fmla="*/ 1 h 60"/>
                <a:gd name="T40" fmla="*/ 18 w 150"/>
                <a:gd name="T41" fmla="*/ 2 h 60"/>
                <a:gd name="T42" fmla="*/ 13 w 150"/>
                <a:gd name="T43" fmla="*/ 5 h 60"/>
                <a:gd name="T44" fmla="*/ 9 w 150"/>
                <a:gd name="T45" fmla="*/ 8 h 60"/>
                <a:gd name="T46" fmla="*/ 5 w 150"/>
                <a:gd name="T47" fmla="*/ 12 h 60"/>
                <a:gd name="T48" fmla="*/ 2 w 150"/>
                <a:gd name="T49" fmla="*/ 18 h 60"/>
                <a:gd name="T50" fmla="*/ 1 w 150"/>
                <a:gd name="T51" fmla="*/ 23 h 60"/>
                <a:gd name="T52" fmla="*/ 0 w 150"/>
                <a:gd name="T53" fmla="*/ 30 h 60"/>
                <a:gd name="T54" fmla="*/ 1 w 150"/>
                <a:gd name="T55" fmla="*/ 36 h 60"/>
                <a:gd name="T56" fmla="*/ 2 w 150"/>
                <a:gd name="T57" fmla="*/ 41 h 60"/>
                <a:gd name="T58" fmla="*/ 5 w 150"/>
                <a:gd name="T59" fmla="*/ 47 h 60"/>
                <a:gd name="T60" fmla="*/ 9 w 150"/>
                <a:gd name="T61" fmla="*/ 51 h 60"/>
                <a:gd name="T62" fmla="*/ 13 w 150"/>
                <a:gd name="T63" fmla="*/ 54 h 60"/>
                <a:gd name="T64" fmla="*/ 18 w 150"/>
                <a:gd name="T65" fmla="*/ 57 h 60"/>
                <a:gd name="T66" fmla="*/ 24 w 150"/>
                <a:gd name="T67" fmla="*/ 59 h 60"/>
                <a:gd name="T68" fmla="*/ 30 w 150"/>
                <a:gd name="T69" fmla="*/ 60 h 60"/>
                <a:gd name="T70" fmla="*/ 30 w 150"/>
                <a:gd name="T7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0">
                  <a:moveTo>
                    <a:pt x="30" y="60"/>
                  </a:moveTo>
                  <a:lnTo>
                    <a:pt x="120" y="60"/>
                  </a:lnTo>
                  <a:lnTo>
                    <a:pt x="127" y="59"/>
                  </a:lnTo>
                  <a:lnTo>
                    <a:pt x="132" y="57"/>
                  </a:lnTo>
                  <a:lnTo>
                    <a:pt x="137" y="54"/>
                  </a:lnTo>
                  <a:lnTo>
                    <a:pt x="142" y="51"/>
                  </a:lnTo>
                  <a:lnTo>
                    <a:pt x="145" y="47"/>
                  </a:lnTo>
                  <a:lnTo>
                    <a:pt x="148" y="41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0" y="23"/>
                  </a:lnTo>
                  <a:lnTo>
                    <a:pt x="148" y="18"/>
                  </a:lnTo>
                  <a:lnTo>
                    <a:pt x="145" y="12"/>
                  </a:lnTo>
                  <a:lnTo>
                    <a:pt x="142" y="8"/>
                  </a:lnTo>
                  <a:lnTo>
                    <a:pt x="137" y="5"/>
                  </a:lnTo>
                  <a:lnTo>
                    <a:pt x="132" y="2"/>
                  </a:lnTo>
                  <a:lnTo>
                    <a:pt x="127" y="1"/>
                  </a:lnTo>
                  <a:lnTo>
                    <a:pt x="120" y="0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8" y="2"/>
                  </a:lnTo>
                  <a:lnTo>
                    <a:pt x="13" y="5"/>
                  </a:lnTo>
                  <a:lnTo>
                    <a:pt x="9" y="8"/>
                  </a:lnTo>
                  <a:lnTo>
                    <a:pt x="5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9" y="51"/>
                  </a:lnTo>
                  <a:lnTo>
                    <a:pt x="13" y="54"/>
                  </a:lnTo>
                  <a:lnTo>
                    <a:pt x="18" y="57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840"/>
            <p:cNvSpPr>
              <a:spLocks/>
            </p:cNvSpPr>
            <p:nvPr/>
          </p:nvSpPr>
          <p:spPr bwMode="auto">
            <a:xfrm>
              <a:off x="6443663" y="2622550"/>
              <a:ext cx="142875" cy="142875"/>
            </a:xfrm>
            <a:custGeom>
              <a:avLst/>
              <a:gdLst>
                <a:gd name="T0" fmla="*/ 279 w 450"/>
                <a:gd name="T1" fmla="*/ 355 h 451"/>
                <a:gd name="T2" fmla="*/ 261 w 450"/>
                <a:gd name="T3" fmla="*/ 370 h 451"/>
                <a:gd name="T4" fmla="*/ 241 w 450"/>
                <a:gd name="T5" fmla="*/ 381 h 451"/>
                <a:gd name="T6" fmla="*/ 222 w 450"/>
                <a:gd name="T7" fmla="*/ 388 h 451"/>
                <a:gd name="T8" fmla="*/ 203 w 450"/>
                <a:gd name="T9" fmla="*/ 391 h 451"/>
                <a:gd name="T10" fmla="*/ 183 w 450"/>
                <a:gd name="T11" fmla="*/ 388 h 451"/>
                <a:gd name="T12" fmla="*/ 164 w 450"/>
                <a:gd name="T13" fmla="*/ 381 h 451"/>
                <a:gd name="T14" fmla="*/ 145 w 450"/>
                <a:gd name="T15" fmla="*/ 370 h 451"/>
                <a:gd name="T16" fmla="*/ 127 w 450"/>
                <a:gd name="T17" fmla="*/ 355 h 451"/>
                <a:gd name="T18" fmla="*/ 88 w 450"/>
                <a:gd name="T19" fmla="*/ 315 h 451"/>
                <a:gd name="T20" fmla="*/ 74 w 450"/>
                <a:gd name="T21" fmla="*/ 296 h 451"/>
                <a:gd name="T22" fmla="*/ 65 w 450"/>
                <a:gd name="T23" fmla="*/ 277 h 451"/>
                <a:gd name="T24" fmla="*/ 60 w 450"/>
                <a:gd name="T25" fmla="*/ 257 h 451"/>
                <a:gd name="T26" fmla="*/ 60 w 450"/>
                <a:gd name="T27" fmla="*/ 238 h 451"/>
                <a:gd name="T28" fmla="*/ 65 w 450"/>
                <a:gd name="T29" fmla="*/ 218 h 451"/>
                <a:gd name="T30" fmla="*/ 74 w 450"/>
                <a:gd name="T31" fmla="*/ 199 h 451"/>
                <a:gd name="T32" fmla="*/ 88 w 450"/>
                <a:gd name="T33" fmla="*/ 181 h 451"/>
                <a:gd name="T34" fmla="*/ 217 w 450"/>
                <a:gd name="T35" fmla="*/ 51 h 451"/>
                <a:gd name="T36" fmla="*/ 223 w 450"/>
                <a:gd name="T37" fmla="*/ 42 h 451"/>
                <a:gd name="T38" fmla="*/ 225 w 450"/>
                <a:gd name="T39" fmla="*/ 30 h 451"/>
                <a:gd name="T40" fmla="*/ 223 w 450"/>
                <a:gd name="T41" fmla="*/ 19 h 451"/>
                <a:gd name="T42" fmla="*/ 217 w 450"/>
                <a:gd name="T43" fmla="*/ 8 h 451"/>
                <a:gd name="T44" fmla="*/ 207 w 450"/>
                <a:gd name="T45" fmla="*/ 2 h 451"/>
                <a:gd name="T46" fmla="*/ 195 w 450"/>
                <a:gd name="T47" fmla="*/ 0 h 451"/>
                <a:gd name="T48" fmla="*/ 184 w 450"/>
                <a:gd name="T49" fmla="*/ 2 h 451"/>
                <a:gd name="T50" fmla="*/ 174 w 450"/>
                <a:gd name="T51" fmla="*/ 8 h 451"/>
                <a:gd name="T52" fmla="*/ 41 w 450"/>
                <a:gd name="T53" fmla="*/ 142 h 451"/>
                <a:gd name="T54" fmla="*/ 20 w 450"/>
                <a:gd name="T55" fmla="*/ 171 h 451"/>
                <a:gd name="T56" fmla="*/ 8 w 450"/>
                <a:gd name="T57" fmla="*/ 201 h 451"/>
                <a:gd name="T58" fmla="*/ 1 w 450"/>
                <a:gd name="T59" fmla="*/ 232 h 451"/>
                <a:gd name="T60" fmla="*/ 1 w 450"/>
                <a:gd name="T61" fmla="*/ 263 h 451"/>
                <a:gd name="T62" fmla="*/ 8 w 450"/>
                <a:gd name="T63" fmla="*/ 294 h 451"/>
                <a:gd name="T64" fmla="*/ 20 w 450"/>
                <a:gd name="T65" fmla="*/ 324 h 451"/>
                <a:gd name="T66" fmla="*/ 41 w 450"/>
                <a:gd name="T67" fmla="*/ 352 h 451"/>
                <a:gd name="T68" fmla="*/ 84 w 450"/>
                <a:gd name="T69" fmla="*/ 396 h 451"/>
                <a:gd name="T70" fmla="*/ 112 w 450"/>
                <a:gd name="T71" fmla="*/ 420 h 451"/>
                <a:gd name="T72" fmla="*/ 142 w 450"/>
                <a:gd name="T73" fmla="*/ 437 h 451"/>
                <a:gd name="T74" fmla="*/ 172 w 450"/>
                <a:gd name="T75" fmla="*/ 448 h 451"/>
                <a:gd name="T76" fmla="*/ 203 w 450"/>
                <a:gd name="T77" fmla="*/ 451 h 451"/>
                <a:gd name="T78" fmla="*/ 234 w 450"/>
                <a:gd name="T79" fmla="*/ 448 h 451"/>
                <a:gd name="T80" fmla="*/ 264 w 450"/>
                <a:gd name="T81" fmla="*/ 437 h 451"/>
                <a:gd name="T82" fmla="*/ 294 w 450"/>
                <a:gd name="T83" fmla="*/ 420 h 451"/>
                <a:gd name="T84" fmla="*/ 322 w 450"/>
                <a:gd name="T85" fmla="*/ 396 h 451"/>
                <a:gd name="T86" fmla="*/ 446 w 450"/>
                <a:gd name="T87" fmla="*/ 272 h 451"/>
                <a:gd name="T88" fmla="*/ 450 w 450"/>
                <a:gd name="T89" fmla="*/ 261 h 451"/>
                <a:gd name="T90" fmla="*/ 450 w 450"/>
                <a:gd name="T91" fmla="*/ 250 h 451"/>
                <a:gd name="T92" fmla="*/ 446 w 450"/>
                <a:gd name="T93" fmla="*/ 239 h 451"/>
                <a:gd name="T94" fmla="*/ 438 w 450"/>
                <a:gd name="T95" fmla="*/ 230 h 451"/>
                <a:gd name="T96" fmla="*/ 427 w 450"/>
                <a:gd name="T97" fmla="*/ 226 h 451"/>
                <a:gd name="T98" fmla="*/ 415 w 450"/>
                <a:gd name="T99" fmla="*/ 226 h 451"/>
                <a:gd name="T100" fmla="*/ 404 w 450"/>
                <a:gd name="T101" fmla="*/ 230 h 451"/>
                <a:gd name="T102" fmla="*/ 399 w 450"/>
                <a:gd name="T103" fmla="*/ 233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0" h="451">
                  <a:moveTo>
                    <a:pt x="399" y="233"/>
                  </a:moveTo>
                  <a:lnTo>
                    <a:pt x="279" y="355"/>
                  </a:lnTo>
                  <a:lnTo>
                    <a:pt x="270" y="362"/>
                  </a:lnTo>
                  <a:lnTo>
                    <a:pt x="261" y="370"/>
                  </a:lnTo>
                  <a:lnTo>
                    <a:pt x="251" y="376"/>
                  </a:lnTo>
                  <a:lnTo>
                    <a:pt x="241" y="381"/>
                  </a:lnTo>
                  <a:lnTo>
                    <a:pt x="232" y="386"/>
                  </a:lnTo>
                  <a:lnTo>
                    <a:pt x="222" y="388"/>
                  </a:lnTo>
                  <a:lnTo>
                    <a:pt x="212" y="390"/>
                  </a:lnTo>
                  <a:lnTo>
                    <a:pt x="203" y="391"/>
                  </a:lnTo>
                  <a:lnTo>
                    <a:pt x="193" y="390"/>
                  </a:lnTo>
                  <a:lnTo>
                    <a:pt x="183" y="388"/>
                  </a:lnTo>
                  <a:lnTo>
                    <a:pt x="174" y="386"/>
                  </a:lnTo>
                  <a:lnTo>
                    <a:pt x="164" y="381"/>
                  </a:lnTo>
                  <a:lnTo>
                    <a:pt x="154" y="376"/>
                  </a:lnTo>
                  <a:lnTo>
                    <a:pt x="145" y="370"/>
                  </a:lnTo>
                  <a:lnTo>
                    <a:pt x="135" y="363"/>
                  </a:lnTo>
                  <a:lnTo>
                    <a:pt x="127" y="355"/>
                  </a:lnTo>
                  <a:lnTo>
                    <a:pt x="97" y="325"/>
                  </a:lnTo>
                  <a:lnTo>
                    <a:pt x="88" y="315"/>
                  </a:lnTo>
                  <a:lnTo>
                    <a:pt x="80" y="305"/>
                  </a:lnTo>
                  <a:lnTo>
                    <a:pt x="74" y="296"/>
                  </a:lnTo>
                  <a:lnTo>
                    <a:pt x="69" y="287"/>
                  </a:lnTo>
                  <a:lnTo>
                    <a:pt x="65" y="277"/>
                  </a:lnTo>
                  <a:lnTo>
                    <a:pt x="62" y="268"/>
                  </a:lnTo>
                  <a:lnTo>
                    <a:pt x="60" y="257"/>
                  </a:lnTo>
                  <a:lnTo>
                    <a:pt x="60" y="247"/>
                  </a:lnTo>
                  <a:lnTo>
                    <a:pt x="60" y="238"/>
                  </a:lnTo>
                  <a:lnTo>
                    <a:pt x="62" y="228"/>
                  </a:lnTo>
                  <a:lnTo>
                    <a:pt x="65" y="218"/>
                  </a:lnTo>
                  <a:lnTo>
                    <a:pt x="69" y="209"/>
                  </a:lnTo>
                  <a:lnTo>
                    <a:pt x="74" y="199"/>
                  </a:lnTo>
                  <a:lnTo>
                    <a:pt x="80" y="190"/>
                  </a:lnTo>
                  <a:lnTo>
                    <a:pt x="88" y="181"/>
                  </a:lnTo>
                  <a:lnTo>
                    <a:pt x="97" y="171"/>
                  </a:lnTo>
                  <a:lnTo>
                    <a:pt x="217" y="51"/>
                  </a:lnTo>
                  <a:lnTo>
                    <a:pt x="221" y="47"/>
                  </a:lnTo>
                  <a:lnTo>
                    <a:pt x="223" y="42"/>
                  </a:lnTo>
                  <a:lnTo>
                    <a:pt x="225" y="35"/>
                  </a:lnTo>
                  <a:lnTo>
                    <a:pt x="225" y="30"/>
                  </a:lnTo>
                  <a:lnTo>
                    <a:pt x="225" y="24"/>
                  </a:lnTo>
                  <a:lnTo>
                    <a:pt x="223" y="19"/>
                  </a:lnTo>
                  <a:lnTo>
                    <a:pt x="221" y="14"/>
                  </a:lnTo>
                  <a:lnTo>
                    <a:pt x="217" y="8"/>
                  </a:lnTo>
                  <a:lnTo>
                    <a:pt x="212" y="5"/>
                  </a:lnTo>
                  <a:lnTo>
                    <a:pt x="207" y="2"/>
                  </a:lnTo>
                  <a:lnTo>
                    <a:pt x="202" y="1"/>
                  </a:lnTo>
                  <a:lnTo>
                    <a:pt x="195" y="0"/>
                  </a:lnTo>
                  <a:lnTo>
                    <a:pt x="190" y="1"/>
                  </a:lnTo>
                  <a:lnTo>
                    <a:pt x="184" y="2"/>
                  </a:lnTo>
                  <a:lnTo>
                    <a:pt x="179" y="5"/>
                  </a:lnTo>
                  <a:lnTo>
                    <a:pt x="174" y="8"/>
                  </a:lnTo>
                  <a:lnTo>
                    <a:pt x="54" y="128"/>
                  </a:lnTo>
                  <a:lnTo>
                    <a:pt x="41" y="142"/>
                  </a:lnTo>
                  <a:lnTo>
                    <a:pt x="30" y="157"/>
                  </a:lnTo>
                  <a:lnTo>
                    <a:pt x="20" y="171"/>
                  </a:lnTo>
                  <a:lnTo>
                    <a:pt x="13" y="186"/>
                  </a:lnTo>
                  <a:lnTo>
                    <a:pt x="8" y="201"/>
                  </a:lnTo>
                  <a:lnTo>
                    <a:pt x="3" y="216"/>
                  </a:lnTo>
                  <a:lnTo>
                    <a:pt x="1" y="232"/>
                  </a:lnTo>
                  <a:lnTo>
                    <a:pt x="0" y="247"/>
                  </a:lnTo>
                  <a:lnTo>
                    <a:pt x="1" y="263"/>
                  </a:lnTo>
                  <a:lnTo>
                    <a:pt x="3" y="278"/>
                  </a:lnTo>
                  <a:lnTo>
                    <a:pt x="8" y="294"/>
                  </a:lnTo>
                  <a:lnTo>
                    <a:pt x="13" y="310"/>
                  </a:lnTo>
                  <a:lnTo>
                    <a:pt x="20" y="324"/>
                  </a:lnTo>
                  <a:lnTo>
                    <a:pt x="30" y="339"/>
                  </a:lnTo>
                  <a:lnTo>
                    <a:pt x="41" y="352"/>
                  </a:lnTo>
                  <a:lnTo>
                    <a:pt x="54" y="366"/>
                  </a:lnTo>
                  <a:lnTo>
                    <a:pt x="84" y="396"/>
                  </a:lnTo>
                  <a:lnTo>
                    <a:pt x="98" y="409"/>
                  </a:lnTo>
                  <a:lnTo>
                    <a:pt x="112" y="420"/>
                  </a:lnTo>
                  <a:lnTo>
                    <a:pt x="127" y="430"/>
                  </a:lnTo>
                  <a:lnTo>
                    <a:pt x="142" y="437"/>
                  </a:lnTo>
                  <a:lnTo>
                    <a:pt x="157" y="444"/>
                  </a:lnTo>
                  <a:lnTo>
                    <a:pt x="172" y="448"/>
                  </a:lnTo>
                  <a:lnTo>
                    <a:pt x="188" y="450"/>
                  </a:lnTo>
                  <a:lnTo>
                    <a:pt x="203" y="451"/>
                  </a:lnTo>
                  <a:lnTo>
                    <a:pt x="219" y="450"/>
                  </a:lnTo>
                  <a:lnTo>
                    <a:pt x="234" y="448"/>
                  </a:lnTo>
                  <a:lnTo>
                    <a:pt x="249" y="444"/>
                  </a:lnTo>
                  <a:lnTo>
                    <a:pt x="264" y="437"/>
                  </a:lnTo>
                  <a:lnTo>
                    <a:pt x="279" y="430"/>
                  </a:lnTo>
                  <a:lnTo>
                    <a:pt x="294" y="420"/>
                  </a:lnTo>
                  <a:lnTo>
                    <a:pt x="308" y="409"/>
                  </a:lnTo>
                  <a:lnTo>
                    <a:pt x="322" y="396"/>
                  </a:lnTo>
                  <a:lnTo>
                    <a:pt x="442" y="276"/>
                  </a:lnTo>
                  <a:lnTo>
                    <a:pt x="446" y="272"/>
                  </a:lnTo>
                  <a:lnTo>
                    <a:pt x="448" y="267"/>
                  </a:lnTo>
                  <a:lnTo>
                    <a:pt x="450" y="261"/>
                  </a:lnTo>
                  <a:lnTo>
                    <a:pt x="450" y="255"/>
                  </a:lnTo>
                  <a:lnTo>
                    <a:pt x="450" y="250"/>
                  </a:lnTo>
                  <a:lnTo>
                    <a:pt x="448" y="244"/>
                  </a:lnTo>
                  <a:lnTo>
                    <a:pt x="446" y="239"/>
                  </a:lnTo>
                  <a:lnTo>
                    <a:pt x="442" y="235"/>
                  </a:lnTo>
                  <a:lnTo>
                    <a:pt x="438" y="230"/>
                  </a:lnTo>
                  <a:lnTo>
                    <a:pt x="432" y="227"/>
                  </a:lnTo>
                  <a:lnTo>
                    <a:pt x="427" y="226"/>
                  </a:lnTo>
                  <a:lnTo>
                    <a:pt x="420" y="225"/>
                  </a:lnTo>
                  <a:lnTo>
                    <a:pt x="415" y="226"/>
                  </a:lnTo>
                  <a:lnTo>
                    <a:pt x="410" y="227"/>
                  </a:lnTo>
                  <a:lnTo>
                    <a:pt x="404" y="230"/>
                  </a:lnTo>
                  <a:lnTo>
                    <a:pt x="399" y="235"/>
                  </a:lnTo>
                  <a:lnTo>
                    <a:pt x="399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841"/>
            <p:cNvSpPr>
              <a:spLocks/>
            </p:cNvSpPr>
            <p:nvPr/>
          </p:nvSpPr>
          <p:spPr bwMode="auto">
            <a:xfrm>
              <a:off x="6615113" y="2555875"/>
              <a:ext cx="114300" cy="133350"/>
            </a:xfrm>
            <a:custGeom>
              <a:avLst/>
              <a:gdLst>
                <a:gd name="T0" fmla="*/ 30 w 361"/>
                <a:gd name="T1" fmla="*/ 0 h 420"/>
                <a:gd name="T2" fmla="*/ 19 w 361"/>
                <a:gd name="T3" fmla="*/ 2 h 420"/>
                <a:gd name="T4" fmla="*/ 9 w 361"/>
                <a:gd name="T5" fmla="*/ 8 h 420"/>
                <a:gd name="T6" fmla="*/ 3 w 361"/>
                <a:gd name="T7" fmla="*/ 18 h 420"/>
                <a:gd name="T8" fmla="*/ 0 w 361"/>
                <a:gd name="T9" fmla="*/ 30 h 420"/>
                <a:gd name="T10" fmla="*/ 3 w 361"/>
                <a:gd name="T11" fmla="*/ 41 h 420"/>
                <a:gd name="T12" fmla="*/ 9 w 361"/>
                <a:gd name="T13" fmla="*/ 51 h 420"/>
                <a:gd name="T14" fmla="*/ 19 w 361"/>
                <a:gd name="T15" fmla="*/ 57 h 420"/>
                <a:gd name="T16" fmla="*/ 30 w 361"/>
                <a:gd name="T17" fmla="*/ 60 h 420"/>
                <a:gd name="T18" fmla="*/ 205 w 361"/>
                <a:gd name="T19" fmla="*/ 61 h 420"/>
                <a:gd name="T20" fmla="*/ 225 w 361"/>
                <a:gd name="T21" fmla="*/ 65 h 420"/>
                <a:gd name="T22" fmla="*/ 243 w 361"/>
                <a:gd name="T23" fmla="*/ 75 h 420"/>
                <a:gd name="T24" fmla="*/ 260 w 361"/>
                <a:gd name="T25" fmla="*/ 89 h 420"/>
                <a:gd name="T26" fmla="*/ 275 w 361"/>
                <a:gd name="T27" fmla="*/ 106 h 420"/>
                <a:gd name="T28" fmla="*/ 287 w 361"/>
                <a:gd name="T29" fmla="*/ 125 h 420"/>
                <a:gd name="T30" fmla="*/ 296 w 361"/>
                <a:gd name="T31" fmla="*/ 145 h 420"/>
                <a:gd name="T32" fmla="*/ 300 w 361"/>
                <a:gd name="T33" fmla="*/ 168 h 420"/>
                <a:gd name="T34" fmla="*/ 301 w 361"/>
                <a:gd name="T35" fmla="*/ 255 h 420"/>
                <a:gd name="T36" fmla="*/ 299 w 361"/>
                <a:gd name="T37" fmla="*/ 275 h 420"/>
                <a:gd name="T38" fmla="*/ 292 w 361"/>
                <a:gd name="T39" fmla="*/ 295 h 420"/>
                <a:gd name="T40" fmla="*/ 282 w 361"/>
                <a:gd name="T41" fmla="*/ 313 h 420"/>
                <a:gd name="T42" fmla="*/ 269 w 361"/>
                <a:gd name="T43" fmla="*/ 329 h 420"/>
                <a:gd name="T44" fmla="*/ 254 w 361"/>
                <a:gd name="T45" fmla="*/ 342 h 420"/>
                <a:gd name="T46" fmla="*/ 236 w 361"/>
                <a:gd name="T47" fmla="*/ 351 h 420"/>
                <a:gd name="T48" fmla="*/ 216 w 361"/>
                <a:gd name="T49" fmla="*/ 358 h 420"/>
                <a:gd name="T50" fmla="*/ 196 w 361"/>
                <a:gd name="T51" fmla="*/ 360 h 420"/>
                <a:gd name="T52" fmla="*/ 24 w 361"/>
                <a:gd name="T53" fmla="*/ 361 h 420"/>
                <a:gd name="T54" fmla="*/ 13 w 361"/>
                <a:gd name="T55" fmla="*/ 365 h 420"/>
                <a:gd name="T56" fmla="*/ 5 w 361"/>
                <a:gd name="T57" fmla="*/ 374 h 420"/>
                <a:gd name="T58" fmla="*/ 1 w 361"/>
                <a:gd name="T59" fmla="*/ 384 h 420"/>
                <a:gd name="T60" fmla="*/ 1 w 361"/>
                <a:gd name="T61" fmla="*/ 396 h 420"/>
                <a:gd name="T62" fmla="*/ 5 w 361"/>
                <a:gd name="T63" fmla="*/ 407 h 420"/>
                <a:gd name="T64" fmla="*/ 13 w 361"/>
                <a:gd name="T65" fmla="*/ 416 h 420"/>
                <a:gd name="T66" fmla="*/ 24 w 361"/>
                <a:gd name="T67" fmla="*/ 420 h 420"/>
                <a:gd name="T68" fmla="*/ 196 w 361"/>
                <a:gd name="T69" fmla="*/ 420 h 420"/>
                <a:gd name="T70" fmla="*/ 228 w 361"/>
                <a:gd name="T71" fmla="*/ 417 h 420"/>
                <a:gd name="T72" fmla="*/ 259 w 361"/>
                <a:gd name="T73" fmla="*/ 407 h 420"/>
                <a:gd name="T74" fmla="*/ 287 w 361"/>
                <a:gd name="T75" fmla="*/ 392 h 420"/>
                <a:gd name="T76" fmla="*/ 312 w 361"/>
                <a:gd name="T77" fmla="*/ 372 h 420"/>
                <a:gd name="T78" fmla="*/ 332 w 361"/>
                <a:gd name="T79" fmla="*/ 347 h 420"/>
                <a:gd name="T80" fmla="*/ 347 w 361"/>
                <a:gd name="T81" fmla="*/ 319 h 420"/>
                <a:gd name="T82" fmla="*/ 357 w 361"/>
                <a:gd name="T83" fmla="*/ 288 h 420"/>
                <a:gd name="T84" fmla="*/ 361 w 361"/>
                <a:gd name="T85" fmla="*/ 255 h 420"/>
                <a:gd name="T86" fmla="*/ 360 w 361"/>
                <a:gd name="T87" fmla="*/ 163 h 420"/>
                <a:gd name="T88" fmla="*/ 353 w 361"/>
                <a:gd name="T89" fmla="*/ 130 h 420"/>
                <a:gd name="T90" fmla="*/ 342 w 361"/>
                <a:gd name="T91" fmla="*/ 99 h 420"/>
                <a:gd name="T92" fmla="*/ 323 w 361"/>
                <a:gd name="T93" fmla="*/ 70 h 420"/>
                <a:gd name="T94" fmla="*/ 302 w 361"/>
                <a:gd name="T95" fmla="*/ 45 h 420"/>
                <a:gd name="T96" fmla="*/ 275 w 361"/>
                <a:gd name="T97" fmla="*/ 24 h 420"/>
                <a:gd name="T98" fmla="*/ 246 w 361"/>
                <a:gd name="T99" fmla="*/ 9 h 420"/>
                <a:gd name="T100" fmla="*/ 213 w 361"/>
                <a:gd name="T101" fmla="*/ 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1" h="420">
                  <a:moveTo>
                    <a:pt x="196" y="0"/>
                  </a:move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9" y="8"/>
                  </a:lnTo>
                  <a:lnTo>
                    <a:pt x="5" y="12"/>
                  </a:lnTo>
                  <a:lnTo>
                    <a:pt x="3" y="18"/>
                  </a:lnTo>
                  <a:lnTo>
                    <a:pt x="1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3" y="41"/>
                  </a:lnTo>
                  <a:lnTo>
                    <a:pt x="5" y="47"/>
                  </a:lnTo>
                  <a:lnTo>
                    <a:pt x="9" y="51"/>
                  </a:lnTo>
                  <a:lnTo>
                    <a:pt x="13" y="54"/>
                  </a:lnTo>
                  <a:lnTo>
                    <a:pt x="19" y="57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196" y="60"/>
                  </a:lnTo>
                  <a:lnTo>
                    <a:pt x="205" y="61"/>
                  </a:lnTo>
                  <a:lnTo>
                    <a:pt x="215" y="62"/>
                  </a:lnTo>
                  <a:lnTo>
                    <a:pt x="225" y="65"/>
                  </a:lnTo>
                  <a:lnTo>
                    <a:pt x="234" y="69"/>
                  </a:lnTo>
                  <a:lnTo>
                    <a:pt x="243" y="75"/>
                  </a:lnTo>
                  <a:lnTo>
                    <a:pt x="252" y="81"/>
                  </a:lnTo>
                  <a:lnTo>
                    <a:pt x="260" y="89"/>
                  </a:lnTo>
                  <a:lnTo>
                    <a:pt x="268" y="97"/>
                  </a:lnTo>
                  <a:lnTo>
                    <a:pt x="275" y="106"/>
                  </a:lnTo>
                  <a:lnTo>
                    <a:pt x="282" y="114"/>
                  </a:lnTo>
                  <a:lnTo>
                    <a:pt x="287" y="125"/>
                  </a:lnTo>
                  <a:lnTo>
                    <a:pt x="291" y="135"/>
                  </a:lnTo>
                  <a:lnTo>
                    <a:pt x="296" y="145"/>
                  </a:lnTo>
                  <a:lnTo>
                    <a:pt x="298" y="156"/>
                  </a:lnTo>
                  <a:lnTo>
                    <a:pt x="300" y="168"/>
                  </a:lnTo>
                  <a:lnTo>
                    <a:pt x="301" y="179"/>
                  </a:lnTo>
                  <a:lnTo>
                    <a:pt x="301" y="255"/>
                  </a:lnTo>
                  <a:lnTo>
                    <a:pt x="300" y="265"/>
                  </a:lnTo>
                  <a:lnTo>
                    <a:pt x="299" y="275"/>
                  </a:lnTo>
                  <a:lnTo>
                    <a:pt x="296" y="286"/>
                  </a:lnTo>
                  <a:lnTo>
                    <a:pt x="292" y="295"/>
                  </a:lnTo>
                  <a:lnTo>
                    <a:pt x="287" y="304"/>
                  </a:lnTo>
                  <a:lnTo>
                    <a:pt x="282" y="313"/>
                  </a:lnTo>
                  <a:lnTo>
                    <a:pt x="276" y="321"/>
                  </a:lnTo>
                  <a:lnTo>
                    <a:pt x="269" y="329"/>
                  </a:lnTo>
                  <a:lnTo>
                    <a:pt x="261" y="335"/>
                  </a:lnTo>
                  <a:lnTo>
                    <a:pt x="254" y="342"/>
                  </a:lnTo>
                  <a:lnTo>
                    <a:pt x="244" y="347"/>
                  </a:lnTo>
                  <a:lnTo>
                    <a:pt x="236" y="351"/>
                  </a:lnTo>
                  <a:lnTo>
                    <a:pt x="226" y="356"/>
                  </a:lnTo>
                  <a:lnTo>
                    <a:pt x="216" y="358"/>
                  </a:lnTo>
                  <a:lnTo>
                    <a:pt x="205" y="360"/>
                  </a:lnTo>
                  <a:lnTo>
                    <a:pt x="196" y="360"/>
                  </a:lnTo>
                  <a:lnTo>
                    <a:pt x="30" y="360"/>
                  </a:lnTo>
                  <a:lnTo>
                    <a:pt x="24" y="361"/>
                  </a:lnTo>
                  <a:lnTo>
                    <a:pt x="19" y="362"/>
                  </a:lnTo>
                  <a:lnTo>
                    <a:pt x="13" y="365"/>
                  </a:lnTo>
                  <a:lnTo>
                    <a:pt x="9" y="368"/>
                  </a:lnTo>
                  <a:lnTo>
                    <a:pt x="5" y="374"/>
                  </a:lnTo>
                  <a:lnTo>
                    <a:pt x="3" y="378"/>
                  </a:lnTo>
                  <a:lnTo>
                    <a:pt x="1" y="384"/>
                  </a:lnTo>
                  <a:lnTo>
                    <a:pt x="0" y="390"/>
                  </a:lnTo>
                  <a:lnTo>
                    <a:pt x="1" y="396"/>
                  </a:lnTo>
                  <a:lnTo>
                    <a:pt x="3" y="402"/>
                  </a:lnTo>
                  <a:lnTo>
                    <a:pt x="5" y="407"/>
                  </a:lnTo>
                  <a:lnTo>
                    <a:pt x="9" y="411"/>
                  </a:lnTo>
                  <a:lnTo>
                    <a:pt x="13" y="416"/>
                  </a:lnTo>
                  <a:lnTo>
                    <a:pt x="19" y="418"/>
                  </a:lnTo>
                  <a:lnTo>
                    <a:pt x="24" y="420"/>
                  </a:lnTo>
                  <a:lnTo>
                    <a:pt x="30" y="420"/>
                  </a:lnTo>
                  <a:lnTo>
                    <a:pt x="196" y="420"/>
                  </a:lnTo>
                  <a:lnTo>
                    <a:pt x="212" y="419"/>
                  </a:lnTo>
                  <a:lnTo>
                    <a:pt x="228" y="417"/>
                  </a:lnTo>
                  <a:lnTo>
                    <a:pt x="244" y="412"/>
                  </a:lnTo>
                  <a:lnTo>
                    <a:pt x="259" y="407"/>
                  </a:lnTo>
                  <a:lnTo>
                    <a:pt x="273" y="400"/>
                  </a:lnTo>
                  <a:lnTo>
                    <a:pt x="287" y="392"/>
                  </a:lnTo>
                  <a:lnTo>
                    <a:pt x="300" y="382"/>
                  </a:lnTo>
                  <a:lnTo>
                    <a:pt x="312" y="372"/>
                  </a:lnTo>
                  <a:lnTo>
                    <a:pt x="322" y="360"/>
                  </a:lnTo>
                  <a:lnTo>
                    <a:pt x="332" y="347"/>
                  </a:lnTo>
                  <a:lnTo>
                    <a:pt x="341" y="333"/>
                  </a:lnTo>
                  <a:lnTo>
                    <a:pt x="347" y="319"/>
                  </a:lnTo>
                  <a:lnTo>
                    <a:pt x="353" y="303"/>
                  </a:lnTo>
                  <a:lnTo>
                    <a:pt x="357" y="288"/>
                  </a:lnTo>
                  <a:lnTo>
                    <a:pt x="360" y="272"/>
                  </a:lnTo>
                  <a:lnTo>
                    <a:pt x="361" y="255"/>
                  </a:lnTo>
                  <a:lnTo>
                    <a:pt x="361" y="179"/>
                  </a:lnTo>
                  <a:lnTo>
                    <a:pt x="360" y="163"/>
                  </a:lnTo>
                  <a:lnTo>
                    <a:pt x="358" y="146"/>
                  </a:lnTo>
                  <a:lnTo>
                    <a:pt x="353" y="130"/>
                  </a:lnTo>
                  <a:lnTo>
                    <a:pt x="348" y="115"/>
                  </a:lnTo>
                  <a:lnTo>
                    <a:pt x="342" y="99"/>
                  </a:lnTo>
                  <a:lnTo>
                    <a:pt x="333" y="85"/>
                  </a:lnTo>
                  <a:lnTo>
                    <a:pt x="323" y="70"/>
                  </a:lnTo>
                  <a:lnTo>
                    <a:pt x="314" y="57"/>
                  </a:lnTo>
                  <a:lnTo>
                    <a:pt x="302" y="45"/>
                  </a:lnTo>
                  <a:lnTo>
                    <a:pt x="289" y="34"/>
                  </a:lnTo>
                  <a:lnTo>
                    <a:pt x="275" y="24"/>
                  </a:lnTo>
                  <a:lnTo>
                    <a:pt x="261" y="16"/>
                  </a:lnTo>
                  <a:lnTo>
                    <a:pt x="246" y="9"/>
                  </a:lnTo>
                  <a:lnTo>
                    <a:pt x="229" y="4"/>
                  </a:lnTo>
                  <a:lnTo>
                    <a:pt x="213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504236" y="3944157"/>
            <a:ext cx="405018" cy="375771"/>
            <a:chOff x="9879013" y="2500313"/>
            <a:chExt cx="285750" cy="265113"/>
          </a:xfrm>
          <a:solidFill>
            <a:srgbClr val="F6443B"/>
          </a:solidFill>
          <a:effectLst/>
        </p:grpSpPr>
        <p:sp>
          <p:nvSpPr>
            <p:cNvPr id="46" name="Freeform 3859"/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60"/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861"/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862"/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Freeform 3091"/>
          <p:cNvSpPr>
            <a:spLocks noEditPoints="1"/>
          </p:cNvSpPr>
          <p:nvPr/>
        </p:nvSpPr>
        <p:spPr bwMode="auto">
          <a:xfrm>
            <a:off x="5923274" y="5329418"/>
            <a:ext cx="395049" cy="395049"/>
          </a:xfrm>
          <a:custGeom>
            <a:avLst/>
            <a:gdLst>
              <a:gd name="T0" fmla="*/ 175 w 360"/>
              <a:gd name="T1" fmla="*/ 322 h 359"/>
              <a:gd name="T2" fmla="*/ 166 w 360"/>
              <a:gd name="T3" fmla="*/ 319 h 359"/>
              <a:gd name="T4" fmla="*/ 161 w 360"/>
              <a:gd name="T5" fmla="*/ 313 h 359"/>
              <a:gd name="T6" fmla="*/ 157 w 360"/>
              <a:gd name="T7" fmla="*/ 303 h 359"/>
              <a:gd name="T8" fmla="*/ 157 w 360"/>
              <a:gd name="T9" fmla="*/ 294 h 359"/>
              <a:gd name="T10" fmla="*/ 161 w 360"/>
              <a:gd name="T11" fmla="*/ 286 h 359"/>
              <a:gd name="T12" fmla="*/ 166 w 360"/>
              <a:gd name="T13" fmla="*/ 280 h 359"/>
              <a:gd name="T14" fmla="*/ 175 w 360"/>
              <a:gd name="T15" fmla="*/ 276 h 359"/>
              <a:gd name="T16" fmla="*/ 184 w 360"/>
              <a:gd name="T17" fmla="*/ 276 h 359"/>
              <a:gd name="T18" fmla="*/ 194 w 360"/>
              <a:gd name="T19" fmla="*/ 280 h 359"/>
              <a:gd name="T20" fmla="*/ 200 w 360"/>
              <a:gd name="T21" fmla="*/ 286 h 359"/>
              <a:gd name="T22" fmla="*/ 203 w 360"/>
              <a:gd name="T23" fmla="*/ 294 h 359"/>
              <a:gd name="T24" fmla="*/ 203 w 360"/>
              <a:gd name="T25" fmla="*/ 303 h 359"/>
              <a:gd name="T26" fmla="*/ 200 w 360"/>
              <a:gd name="T27" fmla="*/ 313 h 359"/>
              <a:gd name="T28" fmla="*/ 194 w 360"/>
              <a:gd name="T29" fmla="*/ 319 h 359"/>
              <a:gd name="T30" fmla="*/ 184 w 360"/>
              <a:gd name="T31" fmla="*/ 322 h 359"/>
              <a:gd name="T32" fmla="*/ 168 w 360"/>
              <a:gd name="T33" fmla="*/ 140 h 359"/>
              <a:gd name="T34" fmla="*/ 171 w 360"/>
              <a:gd name="T35" fmla="*/ 132 h 359"/>
              <a:gd name="T36" fmla="*/ 180 w 360"/>
              <a:gd name="T37" fmla="*/ 128 h 359"/>
              <a:gd name="T38" fmla="*/ 188 w 360"/>
              <a:gd name="T39" fmla="*/ 132 h 359"/>
              <a:gd name="T40" fmla="*/ 191 w 360"/>
              <a:gd name="T41" fmla="*/ 140 h 359"/>
              <a:gd name="T42" fmla="*/ 191 w 360"/>
              <a:gd name="T43" fmla="*/ 244 h 359"/>
              <a:gd name="T44" fmla="*/ 184 w 360"/>
              <a:gd name="T45" fmla="*/ 250 h 359"/>
              <a:gd name="T46" fmla="*/ 175 w 360"/>
              <a:gd name="T47" fmla="*/ 250 h 359"/>
              <a:gd name="T48" fmla="*/ 169 w 360"/>
              <a:gd name="T49" fmla="*/ 244 h 359"/>
              <a:gd name="T50" fmla="*/ 168 w 360"/>
              <a:gd name="T51" fmla="*/ 140 h 359"/>
              <a:gd name="T52" fmla="*/ 190 w 360"/>
              <a:gd name="T53" fmla="*/ 6 h 359"/>
              <a:gd name="T54" fmla="*/ 187 w 360"/>
              <a:gd name="T55" fmla="*/ 1 h 359"/>
              <a:gd name="T56" fmla="*/ 180 w 360"/>
              <a:gd name="T57" fmla="*/ 0 h 359"/>
              <a:gd name="T58" fmla="*/ 174 w 360"/>
              <a:gd name="T59" fmla="*/ 1 h 359"/>
              <a:gd name="T60" fmla="*/ 169 w 360"/>
              <a:gd name="T61" fmla="*/ 6 h 359"/>
              <a:gd name="T62" fmla="*/ 1 w 360"/>
              <a:gd name="T63" fmla="*/ 344 h 359"/>
              <a:gd name="T64" fmla="*/ 1 w 360"/>
              <a:gd name="T65" fmla="*/ 351 h 359"/>
              <a:gd name="T66" fmla="*/ 4 w 360"/>
              <a:gd name="T67" fmla="*/ 356 h 359"/>
              <a:gd name="T68" fmla="*/ 9 w 360"/>
              <a:gd name="T69" fmla="*/ 358 h 359"/>
              <a:gd name="T70" fmla="*/ 347 w 360"/>
              <a:gd name="T71" fmla="*/ 359 h 359"/>
              <a:gd name="T72" fmla="*/ 348 w 360"/>
              <a:gd name="T73" fmla="*/ 359 h 359"/>
              <a:gd name="T74" fmla="*/ 357 w 360"/>
              <a:gd name="T75" fmla="*/ 356 h 359"/>
              <a:gd name="T76" fmla="*/ 360 w 360"/>
              <a:gd name="T77" fmla="*/ 347 h 359"/>
              <a:gd name="T78" fmla="*/ 358 w 360"/>
              <a:gd name="T79" fmla="*/ 340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60" h="359">
                <a:moveTo>
                  <a:pt x="180" y="322"/>
                </a:moveTo>
                <a:lnTo>
                  <a:pt x="175" y="322"/>
                </a:lnTo>
                <a:lnTo>
                  <a:pt x="171" y="321"/>
                </a:lnTo>
                <a:lnTo>
                  <a:pt x="166" y="319"/>
                </a:lnTo>
                <a:lnTo>
                  <a:pt x="163" y="316"/>
                </a:lnTo>
                <a:lnTo>
                  <a:pt x="161" y="313"/>
                </a:lnTo>
                <a:lnTo>
                  <a:pt x="158" y="308"/>
                </a:lnTo>
                <a:lnTo>
                  <a:pt x="157" y="303"/>
                </a:lnTo>
                <a:lnTo>
                  <a:pt x="156" y="299"/>
                </a:lnTo>
                <a:lnTo>
                  <a:pt x="157" y="294"/>
                </a:lnTo>
                <a:lnTo>
                  <a:pt x="158" y="290"/>
                </a:lnTo>
                <a:lnTo>
                  <a:pt x="161" y="286"/>
                </a:lnTo>
                <a:lnTo>
                  <a:pt x="163" y="282"/>
                </a:lnTo>
                <a:lnTo>
                  <a:pt x="166" y="280"/>
                </a:lnTo>
                <a:lnTo>
                  <a:pt x="171" y="277"/>
                </a:lnTo>
                <a:lnTo>
                  <a:pt x="175" y="276"/>
                </a:lnTo>
                <a:lnTo>
                  <a:pt x="180" y="275"/>
                </a:lnTo>
                <a:lnTo>
                  <a:pt x="184" y="276"/>
                </a:lnTo>
                <a:lnTo>
                  <a:pt x="189" y="277"/>
                </a:lnTo>
                <a:lnTo>
                  <a:pt x="194" y="280"/>
                </a:lnTo>
                <a:lnTo>
                  <a:pt x="197" y="282"/>
                </a:lnTo>
                <a:lnTo>
                  <a:pt x="200" y="286"/>
                </a:lnTo>
                <a:lnTo>
                  <a:pt x="202" y="290"/>
                </a:lnTo>
                <a:lnTo>
                  <a:pt x="203" y="294"/>
                </a:lnTo>
                <a:lnTo>
                  <a:pt x="205" y="299"/>
                </a:lnTo>
                <a:lnTo>
                  <a:pt x="203" y="303"/>
                </a:lnTo>
                <a:lnTo>
                  <a:pt x="202" y="308"/>
                </a:lnTo>
                <a:lnTo>
                  <a:pt x="200" y="313"/>
                </a:lnTo>
                <a:lnTo>
                  <a:pt x="197" y="316"/>
                </a:lnTo>
                <a:lnTo>
                  <a:pt x="194" y="319"/>
                </a:lnTo>
                <a:lnTo>
                  <a:pt x="189" y="321"/>
                </a:lnTo>
                <a:lnTo>
                  <a:pt x="184" y="322"/>
                </a:lnTo>
                <a:lnTo>
                  <a:pt x="180" y="322"/>
                </a:lnTo>
                <a:close/>
                <a:moveTo>
                  <a:pt x="168" y="140"/>
                </a:moveTo>
                <a:lnTo>
                  <a:pt x="169" y="136"/>
                </a:lnTo>
                <a:lnTo>
                  <a:pt x="171" y="132"/>
                </a:lnTo>
                <a:lnTo>
                  <a:pt x="175" y="130"/>
                </a:lnTo>
                <a:lnTo>
                  <a:pt x="180" y="128"/>
                </a:lnTo>
                <a:lnTo>
                  <a:pt x="184" y="130"/>
                </a:lnTo>
                <a:lnTo>
                  <a:pt x="188" y="132"/>
                </a:lnTo>
                <a:lnTo>
                  <a:pt x="191" y="136"/>
                </a:lnTo>
                <a:lnTo>
                  <a:pt x="191" y="140"/>
                </a:lnTo>
                <a:lnTo>
                  <a:pt x="191" y="239"/>
                </a:lnTo>
                <a:lnTo>
                  <a:pt x="191" y="244"/>
                </a:lnTo>
                <a:lnTo>
                  <a:pt x="188" y="247"/>
                </a:lnTo>
                <a:lnTo>
                  <a:pt x="184" y="250"/>
                </a:lnTo>
                <a:lnTo>
                  <a:pt x="180" y="251"/>
                </a:lnTo>
                <a:lnTo>
                  <a:pt x="175" y="250"/>
                </a:lnTo>
                <a:lnTo>
                  <a:pt x="171" y="247"/>
                </a:lnTo>
                <a:lnTo>
                  <a:pt x="169" y="244"/>
                </a:lnTo>
                <a:lnTo>
                  <a:pt x="168" y="239"/>
                </a:lnTo>
                <a:lnTo>
                  <a:pt x="168" y="140"/>
                </a:lnTo>
                <a:close/>
                <a:moveTo>
                  <a:pt x="358" y="339"/>
                </a:moveTo>
                <a:lnTo>
                  <a:pt x="190" y="6"/>
                </a:lnTo>
                <a:lnTo>
                  <a:pt x="189" y="4"/>
                </a:lnTo>
                <a:lnTo>
                  <a:pt x="187" y="1"/>
                </a:lnTo>
                <a:lnTo>
                  <a:pt x="183" y="0"/>
                </a:lnTo>
                <a:lnTo>
                  <a:pt x="180" y="0"/>
                </a:lnTo>
                <a:lnTo>
                  <a:pt x="177" y="0"/>
                </a:lnTo>
                <a:lnTo>
                  <a:pt x="174" y="1"/>
                </a:lnTo>
                <a:lnTo>
                  <a:pt x="171" y="4"/>
                </a:lnTo>
                <a:lnTo>
                  <a:pt x="169" y="6"/>
                </a:lnTo>
                <a:lnTo>
                  <a:pt x="1" y="341"/>
                </a:lnTo>
                <a:lnTo>
                  <a:pt x="1" y="344"/>
                </a:lnTo>
                <a:lnTo>
                  <a:pt x="0" y="347"/>
                </a:lnTo>
                <a:lnTo>
                  <a:pt x="1" y="351"/>
                </a:lnTo>
                <a:lnTo>
                  <a:pt x="2" y="353"/>
                </a:lnTo>
                <a:lnTo>
                  <a:pt x="4" y="356"/>
                </a:lnTo>
                <a:lnTo>
                  <a:pt x="7" y="357"/>
                </a:lnTo>
                <a:lnTo>
                  <a:pt x="9" y="358"/>
                </a:lnTo>
                <a:lnTo>
                  <a:pt x="12" y="359"/>
                </a:lnTo>
                <a:lnTo>
                  <a:pt x="347" y="359"/>
                </a:lnTo>
                <a:lnTo>
                  <a:pt x="347" y="359"/>
                </a:lnTo>
                <a:lnTo>
                  <a:pt x="348" y="359"/>
                </a:lnTo>
                <a:lnTo>
                  <a:pt x="352" y="358"/>
                </a:lnTo>
                <a:lnTo>
                  <a:pt x="357" y="356"/>
                </a:lnTo>
                <a:lnTo>
                  <a:pt x="359" y="352"/>
                </a:lnTo>
                <a:lnTo>
                  <a:pt x="360" y="347"/>
                </a:lnTo>
                <a:lnTo>
                  <a:pt x="359" y="343"/>
                </a:lnTo>
                <a:lnTo>
                  <a:pt x="358" y="340"/>
                </a:lnTo>
                <a:lnTo>
                  <a:pt x="358" y="339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1" name="Group 50"/>
          <p:cNvGrpSpPr/>
          <p:nvPr/>
        </p:nvGrpSpPr>
        <p:grpSpPr>
          <a:xfrm>
            <a:off x="7128187" y="2291687"/>
            <a:ext cx="2724345" cy="798810"/>
            <a:chOff x="2158167" y="5234241"/>
            <a:chExt cx="2724345" cy="798810"/>
          </a:xfrm>
        </p:grpSpPr>
        <p:sp>
          <p:nvSpPr>
            <p:cNvPr id="52" name="Text Placeholder 2"/>
            <p:cNvSpPr txBox="1">
              <a:spLocks/>
            </p:cNvSpPr>
            <p:nvPr/>
          </p:nvSpPr>
          <p:spPr>
            <a:xfrm>
              <a:off x="2158167" y="5597034"/>
              <a:ext cx="2724345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158167" y="5234241"/>
              <a:ext cx="1269322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STRENGTHS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8500790" y="3729344"/>
            <a:ext cx="2687529" cy="798810"/>
            <a:chOff x="2158167" y="5234241"/>
            <a:chExt cx="2687529" cy="798810"/>
          </a:xfrm>
        </p:grpSpPr>
        <p:sp>
          <p:nvSpPr>
            <p:cNvPr id="55" name="Text Placeholder 2"/>
            <p:cNvSpPr txBox="1">
              <a:spLocks/>
            </p:cNvSpPr>
            <p:nvPr/>
          </p:nvSpPr>
          <p:spPr>
            <a:xfrm>
              <a:off x="2158167" y="5597034"/>
              <a:ext cx="2687529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158167" y="5234241"/>
              <a:ext cx="1433598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WEAKNESSES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705266" y="3729344"/>
            <a:ext cx="3026659" cy="798810"/>
            <a:chOff x="1107921" y="3065870"/>
            <a:chExt cx="3026659" cy="798810"/>
          </a:xfrm>
        </p:grpSpPr>
        <p:sp>
          <p:nvSpPr>
            <p:cNvPr id="59" name="Text Placeholder 2"/>
            <p:cNvSpPr txBox="1">
              <a:spLocks/>
            </p:cNvSpPr>
            <p:nvPr/>
          </p:nvSpPr>
          <p:spPr>
            <a:xfrm>
              <a:off x="1107921" y="3428663"/>
              <a:ext cx="3026659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405517" y="3065870"/>
              <a:ext cx="1729063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OPPORTUNITIES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06982" y="5205300"/>
            <a:ext cx="3079644" cy="798810"/>
            <a:chOff x="1054936" y="4350844"/>
            <a:chExt cx="3079644" cy="798810"/>
          </a:xfrm>
        </p:grpSpPr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1054936" y="4713637"/>
              <a:ext cx="3079644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180601" y="4350844"/>
              <a:ext cx="953979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THREATS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3273823" y="219072"/>
            <a:ext cx="8462323" cy="1151539"/>
            <a:chOff x="3273823" y="-1579979"/>
            <a:chExt cx="8462323" cy="1151539"/>
          </a:xfrm>
        </p:grpSpPr>
        <p:sp>
          <p:nvSpPr>
            <p:cNvPr id="68" name="Oval 58"/>
            <p:cNvSpPr>
              <a:spLocks noChangeArrowheads="1"/>
            </p:cNvSpPr>
            <p:nvPr/>
          </p:nvSpPr>
          <p:spPr bwMode="auto">
            <a:xfrm>
              <a:off x="5450338" y="-50242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59"/>
            <p:cNvSpPr>
              <a:spLocks noChangeArrowheads="1"/>
            </p:cNvSpPr>
            <p:nvPr/>
          </p:nvSpPr>
          <p:spPr bwMode="auto">
            <a:xfrm>
              <a:off x="8782823" y="-1505282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0"/>
            <p:cNvSpPr>
              <a:spLocks noChangeArrowheads="1"/>
            </p:cNvSpPr>
            <p:nvPr/>
          </p:nvSpPr>
          <p:spPr bwMode="auto">
            <a:xfrm>
              <a:off x="6211676" y="-55758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1"/>
            <p:cNvSpPr>
              <a:spLocks noChangeArrowheads="1"/>
            </p:cNvSpPr>
            <p:nvPr/>
          </p:nvSpPr>
          <p:spPr bwMode="auto">
            <a:xfrm>
              <a:off x="3744983" y="-92846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62"/>
            <p:cNvSpPr>
              <a:spLocks noChangeArrowheads="1"/>
            </p:cNvSpPr>
            <p:nvPr/>
          </p:nvSpPr>
          <p:spPr bwMode="auto">
            <a:xfrm>
              <a:off x="4880380" y="-8965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3"/>
            <p:cNvSpPr>
              <a:spLocks noChangeArrowheads="1"/>
            </p:cNvSpPr>
            <p:nvPr/>
          </p:nvSpPr>
          <p:spPr bwMode="auto">
            <a:xfrm>
              <a:off x="6848490" y="-1103758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4"/>
            <p:cNvSpPr>
              <a:spLocks noChangeArrowheads="1"/>
            </p:cNvSpPr>
            <p:nvPr/>
          </p:nvSpPr>
          <p:spPr bwMode="auto">
            <a:xfrm>
              <a:off x="6277220" y="-10882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5"/>
            <p:cNvSpPr>
              <a:spLocks noChangeArrowheads="1"/>
            </p:cNvSpPr>
            <p:nvPr/>
          </p:nvSpPr>
          <p:spPr bwMode="auto">
            <a:xfrm>
              <a:off x="8325596" y="-618564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6"/>
            <p:cNvSpPr>
              <a:spLocks noChangeArrowheads="1"/>
            </p:cNvSpPr>
            <p:nvPr/>
          </p:nvSpPr>
          <p:spPr bwMode="auto">
            <a:xfrm>
              <a:off x="4670520" y="-12973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7"/>
            <p:cNvSpPr>
              <a:spLocks noChangeArrowheads="1"/>
            </p:cNvSpPr>
            <p:nvPr/>
          </p:nvSpPr>
          <p:spPr bwMode="auto">
            <a:xfrm>
              <a:off x="4361279" y="-56343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8"/>
            <p:cNvSpPr>
              <a:spLocks noChangeArrowheads="1"/>
            </p:cNvSpPr>
            <p:nvPr/>
          </p:nvSpPr>
          <p:spPr bwMode="auto">
            <a:xfrm>
              <a:off x="9297913" y="-856961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69"/>
            <p:cNvSpPr>
              <a:spLocks noChangeArrowheads="1"/>
            </p:cNvSpPr>
            <p:nvPr/>
          </p:nvSpPr>
          <p:spPr bwMode="auto">
            <a:xfrm>
              <a:off x="11127922" y="-100184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0"/>
            <p:cNvSpPr>
              <a:spLocks noChangeArrowheads="1"/>
            </p:cNvSpPr>
            <p:nvPr/>
          </p:nvSpPr>
          <p:spPr bwMode="auto">
            <a:xfrm>
              <a:off x="10705680" y="-1528630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1"/>
            <p:cNvSpPr>
              <a:spLocks noChangeArrowheads="1"/>
            </p:cNvSpPr>
            <p:nvPr/>
          </p:nvSpPr>
          <p:spPr bwMode="auto">
            <a:xfrm>
              <a:off x="7440402" y="-68672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Oval 72"/>
            <p:cNvSpPr>
              <a:spLocks noChangeArrowheads="1"/>
            </p:cNvSpPr>
            <p:nvPr/>
          </p:nvSpPr>
          <p:spPr bwMode="auto">
            <a:xfrm>
              <a:off x="7380314" y="-1098865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Oval 73"/>
            <p:cNvSpPr>
              <a:spLocks noChangeArrowheads="1"/>
            </p:cNvSpPr>
            <p:nvPr/>
          </p:nvSpPr>
          <p:spPr bwMode="auto">
            <a:xfrm>
              <a:off x="3273823" y="-129922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4"/>
            <p:cNvSpPr>
              <a:spLocks noChangeArrowheads="1"/>
            </p:cNvSpPr>
            <p:nvPr/>
          </p:nvSpPr>
          <p:spPr bwMode="auto">
            <a:xfrm>
              <a:off x="5818023" y="-157997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5"/>
            <p:cNvSpPr>
              <a:spLocks noChangeArrowheads="1"/>
            </p:cNvSpPr>
            <p:nvPr/>
          </p:nvSpPr>
          <p:spPr bwMode="auto">
            <a:xfrm>
              <a:off x="6956110" y="-8965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76"/>
            <p:cNvSpPr>
              <a:spLocks noChangeArrowheads="1"/>
            </p:cNvSpPr>
            <p:nvPr/>
          </p:nvSpPr>
          <p:spPr bwMode="auto">
            <a:xfrm>
              <a:off x="11662157" y="-1286484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77"/>
            <p:cNvSpPr>
              <a:spLocks noChangeArrowheads="1"/>
            </p:cNvSpPr>
            <p:nvPr/>
          </p:nvSpPr>
          <p:spPr bwMode="auto">
            <a:xfrm>
              <a:off x="9845429" y="-899050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78"/>
            <p:cNvSpPr>
              <a:spLocks noChangeArrowheads="1"/>
            </p:cNvSpPr>
            <p:nvPr/>
          </p:nvSpPr>
          <p:spPr bwMode="auto">
            <a:xfrm>
              <a:off x="10735070" y="-823945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79"/>
            <p:cNvSpPr>
              <a:spLocks noChangeArrowheads="1"/>
            </p:cNvSpPr>
            <p:nvPr/>
          </p:nvSpPr>
          <p:spPr bwMode="auto">
            <a:xfrm>
              <a:off x="8007945" y="-1393167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826809" y="589490"/>
            <a:ext cx="386041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WOT ANALYSI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635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0" y="0"/>
            <a:ext cx="12188891" cy="62103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Freeform 8"/>
          <p:cNvSpPr>
            <a:spLocks/>
          </p:cNvSpPr>
          <p:nvPr/>
        </p:nvSpPr>
        <p:spPr bwMode="auto">
          <a:xfrm>
            <a:off x="1625922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6"/>
          <p:cNvSpPr>
            <a:spLocks/>
          </p:cNvSpPr>
          <p:nvPr/>
        </p:nvSpPr>
        <p:spPr bwMode="auto">
          <a:xfrm>
            <a:off x="-200025" y="5247096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7"/>
          <p:cNvSpPr>
            <a:spLocks/>
          </p:cNvSpPr>
          <p:nvPr/>
        </p:nvSpPr>
        <p:spPr bwMode="auto">
          <a:xfrm>
            <a:off x="10781752" y="4721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8"/>
          <p:cNvSpPr>
            <a:spLocks/>
          </p:cNvSpPr>
          <p:nvPr/>
        </p:nvSpPr>
        <p:spPr bwMode="auto">
          <a:xfrm>
            <a:off x="8212883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9"/>
          <p:cNvSpPr>
            <a:spLocks/>
          </p:cNvSpPr>
          <p:nvPr/>
        </p:nvSpPr>
        <p:spPr bwMode="auto">
          <a:xfrm>
            <a:off x="9427288" y="5357407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48"/>
          <p:cNvSpPr>
            <a:spLocks noChangeArrowheads="1"/>
          </p:cNvSpPr>
          <p:nvPr/>
        </p:nvSpPr>
        <p:spPr bwMode="auto">
          <a:xfrm>
            <a:off x="0" y="6211815"/>
            <a:ext cx="12188890" cy="646185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8"/>
          <p:cNvSpPr>
            <a:spLocks/>
          </p:cNvSpPr>
          <p:nvPr/>
        </p:nvSpPr>
        <p:spPr bwMode="auto">
          <a:xfrm>
            <a:off x="1095299" y="5704484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1"/>
          <p:cNvSpPr>
            <a:spLocks/>
          </p:cNvSpPr>
          <p:nvPr/>
        </p:nvSpPr>
        <p:spPr bwMode="auto">
          <a:xfrm>
            <a:off x="101072" y="62103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56"/>
          <p:cNvSpPr>
            <a:spLocks/>
          </p:cNvSpPr>
          <p:nvPr/>
        </p:nvSpPr>
        <p:spPr bwMode="auto">
          <a:xfrm>
            <a:off x="1186104" y="6210300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11273234" y="5876676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9171688" y="5956047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8983352" y="6044833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423473" y="6007166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343138" y="4374474"/>
            <a:ext cx="11280295" cy="1200361"/>
            <a:chOff x="343138" y="3531299"/>
            <a:chExt cx="11280295" cy="1200361"/>
          </a:xfrm>
        </p:grpSpPr>
        <p:sp>
          <p:nvSpPr>
            <p:cNvPr id="18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59"/>
            <p:cNvSpPr>
              <a:spLocks noChangeArrowheads="1"/>
            </p:cNvSpPr>
            <p:nvPr/>
          </p:nvSpPr>
          <p:spPr bwMode="auto">
            <a:xfrm>
              <a:off x="8670110" y="3627291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0"/>
            <p:cNvSpPr>
              <a:spLocks noChangeArrowheads="1"/>
            </p:cNvSpPr>
            <p:nvPr/>
          </p:nvSpPr>
          <p:spPr bwMode="auto">
            <a:xfrm>
              <a:off x="3280991" y="455369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4"/>
            <p:cNvSpPr>
              <a:spLocks noChangeArrowheads="1"/>
            </p:cNvSpPr>
            <p:nvPr/>
          </p:nvSpPr>
          <p:spPr bwMode="auto">
            <a:xfrm>
              <a:off x="3346535" y="40229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5"/>
            <p:cNvSpPr>
              <a:spLocks noChangeArrowheads="1"/>
            </p:cNvSpPr>
            <p:nvPr/>
          </p:nvSpPr>
          <p:spPr bwMode="auto">
            <a:xfrm>
              <a:off x="8212883" y="4514009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6"/>
            <p:cNvSpPr>
              <a:spLocks noChangeArrowheads="1"/>
            </p:cNvSpPr>
            <p:nvPr/>
          </p:nvSpPr>
          <p:spPr bwMode="auto">
            <a:xfrm>
              <a:off x="1739835" y="38138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7"/>
            <p:cNvSpPr>
              <a:spLocks noChangeArrowheads="1"/>
            </p:cNvSpPr>
            <p:nvPr/>
          </p:nvSpPr>
          <p:spPr bwMode="auto">
            <a:xfrm>
              <a:off x="1430594" y="454784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8"/>
            <p:cNvSpPr>
              <a:spLocks noChangeArrowheads="1"/>
            </p:cNvSpPr>
            <p:nvPr/>
          </p:nvSpPr>
          <p:spPr bwMode="auto">
            <a:xfrm>
              <a:off x="9253286" y="4654980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3"/>
            <p:cNvSpPr>
              <a:spLocks noChangeArrowheads="1"/>
            </p:cNvSpPr>
            <p:nvPr/>
          </p:nvSpPr>
          <p:spPr bwMode="auto">
            <a:xfrm>
              <a:off x="343138" y="3812050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7"/>
            <p:cNvSpPr>
              <a:spLocks noChangeArrowheads="1"/>
            </p:cNvSpPr>
            <p:nvPr/>
          </p:nvSpPr>
          <p:spPr bwMode="auto">
            <a:xfrm>
              <a:off x="9732716" y="4233523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71"/>
            <p:cNvSpPr>
              <a:spLocks noChangeArrowheads="1"/>
            </p:cNvSpPr>
            <p:nvPr/>
          </p:nvSpPr>
          <p:spPr bwMode="auto">
            <a:xfrm>
              <a:off x="6343703" y="4348351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75"/>
            <p:cNvSpPr>
              <a:spLocks noChangeArrowheads="1"/>
            </p:cNvSpPr>
            <p:nvPr/>
          </p:nvSpPr>
          <p:spPr bwMode="auto">
            <a:xfrm>
              <a:off x="5859411" y="4138491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71"/>
            <p:cNvSpPr>
              <a:spLocks noChangeArrowheads="1"/>
            </p:cNvSpPr>
            <p:nvPr/>
          </p:nvSpPr>
          <p:spPr bwMode="auto">
            <a:xfrm>
              <a:off x="5025600" y="387549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79"/>
            <p:cNvSpPr>
              <a:spLocks noChangeArrowheads="1"/>
            </p:cNvSpPr>
            <p:nvPr/>
          </p:nvSpPr>
          <p:spPr bwMode="auto">
            <a:xfrm>
              <a:off x="6269714" y="3723255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74"/>
            <p:cNvSpPr>
              <a:spLocks noChangeArrowheads="1"/>
            </p:cNvSpPr>
            <p:nvPr/>
          </p:nvSpPr>
          <p:spPr bwMode="auto">
            <a:xfrm>
              <a:off x="5254903" y="432690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70"/>
            <p:cNvSpPr>
              <a:spLocks noChangeArrowheads="1"/>
            </p:cNvSpPr>
            <p:nvPr/>
          </p:nvSpPr>
          <p:spPr bwMode="auto">
            <a:xfrm>
              <a:off x="7267601" y="454607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Freeform 56"/>
          <p:cNvSpPr>
            <a:spLocks/>
          </p:cNvSpPr>
          <p:nvPr/>
        </p:nvSpPr>
        <p:spPr bwMode="auto">
          <a:xfrm>
            <a:off x="9676331" y="6210300"/>
            <a:ext cx="1351446" cy="671391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56"/>
          <p:cNvSpPr>
            <a:spLocks/>
          </p:cNvSpPr>
          <p:nvPr/>
        </p:nvSpPr>
        <p:spPr bwMode="auto">
          <a:xfrm>
            <a:off x="11067460" y="6210300"/>
            <a:ext cx="2107195" cy="1046843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826809" y="589490"/>
            <a:ext cx="2180084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OPTION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 rot="2700000">
            <a:off x="1360399" y="1827616"/>
            <a:ext cx="1130013" cy="1130013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 rot="2700000">
            <a:off x="1539096" y="2006313"/>
            <a:ext cx="772618" cy="772618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Snip Diagonal Corner Rectangle 43"/>
          <p:cNvSpPr/>
          <p:nvPr/>
        </p:nvSpPr>
        <p:spPr>
          <a:xfrm flipH="1">
            <a:off x="829174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Freeform 47"/>
          <p:cNvSpPr/>
          <p:nvPr/>
        </p:nvSpPr>
        <p:spPr>
          <a:xfrm rot="18900000" flipH="1">
            <a:off x="1360399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1126364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50" name="Text Placeholder 2"/>
          <p:cNvSpPr txBox="1">
            <a:spLocks/>
          </p:cNvSpPr>
          <p:nvPr/>
        </p:nvSpPr>
        <p:spPr>
          <a:xfrm>
            <a:off x="1125356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1707282" y="5347436"/>
            <a:ext cx="436246" cy="626668"/>
            <a:chOff x="10502900" y="815975"/>
            <a:chExt cx="200025" cy="287338"/>
          </a:xfrm>
          <a:solidFill>
            <a:srgbClr val="B0F7F4"/>
          </a:solidFill>
          <a:effectLst/>
        </p:grpSpPr>
        <p:sp>
          <p:nvSpPr>
            <p:cNvPr id="63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Text Placeholder 2"/>
          <p:cNvSpPr txBox="1">
            <a:spLocks/>
          </p:cNvSpPr>
          <p:nvPr/>
        </p:nvSpPr>
        <p:spPr>
          <a:xfrm>
            <a:off x="2025029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rgbClr val="F6443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82" name="Rectangle 81"/>
          <p:cNvSpPr/>
          <p:nvPr/>
        </p:nvSpPr>
        <p:spPr>
          <a:xfrm rot="2700000">
            <a:off x="4141584" y="1827616"/>
            <a:ext cx="1130013" cy="1130013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Rectangle 134"/>
          <p:cNvSpPr/>
          <p:nvPr/>
        </p:nvSpPr>
        <p:spPr>
          <a:xfrm rot="2700000">
            <a:off x="4310911" y="2004091"/>
            <a:ext cx="782028" cy="782028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Snip Diagonal Corner Rectangle 82"/>
          <p:cNvSpPr/>
          <p:nvPr/>
        </p:nvSpPr>
        <p:spPr>
          <a:xfrm flipH="1">
            <a:off x="3610359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Freeform 83"/>
          <p:cNvSpPr/>
          <p:nvPr/>
        </p:nvSpPr>
        <p:spPr>
          <a:xfrm rot="18900000" flipH="1">
            <a:off x="4141584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Text Placeholder 2"/>
          <p:cNvSpPr txBox="1">
            <a:spLocks/>
          </p:cNvSpPr>
          <p:nvPr/>
        </p:nvSpPr>
        <p:spPr>
          <a:xfrm>
            <a:off x="3907549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86" name="Text Placeholder 2"/>
          <p:cNvSpPr txBox="1">
            <a:spLocks/>
          </p:cNvSpPr>
          <p:nvPr/>
        </p:nvSpPr>
        <p:spPr>
          <a:xfrm>
            <a:off x="3906541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88" name="Text Placeholder 2"/>
          <p:cNvSpPr txBox="1">
            <a:spLocks/>
          </p:cNvSpPr>
          <p:nvPr/>
        </p:nvSpPr>
        <p:spPr>
          <a:xfrm>
            <a:off x="4806214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2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4396681" y="5387846"/>
            <a:ext cx="619820" cy="571340"/>
            <a:chOff x="4313201" y="1920875"/>
            <a:chExt cx="284163" cy="261938"/>
          </a:xfrm>
          <a:solidFill>
            <a:srgbClr val="B0F7F4"/>
          </a:solidFill>
          <a:effectLst/>
        </p:grpSpPr>
        <p:sp>
          <p:nvSpPr>
            <p:cNvPr id="60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4" name="Rectangle 93"/>
          <p:cNvSpPr/>
          <p:nvPr/>
        </p:nvSpPr>
        <p:spPr>
          <a:xfrm rot="2700000">
            <a:off x="6922769" y="1827616"/>
            <a:ext cx="1130013" cy="1130013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 rot="2700000">
            <a:off x="7101466" y="2006313"/>
            <a:ext cx="772618" cy="772618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Snip Diagonal Corner Rectangle 94"/>
          <p:cNvSpPr/>
          <p:nvPr/>
        </p:nvSpPr>
        <p:spPr>
          <a:xfrm flipH="1">
            <a:off x="6391544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6" name="Freeform 95"/>
          <p:cNvSpPr/>
          <p:nvPr/>
        </p:nvSpPr>
        <p:spPr>
          <a:xfrm rot="18900000" flipH="1">
            <a:off x="6922769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7" name="Text Placeholder 2"/>
          <p:cNvSpPr txBox="1">
            <a:spLocks/>
          </p:cNvSpPr>
          <p:nvPr/>
        </p:nvSpPr>
        <p:spPr>
          <a:xfrm>
            <a:off x="6688734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98" name="Text Placeholder 2"/>
          <p:cNvSpPr txBox="1">
            <a:spLocks/>
          </p:cNvSpPr>
          <p:nvPr/>
        </p:nvSpPr>
        <p:spPr>
          <a:xfrm>
            <a:off x="6687726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100" name="Text Placeholder 2"/>
          <p:cNvSpPr txBox="1">
            <a:spLocks/>
          </p:cNvSpPr>
          <p:nvPr/>
        </p:nvSpPr>
        <p:spPr>
          <a:xfrm>
            <a:off x="7587399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rgbClr val="F6443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3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7120952" y="5424126"/>
            <a:ext cx="632262" cy="498782"/>
            <a:chOff x="9883775" y="5410200"/>
            <a:chExt cx="285750" cy="225425"/>
          </a:xfrm>
          <a:solidFill>
            <a:srgbClr val="B0F7F4"/>
          </a:solidFill>
          <a:effectLst/>
        </p:grpSpPr>
        <p:sp>
          <p:nvSpPr>
            <p:cNvPr id="57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6" name="Rectangle 105"/>
          <p:cNvSpPr/>
          <p:nvPr/>
        </p:nvSpPr>
        <p:spPr>
          <a:xfrm rot="2700000">
            <a:off x="9703954" y="1827616"/>
            <a:ext cx="1130013" cy="1130013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Rectangle 136"/>
          <p:cNvSpPr/>
          <p:nvPr/>
        </p:nvSpPr>
        <p:spPr>
          <a:xfrm rot="2700000">
            <a:off x="9876494" y="2003134"/>
            <a:ext cx="784936" cy="784936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Snip Diagonal Corner Rectangle 106"/>
          <p:cNvSpPr/>
          <p:nvPr/>
        </p:nvSpPr>
        <p:spPr>
          <a:xfrm flipH="1">
            <a:off x="9172729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8" name="Freeform 107"/>
          <p:cNvSpPr/>
          <p:nvPr/>
        </p:nvSpPr>
        <p:spPr>
          <a:xfrm rot="18900000" flipH="1">
            <a:off x="9703954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Text Placeholder 2"/>
          <p:cNvSpPr txBox="1">
            <a:spLocks/>
          </p:cNvSpPr>
          <p:nvPr/>
        </p:nvSpPr>
        <p:spPr>
          <a:xfrm>
            <a:off x="9469919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0" name="Text Placeholder 2"/>
          <p:cNvSpPr txBox="1">
            <a:spLocks/>
          </p:cNvSpPr>
          <p:nvPr/>
        </p:nvSpPr>
        <p:spPr>
          <a:xfrm>
            <a:off x="9468911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112" name="Text Placeholder 2"/>
          <p:cNvSpPr txBox="1">
            <a:spLocks/>
          </p:cNvSpPr>
          <p:nvPr/>
        </p:nvSpPr>
        <p:spPr>
          <a:xfrm>
            <a:off x="10368584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4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10039521" y="5409003"/>
            <a:ext cx="458878" cy="529026"/>
            <a:chOff x="896938" y="1943100"/>
            <a:chExt cx="249237" cy="287338"/>
          </a:xfrm>
          <a:solidFill>
            <a:srgbClr val="B0F7F4"/>
          </a:solidFill>
          <a:effectLst/>
        </p:grpSpPr>
        <p:sp>
          <p:nvSpPr>
            <p:cNvPr id="120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1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26" name="Snip Single Corner Rectangle 125"/>
          <p:cNvSpPr/>
          <p:nvPr/>
        </p:nvSpPr>
        <p:spPr>
          <a:xfrm>
            <a:off x="3610359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7" name="Snip Single Corner Rectangle 126"/>
          <p:cNvSpPr/>
          <p:nvPr/>
        </p:nvSpPr>
        <p:spPr>
          <a:xfrm>
            <a:off x="829174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8" name="Snip Single Corner Rectangle 127"/>
          <p:cNvSpPr/>
          <p:nvPr/>
        </p:nvSpPr>
        <p:spPr>
          <a:xfrm>
            <a:off x="6391544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9" name="Snip Single Corner Rectangle 128"/>
          <p:cNvSpPr/>
          <p:nvPr/>
        </p:nvSpPr>
        <p:spPr>
          <a:xfrm>
            <a:off x="9172729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08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0" y="0"/>
            <a:ext cx="12192000" cy="2210338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Rectangle 48"/>
          <p:cNvSpPr>
            <a:spLocks noChangeArrowheads="1"/>
          </p:cNvSpPr>
          <p:nvPr/>
        </p:nvSpPr>
        <p:spPr bwMode="auto">
          <a:xfrm>
            <a:off x="3110" y="1563362"/>
            <a:ext cx="12188890" cy="5294638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5" name="Group 114"/>
          <p:cNvGrpSpPr/>
          <p:nvPr/>
        </p:nvGrpSpPr>
        <p:grpSpPr>
          <a:xfrm flipV="1">
            <a:off x="3356769" y="4038416"/>
            <a:ext cx="7300913" cy="189920"/>
            <a:chOff x="1535112" y="4005286"/>
            <a:chExt cx="7300913" cy="189920"/>
          </a:xfrm>
        </p:grpSpPr>
        <p:cxnSp>
          <p:nvCxnSpPr>
            <p:cNvPr id="116" name="Straight Connector 11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F6443B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 7"/>
          <p:cNvSpPr>
            <a:spLocks/>
          </p:cNvSpPr>
          <p:nvPr/>
        </p:nvSpPr>
        <p:spPr bwMode="auto">
          <a:xfrm>
            <a:off x="10781752" y="73439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8"/>
          <p:cNvSpPr>
            <a:spLocks/>
          </p:cNvSpPr>
          <p:nvPr/>
        </p:nvSpPr>
        <p:spPr bwMode="auto">
          <a:xfrm>
            <a:off x="8212883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9"/>
          <p:cNvSpPr>
            <a:spLocks/>
          </p:cNvSpPr>
          <p:nvPr/>
        </p:nvSpPr>
        <p:spPr bwMode="auto">
          <a:xfrm>
            <a:off x="9427288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3"/>
          <p:cNvSpPr>
            <a:spLocks/>
          </p:cNvSpPr>
          <p:nvPr/>
        </p:nvSpPr>
        <p:spPr bwMode="auto">
          <a:xfrm>
            <a:off x="11273234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4"/>
          <p:cNvSpPr>
            <a:spLocks/>
          </p:cNvSpPr>
          <p:nvPr/>
        </p:nvSpPr>
        <p:spPr bwMode="auto">
          <a:xfrm>
            <a:off x="9171688" y="1308385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5"/>
          <p:cNvSpPr>
            <a:spLocks/>
          </p:cNvSpPr>
          <p:nvPr/>
        </p:nvSpPr>
        <p:spPr bwMode="auto">
          <a:xfrm>
            <a:off x="8983352" y="1397171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8"/>
          <p:cNvSpPr>
            <a:spLocks/>
          </p:cNvSpPr>
          <p:nvPr/>
        </p:nvSpPr>
        <p:spPr bwMode="auto">
          <a:xfrm>
            <a:off x="-28325" y="980142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9"/>
          <p:cNvSpPr>
            <a:spLocks/>
          </p:cNvSpPr>
          <p:nvPr/>
        </p:nvSpPr>
        <p:spPr bwMode="auto">
          <a:xfrm>
            <a:off x="-992576" y="709745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3"/>
          <p:cNvSpPr>
            <a:spLocks/>
          </p:cNvSpPr>
          <p:nvPr/>
        </p:nvSpPr>
        <p:spPr bwMode="auto">
          <a:xfrm>
            <a:off x="853370" y="1229014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51"/>
          <p:cNvSpPr>
            <a:spLocks/>
          </p:cNvSpPr>
          <p:nvPr/>
        </p:nvSpPr>
        <p:spPr bwMode="auto">
          <a:xfrm>
            <a:off x="-663933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51"/>
          <p:cNvSpPr>
            <a:spLocks/>
          </p:cNvSpPr>
          <p:nvPr/>
        </p:nvSpPr>
        <p:spPr bwMode="auto">
          <a:xfrm>
            <a:off x="9763778" y="15630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51"/>
          <p:cNvSpPr>
            <a:spLocks/>
          </p:cNvSpPr>
          <p:nvPr/>
        </p:nvSpPr>
        <p:spPr bwMode="auto">
          <a:xfrm>
            <a:off x="8616906" y="1563000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51"/>
          <p:cNvSpPr>
            <a:spLocks/>
          </p:cNvSpPr>
          <p:nvPr/>
        </p:nvSpPr>
        <p:spPr bwMode="auto">
          <a:xfrm>
            <a:off x="10959405" y="1562999"/>
            <a:ext cx="3630126" cy="1802913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51"/>
          <p:cNvSpPr>
            <a:spLocks/>
          </p:cNvSpPr>
          <p:nvPr/>
        </p:nvSpPr>
        <p:spPr bwMode="auto">
          <a:xfrm>
            <a:off x="11360415" y="1563000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3273823" y="219072"/>
            <a:ext cx="8462323" cy="1151539"/>
            <a:chOff x="3273823" y="-1579979"/>
            <a:chExt cx="8462323" cy="1151539"/>
          </a:xfrm>
        </p:grpSpPr>
        <p:sp>
          <p:nvSpPr>
            <p:cNvPr id="38" name="Oval 58"/>
            <p:cNvSpPr>
              <a:spLocks noChangeArrowheads="1"/>
            </p:cNvSpPr>
            <p:nvPr/>
          </p:nvSpPr>
          <p:spPr bwMode="auto">
            <a:xfrm>
              <a:off x="5450338" y="-50242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59"/>
            <p:cNvSpPr>
              <a:spLocks noChangeArrowheads="1"/>
            </p:cNvSpPr>
            <p:nvPr/>
          </p:nvSpPr>
          <p:spPr bwMode="auto">
            <a:xfrm>
              <a:off x="8782823" y="-1505282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60"/>
            <p:cNvSpPr>
              <a:spLocks noChangeArrowheads="1"/>
            </p:cNvSpPr>
            <p:nvPr/>
          </p:nvSpPr>
          <p:spPr bwMode="auto">
            <a:xfrm>
              <a:off x="6211676" y="-55758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61"/>
            <p:cNvSpPr>
              <a:spLocks noChangeArrowheads="1"/>
            </p:cNvSpPr>
            <p:nvPr/>
          </p:nvSpPr>
          <p:spPr bwMode="auto">
            <a:xfrm>
              <a:off x="3744983" y="-92846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62"/>
            <p:cNvSpPr>
              <a:spLocks noChangeArrowheads="1"/>
            </p:cNvSpPr>
            <p:nvPr/>
          </p:nvSpPr>
          <p:spPr bwMode="auto">
            <a:xfrm>
              <a:off x="4880380" y="-8965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63"/>
            <p:cNvSpPr>
              <a:spLocks noChangeArrowheads="1"/>
            </p:cNvSpPr>
            <p:nvPr/>
          </p:nvSpPr>
          <p:spPr bwMode="auto">
            <a:xfrm>
              <a:off x="6848490" y="-1103758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64"/>
            <p:cNvSpPr>
              <a:spLocks noChangeArrowheads="1"/>
            </p:cNvSpPr>
            <p:nvPr/>
          </p:nvSpPr>
          <p:spPr bwMode="auto">
            <a:xfrm>
              <a:off x="6277220" y="-10882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65"/>
            <p:cNvSpPr>
              <a:spLocks noChangeArrowheads="1"/>
            </p:cNvSpPr>
            <p:nvPr/>
          </p:nvSpPr>
          <p:spPr bwMode="auto">
            <a:xfrm>
              <a:off x="8325596" y="-618564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66"/>
            <p:cNvSpPr>
              <a:spLocks noChangeArrowheads="1"/>
            </p:cNvSpPr>
            <p:nvPr/>
          </p:nvSpPr>
          <p:spPr bwMode="auto">
            <a:xfrm>
              <a:off x="4670520" y="-12973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67"/>
            <p:cNvSpPr>
              <a:spLocks noChangeArrowheads="1"/>
            </p:cNvSpPr>
            <p:nvPr/>
          </p:nvSpPr>
          <p:spPr bwMode="auto">
            <a:xfrm>
              <a:off x="4361279" y="-56343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68"/>
            <p:cNvSpPr>
              <a:spLocks noChangeArrowheads="1"/>
            </p:cNvSpPr>
            <p:nvPr/>
          </p:nvSpPr>
          <p:spPr bwMode="auto">
            <a:xfrm>
              <a:off x="9297913" y="-856961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69"/>
            <p:cNvSpPr>
              <a:spLocks noChangeArrowheads="1"/>
            </p:cNvSpPr>
            <p:nvPr/>
          </p:nvSpPr>
          <p:spPr bwMode="auto">
            <a:xfrm>
              <a:off x="11127922" y="-100184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70"/>
            <p:cNvSpPr>
              <a:spLocks noChangeArrowheads="1"/>
            </p:cNvSpPr>
            <p:nvPr/>
          </p:nvSpPr>
          <p:spPr bwMode="auto">
            <a:xfrm>
              <a:off x="10705680" y="-1528630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71"/>
            <p:cNvSpPr>
              <a:spLocks noChangeArrowheads="1"/>
            </p:cNvSpPr>
            <p:nvPr/>
          </p:nvSpPr>
          <p:spPr bwMode="auto">
            <a:xfrm>
              <a:off x="7440402" y="-68672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72"/>
            <p:cNvSpPr>
              <a:spLocks noChangeArrowheads="1"/>
            </p:cNvSpPr>
            <p:nvPr/>
          </p:nvSpPr>
          <p:spPr bwMode="auto">
            <a:xfrm>
              <a:off x="7380314" y="-1098865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73"/>
            <p:cNvSpPr>
              <a:spLocks noChangeArrowheads="1"/>
            </p:cNvSpPr>
            <p:nvPr/>
          </p:nvSpPr>
          <p:spPr bwMode="auto">
            <a:xfrm>
              <a:off x="3273823" y="-129922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74"/>
            <p:cNvSpPr>
              <a:spLocks noChangeArrowheads="1"/>
            </p:cNvSpPr>
            <p:nvPr/>
          </p:nvSpPr>
          <p:spPr bwMode="auto">
            <a:xfrm>
              <a:off x="5818023" y="-157997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75"/>
            <p:cNvSpPr>
              <a:spLocks noChangeArrowheads="1"/>
            </p:cNvSpPr>
            <p:nvPr/>
          </p:nvSpPr>
          <p:spPr bwMode="auto">
            <a:xfrm>
              <a:off x="6956110" y="-8965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76"/>
            <p:cNvSpPr>
              <a:spLocks noChangeArrowheads="1"/>
            </p:cNvSpPr>
            <p:nvPr/>
          </p:nvSpPr>
          <p:spPr bwMode="auto">
            <a:xfrm>
              <a:off x="11662157" y="-1286484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77"/>
            <p:cNvSpPr>
              <a:spLocks noChangeArrowheads="1"/>
            </p:cNvSpPr>
            <p:nvPr/>
          </p:nvSpPr>
          <p:spPr bwMode="auto">
            <a:xfrm>
              <a:off x="9845429" y="-899050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78"/>
            <p:cNvSpPr>
              <a:spLocks noChangeArrowheads="1"/>
            </p:cNvSpPr>
            <p:nvPr/>
          </p:nvSpPr>
          <p:spPr bwMode="auto">
            <a:xfrm>
              <a:off x="10735070" y="-823945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79"/>
            <p:cNvSpPr>
              <a:spLocks noChangeArrowheads="1"/>
            </p:cNvSpPr>
            <p:nvPr/>
          </p:nvSpPr>
          <p:spPr bwMode="auto">
            <a:xfrm>
              <a:off x="8007945" y="-1393167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826809" y="589490"/>
            <a:ext cx="386041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WOT ANALYSI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1690688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730250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730250" y="23979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3687763" y="3356792"/>
            <a:ext cx="1344613" cy="1346200"/>
          </a:xfrm>
          <a:custGeom>
            <a:avLst/>
            <a:gdLst>
              <a:gd name="T0" fmla="*/ 348 w 847"/>
              <a:gd name="T1" fmla="*/ 424 h 848"/>
              <a:gd name="T2" fmla="*/ 459 w 847"/>
              <a:gd name="T3" fmla="*/ 0 h 848"/>
              <a:gd name="T4" fmla="*/ 653 w 847"/>
              <a:gd name="T5" fmla="*/ 195 h 848"/>
              <a:gd name="T6" fmla="*/ 847 w 847"/>
              <a:gd name="T7" fmla="*/ 389 h 848"/>
              <a:gd name="T8" fmla="*/ 423 w 847"/>
              <a:gd name="T9" fmla="*/ 500 h 848"/>
              <a:gd name="T10" fmla="*/ 234 w 847"/>
              <a:gd name="T11" fmla="*/ 848 h 848"/>
              <a:gd name="T12" fmla="*/ 118 w 847"/>
              <a:gd name="T13" fmla="*/ 730 h 848"/>
              <a:gd name="T14" fmla="*/ 0 w 847"/>
              <a:gd name="T15" fmla="*/ 612 h 848"/>
              <a:gd name="T16" fmla="*/ 348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348" y="424"/>
                </a:moveTo>
                <a:lnTo>
                  <a:pt x="459" y="0"/>
                </a:lnTo>
                <a:lnTo>
                  <a:pt x="653" y="195"/>
                </a:lnTo>
                <a:lnTo>
                  <a:pt x="847" y="389"/>
                </a:lnTo>
                <a:lnTo>
                  <a:pt x="423" y="500"/>
                </a:lnTo>
                <a:lnTo>
                  <a:pt x="234" y="848"/>
                </a:lnTo>
                <a:lnTo>
                  <a:pt x="118" y="730"/>
                </a:lnTo>
                <a:lnTo>
                  <a:pt x="0" y="612"/>
                </a:lnTo>
                <a:lnTo>
                  <a:pt x="348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5338763" y="3356792"/>
            <a:ext cx="1344613" cy="1346200"/>
          </a:xfrm>
          <a:custGeom>
            <a:avLst/>
            <a:gdLst>
              <a:gd name="T0" fmla="*/ 499 w 847"/>
              <a:gd name="T1" fmla="*/ 424 h 848"/>
              <a:gd name="T2" fmla="*/ 388 w 847"/>
              <a:gd name="T3" fmla="*/ 0 h 848"/>
              <a:gd name="T4" fmla="*/ 194 w 847"/>
              <a:gd name="T5" fmla="*/ 195 h 848"/>
              <a:gd name="T6" fmla="*/ 0 w 847"/>
              <a:gd name="T7" fmla="*/ 389 h 848"/>
              <a:gd name="T8" fmla="*/ 424 w 847"/>
              <a:gd name="T9" fmla="*/ 500 h 848"/>
              <a:gd name="T10" fmla="*/ 613 w 847"/>
              <a:gd name="T11" fmla="*/ 848 h 848"/>
              <a:gd name="T12" fmla="*/ 729 w 847"/>
              <a:gd name="T13" fmla="*/ 730 h 848"/>
              <a:gd name="T14" fmla="*/ 847 w 847"/>
              <a:gd name="T15" fmla="*/ 612 h 848"/>
              <a:gd name="T16" fmla="*/ 499 w 847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7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4" y="500"/>
                </a:lnTo>
                <a:lnTo>
                  <a:pt x="613" y="848"/>
                </a:lnTo>
                <a:lnTo>
                  <a:pt x="729" y="730"/>
                </a:lnTo>
                <a:lnTo>
                  <a:pt x="847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4383088" y="2397942"/>
            <a:ext cx="1606550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4383088" y="23979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8991600" y="3356792"/>
            <a:ext cx="1339850" cy="1346200"/>
          </a:xfrm>
          <a:custGeom>
            <a:avLst/>
            <a:gdLst>
              <a:gd name="T0" fmla="*/ 499 w 844"/>
              <a:gd name="T1" fmla="*/ 424 h 848"/>
              <a:gd name="T2" fmla="*/ 388 w 844"/>
              <a:gd name="T3" fmla="*/ 0 h 848"/>
              <a:gd name="T4" fmla="*/ 194 w 844"/>
              <a:gd name="T5" fmla="*/ 195 h 848"/>
              <a:gd name="T6" fmla="*/ 0 w 844"/>
              <a:gd name="T7" fmla="*/ 389 h 848"/>
              <a:gd name="T8" fmla="*/ 423 w 844"/>
              <a:gd name="T9" fmla="*/ 500 h 848"/>
              <a:gd name="T10" fmla="*/ 610 w 844"/>
              <a:gd name="T11" fmla="*/ 848 h 848"/>
              <a:gd name="T12" fmla="*/ 728 w 844"/>
              <a:gd name="T13" fmla="*/ 730 h 848"/>
              <a:gd name="T14" fmla="*/ 844 w 844"/>
              <a:gd name="T15" fmla="*/ 612 h 848"/>
              <a:gd name="T16" fmla="*/ 499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499" y="424"/>
                </a:moveTo>
                <a:lnTo>
                  <a:pt x="388" y="0"/>
                </a:lnTo>
                <a:lnTo>
                  <a:pt x="194" y="195"/>
                </a:lnTo>
                <a:lnTo>
                  <a:pt x="0" y="389"/>
                </a:lnTo>
                <a:lnTo>
                  <a:pt x="423" y="500"/>
                </a:lnTo>
                <a:lnTo>
                  <a:pt x="610" y="848"/>
                </a:lnTo>
                <a:lnTo>
                  <a:pt x="728" y="730"/>
                </a:lnTo>
                <a:lnTo>
                  <a:pt x="844" y="612"/>
                </a:lnTo>
                <a:lnTo>
                  <a:pt x="499" y="424"/>
                </a:lnTo>
                <a:close/>
              </a:path>
            </a:pathLst>
          </a:custGeom>
          <a:gradFill flip="none" rotWithShape="1">
            <a:gsLst>
              <a:gs pos="4000">
                <a:srgbClr val="4E2230"/>
              </a:gs>
              <a:gs pos="100000">
                <a:srgbClr val="4E2230"/>
              </a:gs>
              <a:gs pos="46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7340600" y="3356792"/>
            <a:ext cx="1339850" cy="1346200"/>
          </a:xfrm>
          <a:custGeom>
            <a:avLst/>
            <a:gdLst>
              <a:gd name="T0" fmla="*/ 345 w 844"/>
              <a:gd name="T1" fmla="*/ 424 h 848"/>
              <a:gd name="T2" fmla="*/ 456 w 844"/>
              <a:gd name="T3" fmla="*/ 0 h 848"/>
              <a:gd name="T4" fmla="*/ 650 w 844"/>
              <a:gd name="T5" fmla="*/ 195 h 848"/>
              <a:gd name="T6" fmla="*/ 844 w 844"/>
              <a:gd name="T7" fmla="*/ 389 h 848"/>
              <a:gd name="T8" fmla="*/ 421 w 844"/>
              <a:gd name="T9" fmla="*/ 500 h 848"/>
              <a:gd name="T10" fmla="*/ 234 w 844"/>
              <a:gd name="T11" fmla="*/ 848 h 848"/>
              <a:gd name="T12" fmla="*/ 116 w 844"/>
              <a:gd name="T13" fmla="*/ 730 h 848"/>
              <a:gd name="T14" fmla="*/ 0 w 844"/>
              <a:gd name="T15" fmla="*/ 612 h 848"/>
              <a:gd name="T16" fmla="*/ 345 w 844"/>
              <a:gd name="T17" fmla="*/ 424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4" h="848">
                <a:moveTo>
                  <a:pt x="345" y="424"/>
                </a:moveTo>
                <a:lnTo>
                  <a:pt x="456" y="0"/>
                </a:lnTo>
                <a:lnTo>
                  <a:pt x="650" y="195"/>
                </a:lnTo>
                <a:lnTo>
                  <a:pt x="844" y="389"/>
                </a:lnTo>
                <a:lnTo>
                  <a:pt x="421" y="500"/>
                </a:lnTo>
                <a:lnTo>
                  <a:pt x="234" y="848"/>
                </a:lnTo>
                <a:lnTo>
                  <a:pt x="116" y="730"/>
                </a:lnTo>
                <a:lnTo>
                  <a:pt x="0" y="612"/>
                </a:lnTo>
                <a:lnTo>
                  <a:pt x="345" y="424"/>
                </a:lnTo>
                <a:close/>
              </a:path>
            </a:pathLst>
          </a:custGeom>
          <a:gradFill flip="none" rotWithShape="1">
            <a:gsLst>
              <a:gs pos="51000">
                <a:srgbClr val="69AFC0"/>
              </a:gs>
              <a:gs pos="0">
                <a:srgbClr val="125680"/>
              </a:gs>
              <a:gs pos="96000">
                <a:srgbClr val="125680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Oval 15"/>
          <p:cNvSpPr>
            <a:spLocks noChangeArrowheads="1"/>
          </p:cNvSpPr>
          <p:nvPr/>
        </p:nvSpPr>
        <p:spPr bwMode="auto">
          <a:xfrm>
            <a:off x="8031163" y="2397942"/>
            <a:ext cx="1609725" cy="1609725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8031163" y="23979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6 w 1014"/>
              <a:gd name="T3" fmla="*/ 1014 h 1014"/>
              <a:gd name="T4" fmla="*/ 0 w 1014"/>
              <a:gd name="T5" fmla="*/ 507 h 1014"/>
              <a:gd name="T6" fmla="*/ 506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4" y="507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7" name="Oval 17"/>
          <p:cNvSpPr>
            <a:spLocks noChangeArrowheads="1"/>
          </p:cNvSpPr>
          <p:nvPr/>
        </p:nvSpPr>
        <p:spPr bwMode="auto">
          <a:xfrm>
            <a:off x="6207125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6207125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Oval 20"/>
          <p:cNvSpPr>
            <a:spLocks noChangeArrowheads="1"/>
          </p:cNvSpPr>
          <p:nvPr/>
        </p:nvSpPr>
        <p:spPr bwMode="auto">
          <a:xfrm>
            <a:off x="9855200" y="4226742"/>
            <a:ext cx="1609725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1"/>
          <p:cNvSpPr>
            <a:spLocks/>
          </p:cNvSpPr>
          <p:nvPr/>
        </p:nvSpPr>
        <p:spPr bwMode="auto">
          <a:xfrm>
            <a:off x="9855200" y="4226742"/>
            <a:ext cx="1609725" cy="1609725"/>
          </a:xfrm>
          <a:custGeom>
            <a:avLst/>
            <a:gdLst>
              <a:gd name="T0" fmla="*/ 1014 w 1014"/>
              <a:gd name="T1" fmla="*/ 507 h 1014"/>
              <a:gd name="T2" fmla="*/ 508 w 1014"/>
              <a:gd name="T3" fmla="*/ 1014 h 1014"/>
              <a:gd name="T4" fmla="*/ 0 w 1014"/>
              <a:gd name="T5" fmla="*/ 507 h 1014"/>
              <a:gd name="T6" fmla="*/ 508 w 1014"/>
              <a:gd name="T7" fmla="*/ 0 h 1014"/>
              <a:gd name="T8" fmla="*/ 1014 w 1014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" h="1014">
                <a:moveTo>
                  <a:pt x="1014" y="507"/>
                </a:moveTo>
                <a:lnTo>
                  <a:pt x="508" y="1014"/>
                </a:lnTo>
                <a:lnTo>
                  <a:pt x="0" y="507"/>
                </a:lnTo>
                <a:lnTo>
                  <a:pt x="508" y="0"/>
                </a:lnTo>
                <a:lnTo>
                  <a:pt x="1014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auto">
          <a:xfrm>
            <a:off x="2557463" y="4226742"/>
            <a:ext cx="1606550" cy="1609725"/>
          </a:xfrm>
          <a:prstGeom prst="ellipse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>
            <a:off x="2557463" y="4226742"/>
            <a:ext cx="1606550" cy="1609725"/>
          </a:xfrm>
          <a:custGeom>
            <a:avLst/>
            <a:gdLst>
              <a:gd name="T0" fmla="*/ 1012 w 1012"/>
              <a:gd name="T1" fmla="*/ 507 h 1014"/>
              <a:gd name="T2" fmla="*/ 506 w 1012"/>
              <a:gd name="T3" fmla="*/ 1014 h 1014"/>
              <a:gd name="T4" fmla="*/ 0 w 1012"/>
              <a:gd name="T5" fmla="*/ 507 h 1014"/>
              <a:gd name="T6" fmla="*/ 506 w 1012"/>
              <a:gd name="T7" fmla="*/ 0 h 1014"/>
              <a:gd name="T8" fmla="*/ 1012 w 1012"/>
              <a:gd name="T9" fmla="*/ 507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2" h="1014">
                <a:moveTo>
                  <a:pt x="1012" y="507"/>
                </a:moveTo>
                <a:lnTo>
                  <a:pt x="506" y="1014"/>
                </a:lnTo>
                <a:lnTo>
                  <a:pt x="0" y="507"/>
                </a:lnTo>
                <a:lnTo>
                  <a:pt x="506" y="0"/>
                </a:lnTo>
                <a:lnTo>
                  <a:pt x="1012" y="507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2" name="Group 61"/>
          <p:cNvGrpSpPr/>
          <p:nvPr/>
        </p:nvGrpSpPr>
        <p:grpSpPr>
          <a:xfrm>
            <a:off x="1347779" y="2933700"/>
            <a:ext cx="374666" cy="538208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63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082577" y="4838700"/>
            <a:ext cx="556322" cy="512808"/>
            <a:chOff x="4313201" y="1920875"/>
            <a:chExt cx="284163" cy="261938"/>
          </a:xfrm>
          <a:solidFill>
            <a:schemeClr val="bg1"/>
          </a:solidFill>
          <a:effectLst/>
        </p:grpSpPr>
        <p:sp>
          <p:nvSpPr>
            <p:cNvPr id="68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914857" y="2988617"/>
            <a:ext cx="543012" cy="428374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71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780961" y="4767091"/>
            <a:ext cx="458878" cy="529026"/>
            <a:chOff x="896938" y="1943100"/>
            <a:chExt cx="249237" cy="287338"/>
          </a:xfrm>
          <a:solidFill>
            <a:schemeClr val="bg1"/>
          </a:solidFill>
          <a:effectLst/>
        </p:grpSpPr>
        <p:sp>
          <p:nvSpPr>
            <p:cNvPr id="74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580288" y="2952750"/>
            <a:ext cx="511474" cy="500108"/>
            <a:chOff x="7600950" y="3048000"/>
            <a:chExt cx="285750" cy="279400"/>
          </a:xfrm>
          <a:solidFill>
            <a:srgbClr val="125680"/>
          </a:solidFill>
          <a:effectLst/>
        </p:grpSpPr>
        <p:sp>
          <p:nvSpPr>
            <p:cNvPr id="79" name="Freeform 3039"/>
            <p:cNvSpPr>
              <a:spLocks/>
            </p:cNvSpPr>
            <p:nvPr/>
          </p:nvSpPr>
          <p:spPr bwMode="auto">
            <a:xfrm>
              <a:off x="7681913" y="3048000"/>
              <a:ext cx="123825" cy="128588"/>
            </a:xfrm>
            <a:custGeom>
              <a:avLst/>
              <a:gdLst>
                <a:gd name="T0" fmla="*/ 263 w 310"/>
                <a:gd name="T1" fmla="*/ 323 h 323"/>
                <a:gd name="T2" fmla="*/ 268 w 310"/>
                <a:gd name="T3" fmla="*/ 323 h 323"/>
                <a:gd name="T4" fmla="*/ 271 w 310"/>
                <a:gd name="T5" fmla="*/ 321 h 323"/>
                <a:gd name="T6" fmla="*/ 274 w 310"/>
                <a:gd name="T7" fmla="*/ 317 h 323"/>
                <a:gd name="T8" fmla="*/ 275 w 310"/>
                <a:gd name="T9" fmla="*/ 314 h 323"/>
                <a:gd name="T10" fmla="*/ 275 w 310"/>
                <a:gd name="T11" fmla="*/ 310 h 323"/>
                <a:gd name="T12" fmla="*/ 274 w 310"/>
                <a:gd name="T13" fmla="*/ 307 h 323"/>
                <a:gd name="T14" fmla="*/ 231 w 310"/>
                <a:gd name="T15" fmla="*/ 207 h 323"/>
                <a:gd name="T16" fmla="*/ 307 w 310"/>
                <a:gd name="T17" fmla="*/ 141 h 323"/>
                <a:gd name="T18" fmla="*/ 309 w 310"/>
                <a:gd name="T19" fmla="*/ 138 h 323"/>
                <a:gd name="T20" fmla="*/ 310 w 310"/>
                <a:gd name="T21" fmla="*/ 135 h 323"/>
                <a:gd name="T22" fmla="*/ 310 w 310"/>
                <a:gd name="T23" fmla="*/ 132 h 323"/>
                <a:gd name="T24" fmla="*/ 310 w 310"/>
                <a:gd name="T25" fmla="*/ 128 h 323"/>
                <a:gd name="T26" fmla="*/ 308 w 310"/>
                <a:gd name="T27" fmla="*/ 125 h 323"/>
                <a:gd name="T28" fmla="*/ 306 w 310"/>
                <a:gd name="T29" fmla="*/ 122 h 323"/>
                <a:gd name="T30" fmla="*/ 302 w 310"/>
                <a:gd name="T31" fmla="*/ 121 h 323"/>
                <a:gd name="T32" fmla="*/ 299 w 310"/>
                <a:gd name="T33" fmla="*/ 120 h 323"/>
                <a:gd name="T34" fmla="*/ 200 w 310"/>
                <a:gd name="T35" fmla="*/ 120 h 323"/>
                <a:gd name="T36" fmla="*/ 167 w 310"/>
                <a:gd name="T37" fmla="*/ 9 h 323"/>
                <a:gd name="T38" fmla="*/ 165 w 310"/>
                <a:gd name="T39" fmla="*/ 6 h 323"/>
                <a:gd name="T40" fmla="*/ 163 w 310"/>
                <a:gd name="T41" fmla="*/ 2 h 323"/>
                <a:gd name="T42" fmla="*/ 159 w 310"/>
                <a:gd name="T43" fmla="*/ 1 h 323"/>
                <a:gd name="T44" fmla="*/ 156 w 310"/>
                <a:gd name="T45" fmla="*/ 0 h 323"/>
                <a:gd name="T46" fmla="*/ 151 w 310"/>
                <a:gd name="T47" fmla="*/ 1 h 323"/>
                <a:gd name="T48" fmla="*/ 149 w 310"/>
                <a:gd name="T49" fmla="*/ 2 h 323"/>
                <a:gd name="T50" fmla="*/ 145 w 310"/>
                <a:gd name="T51" fmla="*/ 6 h 323"/>
                <a:gd name="T52" fmla="*/ 144 w 310"/>
                <a:gd name="T53" fmla="*/ 9 h 323"/>
                <a:gd name="T54" fmla="*/ 111 w 310"/>
                <a:gd name="T55" fmla="*/ 120 h 323"/>
                <a:gd name="T56" fmla="*/ 12 w 310"/>
                <a:gd name="T57" fmla="*/ 120 h 323"/>
                <a:gd name="T58" fmla="*/ 8 w 310"/>
                <a:gd name="T59" fmla="*/ 121 h 323"/>
                <a:gd name="T60" fmla="*/ 5 w 310"/>
                <a:gd name="T61" fmla="*/ 122 h 323"/>
                <a:gd name="T62" fmla="*/ 2 w 310"/>
                <a:gd name="T63" fmla="*/ 125 h 323"/>
                <a:gd name="T64" fmla="*/ 0 w 310"/>
                <a:gd name="T65" fmla="*/ 128 h 323"/>
                <a:gd name="T66" fmla="*/ 0 w 310"/>
                <a:gd name="T67" fmla="*/ 132 h 323"/>
                <a:gd name="T68" fmla="*/ 0 w 310"/>
                <a:gd name="T69" fmla="*/ 135 h 323"/>
                <a:gd name="T70" fmla="*/ 1 w 310"/>
                <a:gd name="T71" fmla="*/ 138 h 323"/>
                <a:gd name="T72" fmla="*/ 4 w 310"/>
                <a:gd name="T73" fmla="*/ 141 h 323"/>
                <a:gd name="T74" fmla="*/ 81 w 310"/>
                <a:gd name="T75" fmla="*/ 205 h 323"/>
                <a:gd name="T76" fmla="*/ 37 w 310"/>
                <a:gd name="T77" fmla="*/ 307 h 323"/>
                <a:gd name="T78" fmla="*/ 36 w 310"/>
                <a:gd name="T79" fmla="*/ 310 h 323"/>
                <a:gd name="T80" fmla="*/ 36 w 310"/>
                <a:gd name="T81" fmla="*/ 314 h 323"/>
                <a:gd name="T82" fmla="*/ 37 w 310"/>
                <a:gd name="T83" fmla="*/ 317 h 323"/>
                <a:gd name="T84" fmla="*/ 39 w 310"/>
                <a:gd name="T85" fmla="*/ 321 h 323"/>
                <a:gd name="T86" fmla="*/ 43 w 310"/>
                <a:gd name="T87" fmla="*/ 323 h 323"/>
                <a:gd name="T88" fmla="*/ 46 w 310"/>
                <a:gd name="T89" fmla="*/ 323 h 323"/>
                <a:gd name="T90" fmla="*/ 51 w 310"/>
                <a:gd name="T91" fmla="*/ 323 h 323"/>
                <a:gd name="T92" fmla="*/ 55 w 310"/>
                <a:gd name="T93" fmla="*/ 322 h 323"/>
                <a:gd name="T94" fmla="*/ 156 w 310"/>
                <a:gd name="T95" fmla="*/ 254 h 323"/>
                <a:gd name="T96" fmla="*/ 257 w 310"/>
                <a:gd name="T97" fmla="*/ 322 h 323"/>
                <a:gd name="T98" fmla="*/ 259 w 310"/>
                <a:gd name="T99" fmla="*/ 323 h 323"/>
                <a:gd name="T100" fmla="*/ 263 w 310"/>
                <a:gd name="T101" fmla="*/ 323 h 323"/>
                <a:gd name="T102" fmla="*/ 263 w 310"/>
                <a:gd name="T103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0" h="323">
                  <a:moveTo>
                    <a:pt x="263" y="323"/>
                  </a:moveTo>
                  <a:lnTo>
                    <a:pt x="268" y="323"/>
                  </a:lnTo>
                  <a:lnTo>
                    <a:pt x="271" y="321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4" y="307"/>
                  </a:lnTo>
                  <a:lnTo>
                    <a:pt x="231" y="207"/>
                  </a:lnTo>
                  <a:lnTo>
                    <a:pt x="307" y="141"/>
                  </a:lnTo>
                  <a:lnTo>
                    <a:pt x="309" y="138"/>
                  </a:lnTo>
                  <a:lnTo>
                    <a:pt x="310" y="135"/>
                  </a:lnTo>
                  <a:lnTo>
                    <a:pt x="310" y="132"/>
                  </a:lnTo>
                  <a:lnTo>
                    <a:pt x="310" y="128"/>
                  </a:lnTo>
                  <a:lnTo>
                    <a:pt x="308" y="125"/>
                  </a:lnTo>
                  <a:lnTo>
                    <a:pt x="306" y="122"/>
                  </a:lnTo>
                  <a:lnTo>
                    <a:pt x="302" y="121"/>
                  </a:lnTo>
                  <a:lnTo>
                    <a:pt x="299" y="120"/>
                  </a:lnTo>
                  <a:lnTo>
                    <a:pt x="200" y="120"/>
                  </a:lnTo>
                  <a:lnTo>
                    <a:pt x="167" y="9"/>
                  </a:lnTo>
                  <a:lnTo>
                    <a:pt x="165" y="6"/>
                  </a:lnTo>
                  <a:lnTo>
                    <a:pt x="163" y="2"/>
                  </a:lnTo>
                  <a:lnTo>
                    <a:pt x="159" y="1"/>
                  </a:lnTo>
                  <a:lnTo>
                    <a:pt x="156" y="0"/>
                  </a:lnTo>
                  <a:lnTo>
                    <a:pt x="151" y="1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4" y="9"/>
                  </a:lnTo>
                  <a:lnTo>
                    <a:pt x="111" y="120"/>
                  </a:lnTo>
                  <a:lnTo>
                    <a:pt x="12" y="120"/>
                  </a:lnTo>
                  <a:lnTo>
                    <a:pt x="8" y="121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8"/>
                  </a:lnTo>
                  <a:lnTo>
                    <a:pt x="4" y="141"/>
                  </a:lnTo>
                  <a:lnTo>
                    <a:pt x="81" y="205"/>
                  </a:lnTo>
                  <a:lnTo>
                    <a:pt x="37" y="307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37" y="317"/>
                  </a:lnTo>
                  <a:lnTo>
                    <a:pt x="39" y="321"/>
                  </a:lnTo>
                  <a:lnTo>
                    <a:pt x="43" y="323"/>
                  </a:lnTo>
                  <a:lnTo>
                    <a:pt x="46" y="323"/>
                  </a:lnTo>
                  <a:lnTo>
                    <a:pt x="51" y="323"/>
                  </a:lnTo>
                  <a:lnTo>
                    <a:pt x="55" y="322"/>
                  </a:lnTo>
                  <a:lnTo>
                    <a:pt x="156" y="254"/>
                  </a:lnTo>
                  <a:lnTo>
                    <a:pt x="257" y="322"/>
                  </a:lnTo>
                  <a:lnTo>
                    <a:pt x="259" y="323"/>
                  </a:lnTo>
                  <a:lnTo>
                    <a:pt x="263" y="323"/>
                  </a:lnTo>
                  <a:lnTo>
                    <a:pt x="263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040"/>
            <p:cNvSpPr>
              <a:spLocks/>
            </p:cNvSpPr>
            <p:nvPr/>
          </p:nvSpPr>
          <p:spPr bwMode="auto">
            <a:xfrm>
              <a:off x="7762875" y="3200400"/>
              <a:ext cx="123825" cy="127000"/>
            </a:xfrm>
            <a:custGeom>
              <a:avLst/>
              <a:gdLst>
                <a:gd name="T0" fmla="*/ 311 w 312"/>
                <a:gd name="T1" fmla="*/ 127 h 322"/>
                <a:gd name="T2" fmla="*/ 308 w 312"/>
                <a:gd name="T3" fmla="*/ 124 h 322"/>
                <a:gd name="T4" fmla="*/ 306 w 312"/>
                <a:gd name="T5" fmla="*/ 121 h 322"/>
                <a:gd name="T6" fmla="*/ 304 w 312"/>
                <a:gd name="T7" fmla="*/ 120 h 322"/>
                <a:gd name="T8" fmla="*/ 300 w 312"/>
                <a:gd name="T9" fmla="*/ 119 h 322"/>
                <a:gd name="T10" fmla="*/ 200 w 312"/>
                <a:gd name="T11" fmla="*/ 119 h 322"/>
                <a:gd name="T12" fmla="*/ 167 w 312"/>
                <a:gd name="T13" fmla="*/ 8 h 322"/>
                <a:gd name="T14" fmla="*/ 166 w 312"/>
                <a:gd name="T15" fmla="*/ 5 h 322"/>
                <a:gd name="T16" fmla="*/ 163 w 312"/>
                <a:gd name="T17" fmla="*/ 2 h 322"/>
                <a:gd name="T18" fmla="*/ 160 w 312"/>
                <a:gd name="T19" fmla="*/ 0 h 322"/>
                <a:gd name="T20" fmla="*/ 156 w 312"/>
                <a:gd name="T21" fmla="*/ 0 h 322"/>
                <a:gd name="T22" fmla="*/ 153 w 312"/>
                <a:gd name="T23" fmla="*/ 0 h 322"/>
                <a:gd name="T24" fmla="*/ 149 w 312"/>
                <a:gd name="T25" fmla="*/ 2 h 322"/>
                <a:gd name="T26" fmla="*/ 146 w 312"/>
                <a:gd name="T27" fmla="*/ 5 h 322"/>
                <a:gd name="T28" fmla="*/ 144 w 312"/>
                <a:gd name="T29" fmla="*/ 8 h 322"/>
                <a:gd name="T30" fmla="*/ 111 w 312"/>
                <a:gd name="T31" fmla="*/ 119 h 322"/>
                <a:gd name="T32" fmla="*/ 12 w 312"/>
                <a:gd name="T33" fmla="*/ 119 h 322"/>
                <a:gd name="T34" fmla="*/ 9 w 312"/>
                <a:gd name="T35" fmla="*/ 120 h 322"/>
                <a:gd name="T36" fmla="*/ 5 w 312"/>
                <a:gd name="T37" fmla="*/ 121 h 322"/>
                <a:gd name="T38" fmla="*/ 3 w 312"/>
                <a:gd name="T39" fmla="*/ 124 h 322"/>
                <a:gd name="T40" fmla="*/ 0 w 312"/>
                <a:gd name="T41" fmla="*/ 127 h 322"/>
                <a:gd name="T42" fmla="*/ 0 w 312"/>
                <a:gd name="T43" fmla="*/ 131 h 322"/>
                <a:gd name="T44" fmla="*/ 0 w 312"/>
                <a:gd name="T45" fmla="*/ 134 h 322"/>
                <a:gd name="T46" fmla="*/ 2 w 312"/>
                <a:gd name="T47" fmla="*/ 138 h 322"/>
                <a:gd name="T48" fmla="*/ 4 w 312"/>
                <a:gd name="T49" fmla="*/ 140 h 322"/>
                <a:gd name="T50" fmla="*/ 81 w 312"/>
                <a:gd name="T51" fmla="*/ 204 h 322"/>
                <a:gd name="T52" fmla="*/ 37 w 312"/>
                <a:gd name="T53" fmla="*/ 306 h 322"/>
                <a:gd name="T54" fmla="*/ 36 w 312"/>
                <a:gd name="T55" fmla="*/ 309 h 322"/>
                <a:gd name="T56" fmla="*/ 36 w 312"/>
                <a:gd name="T57" fmla="*/ 314 h 322"/>
                <a:gd name="T58" fmla="*/ 38 w 312"/>
                <a:gd name="T59" fmla="*/ 317 h 322"/>
                <a:gd name="T60" fmla="*/ 41 w 312"/>
                <a:gd name="T61" fmla="*/ 320 h 322"/>
                <a:gd name="T62" fmla="*/ 43 w 312"/>
                <a:gd name="T63" fmla="*/ 322 h 322"/>
                <a:gd name="T64" fmla="*/ 48 w 312"/>
                <a:gd name="T65" fmla="*/ 322 h 322"/>
                <a:gd name="T66" fmla="*/ 52 w 312"/>
                <a:gd name="T67" fmla="*/ 322 h 322"/>
                <a:gd name="T68" fmla="*/ 55 w 312"/>
                <a:gd name="T69" fmla="*/ 321 h 322"/>
                <a:gd name="T70" fmla="*/ 156 w 312"/>
                <a:gd name="T71" fmla="*/ 253 h 322"/>
                <a:gd name="T72" fmla="*/ 257 w 312"/>
                <a:gd name="T73" fmla="*/ 321 h 322"/>
                <a:gd name="T74" fmla="*/ 260 w 312"/>
                <a:gd name="T75" fmla="*/ 322 h 322"/>
                <a:gd name="T76" fmla="*/ 263 w 312"/>
                <a:gd name="T77" fmla="*/ 322 h 322"/>
                <a:gd name="T78" fmla="*/ 268 w 312"/>
                <a:gd name="T79" fmla="*/ 322 h 322"/>
                <a:gd name="T80" fmla="*/ 272 w 312"/>
                <a:gd name="T81" fmla="*/ 320 h 322"/>
                <a:gd name="T82" fmla="*/ 274 w 312"/>
                <a:gd name="T83" fmla="*/ 317 h 322"/>
                <a:gd name="T84" fmla="*/ 275 w 312"/>
                <a:gd name="T85" fmla="*/ 314 h 322"/>
                <a:gd name="T86" fmla="*/ 275 w 312"/>
                <a:gd name="T87" fmla="*/ 310 h 322"/>
                <a:gd name="T88" fmla="*/ 275 w 312"/>
                <a:gd name="T89" fmla="*/ 306 h 322"/>
                <a:gd name="T90" fmla="*/ 231 w 312"/>
                <a:gd name="T91" fmla="*/ 207 h 322"/>
                <a:gd name="T92" fmla="*/ 307 w 312"/>
                <a:gd name="T93" fmla="*/ 140 h 322"/>
                <a:gd name="T94" fmla="*/ 310 w 312"/>
                <a:gd name="T95" fmla="*/ 138 h 322"/>
                <a:gd name="T96" fmla="*/ 311 w 312"/>
                <a:gd name="T97" fmla="*/ 134 h 322"/>
                <a:gd name="T98" fmla="*/ 312 w 312"/>
                <a:gd name="T99" fmla="*/ 131 h 322"/>
                <a:gd name="T100" fmla="*/ 311 w 312"/>
                <a:gd name="T101" fmla="*/ 12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11" y="127"/>
                  </a:moveTo>
                  <a:lnTo>
                    <a:pt x="308" y="124"/>
                  </a:lnTo>
                  <a:lnTo>
                    <a:pt x="306" y="121"/>
                  </a:lnTo>
                  <a:lnTo>
                    <a:pt x="304" y="120"/>
                  </a:lnTo>
                  <a:lnTo>
                    <a:pt x="300" y="119"/>
                  </a:lnTo>
                  <a:lnTo>
                    <a:pt x="200" y="119"/>
                  </a:lnTo>
                  <a:lnTo>
                    <a:pt x="167" y="8"/>
                  </a:lnTo>
                  <a:lnTo>
                    <a:pt x="166" y="5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4" y="8"/>
                  </a:lnTo>
                  <a:lnTo>
                    <a:pt x="111" y="119"/>
                  </a:lnTo>
                  <a:lnTo>
                    <a:pt x="12" y="119"/>
                  </a:lnTo>
                  <a:lnTo>
                    <a:pt x="9" y="120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2" y="138"/>
                  </a:lnTo>
                  <a:lnTo>
                    <a:pt x="4" y="140"/>
                  </a:lnTo>
                  <a:lnTo>
                    <a:pt x="81" y="204"/>
                  </a:lnTo>
                  <a:lnTo>
                    <a:pt x="37" y="306"/>
                  </a:lnTo>
                  <a:lnTo>
                    <a:pt x="36" y="309"/>
                  </a:lnTo>
                  <a:lnTo>
                    <a:pt x="36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3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0" y="322"/>
                  </a:lnTo>
                  <a:lnTo>
                    <a:pt x="263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7" y="140"/>
                  </a:lnTo>
                  <a:lnTo>
                    <a:pt x="310" y="138"/>
                  </a:lnTo>
                  <a:lnTo>
                    <a:pt x="311" y="134"/>
                  </a:lnTo>
                  <a:lnTo>
                    <a:pt x="312" y="131"/>
                  </a:lnTo>
                  <a:lnTo>
                    <a:pt x="311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041"/>
            <p:cNvSpPr>
              <a:spLocks/>
            </p:cNvSpPr>
            <p:nvPr/>
          </p:nvSpPr>
          <p:spPr bwMode="auto">
            <a:xfrm>
              <a:off x="7600950" y="3200400"/>
              <a:ext cx="123825" cy="127000"/>
            </a:xfrm>
            <a:custGeom>
              <a:avLst/>
              <a:gdLst>
                <a:gd name="T0" fmla="*/ 300 w 312"/>
                <a:gd name="T1" fmla="*/ 119 h 322"/>
                <a:gd name="T2" fmla="*/ 201 w 312"/>
                <a:gd name="T3" fmla="*/ 119 h 322"/>
                <a:gd name="T4" fmla="*/ 168 w 312"/>
                <a:gd name="T5" fmla="*/ 8 h 322"/>
                <a:gd name="T6" fmla="*/ 167 w 312"/>
                <a:gd name="T7" fmla="*/ 5 h 322"/>
                <a:gd name="T8" fmla="*/ 163 w 312"/>
                <a:gd name="T9" fmla="*/ 2 h 322"/>
                <a:gd name="T10" fmla="*/ 161 w 312"/>
                <a:gd name="T11" fmla="*/ 0 h 322"/>
                <a:gd name="T12" fmla="*/ 156 w 312"/>
                <a:gd name="T13" fmla="*/ 0 h 322"/>
                <a:gd name="T14" fmla="*/ 153 w 312"/>
                <a:gd name="T15" fmla="*/ 0 h 322"/>
                <a:gd name="T16" fmla="*/ 149 w 312"/>
                <a:gd name="T17" fmla="*/ 2 h 322"/>
                <a:gd name="T18" fmla="*/ 147 w 312"/>
                <a:gd name="T19" fmla="*/ 5 h 322"/>
                <a:gd name="T20" fmla="*/ 146 w 312"/>
                <a:gd name="T21" fmla="*/ 8 h 322"/>
                <a:gd name="T22" fmla="*/ 112 w 312"/>
                <a:gd name="T23" fmla="*/ 119 h 322"/>
                <a:gd name="T24" fmla="*/ 13 w 312"/>
                <a:gd name="T25" fmla="*/ 119 h 322"/>
                <a:gd name="T26" fmla="*/ 9 w 312"/>
                <a:gd name="T27" fmla="*/ 120 h 322"/>
                <a:gd name="T28" fmla="*/ 6 w 312"/>
                <a:gd name="T29" fmla="*/ 121 h 322"/>
                <a:gd name="T30" fmla="*/ 4 w 312"/>
                <a:gd name="T31" fmla="*/ 124 h 322"/>
                <a:gd name="T32" fmla="*/ 2 w 312"/>
                <a:gd name="T33" fmla="*/ 127 h 322"/>
                <a:gd name="T34" fmla="*/ 0 w 312"/>
                <a:gd name="T35" fmla="*/ 131 h 322"/>
                <a:gd name="T36" fmla="*/ 2 w 312"/>
                <a:gd name="T37" fmla="*/ 134 h 322"/>
                <a:gd name="T38" fmla="*/ 3 w 312"/>
                <a:gd name="T39" fmla="*/ 138 h 322"/>
                <a:gd name="T40" fmla="*/ 5 w 312"/>
                <a:gd name="T41" fmla="*/ 140 h 322"/>
                <a:gd name="T42" fmla="*/ 82 w 312"/>
                <a:gd name="T43" fmla="*/ 204 h 322"/>
                <a:gd name="T44" fmla="*/ 38 w 312"/>
                <a:gd name="T45" fmla="*/ 306 h 322"/>
                <a:gd name="T46" fmla="*/ 37 w 312"/>
                <a:gd name="T47" fmla="*/ 309 h 322"/>
                <a:gd name="T48" fmla="*/ 37 w 312"/>
                <a:gd name="T49" fmla="*/ 314 h 322"/>
                <a:gd name="T50" fmla="*/ 38 w 312"/>
                <a:gd name="T51" fmla="*/ 317 h 322"/>
                <a:gd name="T52" fmla="*/ 41 w 312"/>
                <a:gd name="T53" fmla="*/ 320 h 322"/>
                <a:gd name="T54" fmla="*/ 44 w 312"/>
                <a:gd name="T55" fmla="*/ 322 h 322"/>
                <a:gd name="T56" fmla="*/ 48 w 312"/>
                <a:gd name="T57" fmla="*/ 322 h 322"/>
                <a:gd name="T58" fmla="*/ 52 w 312"/>
                <a:gd name="T59" fmla="*/ 322 h 322"/>
                <a:gd name="T60" fmla="*/ 55 w 312"/>
                <a:gd name="T61" fmla="*/ 321 h 322"/>
                <a:gd name="T62" fmla="*/ 156 w 312"/>
                <a:gd name="T63" fmla="*/ 253 h 322"/>
                <a:gd name="T64" fmla="*/ 257 w 312"/>
                <a:gd name="T65" fmla="*/ 321 h 322"/>
                <a:gd name="T66" fmla="*/ 261 w 312"/>
                <a:gd name="T67" fmla="*/ 322 h 322"/>
                <a:gd name="T68" fmla="*/ 264 w 312"/>
                <a:gd name="T69" fmla="*/ 322 h 322"/>
                <a:gd name="T70" fmla="*/ 268 w 312"/>
                <a:gd name="T71" fmla="*/ 322 h 322"/>
                <a:gd name="T72" fmla="*/ 272 w 312"/>
                <a:gd name="T73" fmla="*/ 320 h 322"/>
                <a:gd name="T74" fmla="*/ 275 w 312"/>
                <a:gd name="T75" fmla="*/ 317 h 322"/>
                <a:gd name="T76" fmla="*/ 276 w 312"/>
                <a:gd name="T77" fmla="*/ 314 h 322"/>
                <a:gd name="T78" fmla="*/ 276 w 312"/>
                <a:gd name="T79" fmla="*/ 310 h 322"/>
                <a:gd name="T80" fmla="*/ 275 w 312"/>
                <a:gd name="T81" fmla="*/ 306 h 322"/>
                <a:gd name="T82" fmla="*/ 231 w 312"/>
                <a:gd name="T83" fmla="*/ 207 h 322"/>
                <a:gd name="T84" fmla="*/ 308 w 312"/>
                <a:gd name="T85" fmla="*/ 140 h 322"/>
                <a:gd name="T86" fmla="*/ 311 w 312"/>
                <a:gd name="T87" fmla="*/ 138 h 322"/>
                <a:gd name="T88" fmla="*/ 312 w 312"/>
                <a:gd name="T89" fmla="*/ 134 h 322"/>
                <a:gd name="T90" fmla="*/ 312 w 312"/>
                <a:gd name="T91" fmla="*/ 131 h 322"/>
                <a:gd name="T92" fmla="*/ 312 w 312"/>
                <a:gd name="T93" fmla="*/ 127 h 322"/>
                <a:gd name="T94" fmla="*/ 310 w 312"/>
                <a:gd name="T95" fmla="*/ 124 h 322"/>
                <a:gd name="T96" fmla="*/ 307 w 312"/>
                <a:gd name="T97" fmla="*/ 121 h 322"/>
                <a:gd name="T98" fmla="*/ 304 w 312"/>
                <a:gd name="T99" fmla="*/ 120 h 322"/>
                <a:gd name="T100" fmla="*/ 300 w 312"/>
                <a:gd name="T101" fmla="*/ 11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00" y="119"/>
                  </a:moveTo>
                  <a:lnTo>
                    <a:pt x="201" y="119"/>
                  </a:lnTo>
                  <a:lnTo>
                    <a:pt x="168" y="8"/>
                  </a:lnTo>
                  <a:lnTo>
                    <a:pt x="167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7" y="5"/>
                  </a:lnTo>
                  <a:lnTo>
                    <a:pt x="146" y="8"/>
                  </a:lnTo>
                  <a:lnTo>
                    <a:pt x="112" y="119"/>
                  </a:lnTo>
                  <a:lnTo>
                    <a:pt x="13" y="119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4"/>
                  </a:lnTo>
                  <a:lnTo>
                    <a:pt x="2" y="127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3" y="138"/>
                  </a:lnTo>
                  <a:lnTo>
                    <a:pt x="5" y="140"/>
                  </a:lnTo>
                  <a:lnTo>
                    <a:pt x="82" y="204"/>
                  </a:lnTo>
                  <a:lnTo>
                    <a:pt x="38" y="306"/>
                  </a:lnTo>
                  <a:lnTo>
                    <a:pt x="37" y="309"/>
                  </a:lnTo>
                  <a:lnTo>
                    <a:pt x="37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4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1" y="322"/>
                  </a:lnTo>
                  <a:lnTo>
                    <a:pt x="264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5" y="317"/>
                  </a:lnTo>
                  <a:lnTo>
                    <a:pt x="276" y="314"/>
                  </a:lnTo>
                  <a:lnTo>
                    <a:pt x="276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8" y="140"/>
                  </a:lnTo>
                  <a:lnTo>
                    <a:pt x="311" y="138"/>
                  </a:lnTo>
                  <a:lnTo>
                    <a:pt x="312" y="134"/>
                  </a:lnTo>
                  <a:lnTo>
                    <a:pt x="312" y="131"/>
                  </a:lnTo>
                  <a:lnTo>
                    <a:pt x="312" y="127"/>
                  </a:lnTo>
                  <a:lnTo>
                    <a:pt x="310" y="124"/>
                  </a:lnTo>
                  <a:lnTo>
                    <a:pt x="307" y="121"/>
                  </a:lnTo>
                  <a:lnTo>
                    <a:pt x="304" y="120"/>
                  </a:lnTo>
                  <a:lnTo>
                    <a:pt x="30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0375795" y="4813300"/>
            <a:ext cx="568534" cy="436608"/>
            <a:chOff x="1450975" y="2559050"/>
            <a:chExt cx="287338" cy="220663"/>
          </a:xfrm>
          <a:solidFill>
            <a:schemeClr val="bg1"/>
          </a:solidFill>
          <a:effectLst/>
        </p:grpSpPr>
        <p:sp>
          <p:nvSpPr>
            <p:cNvPr id="85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Text Placeholder 2"/>
          <p:cNvSpPr txBox="1">
            <a:spLocks/>
          </p:cNvSpPr>
          <p:nvPr/>
        </p:nvSpPr>
        <p:spPr>
          <a:xfrm>
            <a:off x="730249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91" name="Text Placeholder 2"/>
          <p:cNvSpPr txBox="1">
            <a:spLocks/>
          </p:cNvSpPr>
          <p:nvPr/>
        </p:nvSpPr>
        <p:spPr>
          <a:xfrm>
            <a:off x="730249" y="4746425"/>
            <a:ext cx="1609725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92" name="Text Placeholder 2"/>
          <p:cNvSpPr txBox="1">
            <a:spLocks/>
          </p:cNvSpPr>
          <p:nvPr/>
        </p:nvSpPr>
        <p:spPr>
          <a:xfrm>
            <a:off x="4381941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93" name="Text Placeholder 2"/>
          <p:cNvSpPr txBox="1">
            <a:spLocks/>
          </p:cNvSpPr>
          <p:nvPr/>
        </p:nvSpPr>
        <p:spPr>
          <a:xfrm>
            <a:off x="4379913" y="4746425"/>
            <a:ext cx="1609725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94" name="Text Placeholder 2"/>
          <p:cNvSpPr txBox="1">
            <a:spLocks/>
          </p:cNvSpPr>
          <p:nvPr/>
        </p:nvSpPr>
        <p:spPr>
          <a:xfrm>
            <a:off x="8033191" y="4369921"/>
            <a:ext cx="16076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B0F7F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95" name="Text Placeholder 2"/>
          <p:cNvSpPr txBox="1">
            <a:spLocks/>
          </p:cNvSpPr>
          <p:nvPr/>
        </p:nvSpPr>
        <p:spPr>
          <a:xfrm>
            <a:off x="8031163" y="4746425"/>
            <a:ext cx="1609725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2554288" y="2397942"/>
            <a:ext cx="8910637" cy="1465799"/>
            <a:chOff x="2554288" y="2425291"/>
            <a:chExt cx="8910637" cy="1465799"/>
          </a:xfrm>
        </p:grpSpPr>
        <p:sp>
          <p:nvSpPr>
            <p:cNvPr id="96" name="Text Placeholder 2"/>
            <p:cNvSpPr txBox="1">
              <a:spLocks/>
            </p:cNvSpPr>
            <p:nvPr/>
          </p:nvSpPr>
          <p:spPr>
            <a:xfrm>
              <a:off x="2556316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97" name="Text Placeholder 2"/>
            <p:cNvSpPr txBox="1">
              <a:spLocks/>
            </p:cNvSpPr>
            <p:nvPr/>
          </p:nvSpPr>
          <p:spPr>
            <a:xfrm>
              <a:off x="2554288" y="2801048"/>
              <a:ext cx="1609725" cy="10900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</a:t>
              </a:r>
            </a:p>
          </p:txBody>
        </p:sp>
        <p:sp>
          <p:nvSpPr>
            <p:cNvPr id="98" name="Text Placeholder 2"/>
            <p:cNvSpPr txBox="1">
              <a:spLocks/>
            </p:cNvSpPr>
            <p:nvPr/>
          </p:nvSpPr>
          <p:spPr>
            <a:xfrm>
              <a:off x="620597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99" name="Text Placeholder 2"/>
            <p:cNvSpPr txBox="1">
              <a:spLocks/>
            </p:cNvSpPr>
            <p:nvPr/>
          </p:nvSpPr>
          <p:spPr>
            <a:xfrm>
              <a:off x="6203950" y="2801048"/>
              <a:ext cx="1609725" cy="10900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</a:t>
              </a:r>
            </a:p>
          </p:txBody>
        </p:sp>
        <p:sp>
          <p:nvSpPr>
            <p:cNvPr id="100" name="Text Placeholder 2"/>
            <p:cNvSpPr txBox="1">
              <a:spLocks/>
            </p:cNvSpPr>
            <p:nvPr/>
          </p:nvSpPr>
          <p:spPr>
            <a:xfrm>
              <a:off x="9857228" y="2425291"/>
              <a:ext cx="1607697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101" name="Text Placeholder 2"/>
            <p:cNvSpPr txBox="1">
              <a:spLocks/>
            </p:cNvSpPr>
            <p:nvPr/>
          </p:nvSpPr>
          <p:spPr>
            <a:xfrm>
              <a:off x="9855200" y="2801048"/>
              <a:ext cx="1609725" cy="10900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</a:t>
              </a: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1535112" y="4005286"/>
            <a:ext cx="7300913" cy="189920"/>
            <a:chOff x="1535112" y="4005286"/>
            <a:chExt cx="7300913" cy="189920"/>
          </a:xfrm>
        </p:grpSpPr>
        <p:cxnSp>
          <p:nvCxnSpPr>
            <p:cNvPr id="106" name="Straight Connector 105"/>
            <p:cNvCxnSpPr/>
            <p:nvPr/>
          </p:nvCxnSpPr>
          <p:spPr>
            <a:xfrm>
              <a:off x="1535112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5186363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8836025" y="4005286"/>
              <a:ext cx="0" cy="189920"/>
            </a:xfrm>
            <a:prstGeom prst="line">
              <a:avLst/>
            </a:prstGeom>
            <a:ln>
              <a:solidFill>
                <a:srgbClr val="B0F7F4"/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2666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12188891" cy="564604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Oval 57"/>
          <p:cNvSpPr>
            <a:spLocks noChangeArrowheads="1"/>
          </p:cNvSpPr>
          <p:nvPr/>
        </p:nvSpPr>
        <p:spPr bwMode="auto">
          <a:xfrm>
            <a:off x="7664344" y="1374182"/>
            <a:ext cx="2558678" cy="2560023"/>
          </a:xfrm>
          <a:prstGeom prst="ellipse">
            <a:avLst/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-200025" y="4682838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851965" y="4156843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276988" y="5063546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227057" y="4513336"/>
            <a:ext cx="2280210" cy="1132706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8928885" y="1643904"/>
            <a:ext cx="4818708" cy="1997706"/>
          </a:xfrm>
          <a:custGeom>
            <a:avLst/>
            <a:gdLst>
              <a:gd name="T0" fmla="*/ 0 w 3582"/>
              <a:gd name="T1" fmla="*/ 743 h 1485"/>
              <a:gd name="T2" fmla="*/ 3582 w 3582"/>
              <a:gd name="T3" fmla="*/ 0 h 1485"/>
              <a:gd name="T4" fmla="*/ 3582 w 3582"/>
              <a:gd name="T5" fmla="*/ 1485 h 1485"/>
              <a:gd name="T6" fmla="*/ 0 w 3582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2" h="1485">
                <a:moveTo>
                  <a:pt x="0" y="743"/>
                </a:moveTo>
                <a:lnTo>
                  <a:pt x="3582" y="0"/>
                </a:lnTo>
                <a:lnTo>
                  <a:pt x="3582" y="1485"/>
                </a:lnTo>
                <a:lnTo>
                  <a:pt x="0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4111522" y="1643904"/>
            <a:ext cx="4817363" cy="1997706"/>
          </a:xfrm>
          <a:custGeom>
            <a:avLst/>
            <a:gdLst>
              <a:gd name="T0" fmla="*/ 3581 w 3581"/>
              <a:gd name="T1" fmla="*/ 743 h 1485"/>
              <a:gd name="T2" fmla="*/ 0 w 3581"/>
              <a:gd name="T3" fmla="*/ 0 h 1485"/>
              <a:gd name="T4" fmla="*/ 0 w 3581"/>
              <a:gd name="T5" fmla="*/ 1485 h 1485"/>
              <a:gd name="T6" fmla="*/ 3581 w 3581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1" h="1485">
                <a:moveTo>
                  <a:pt x="3581" y="743"/>
                </a:moveTo>
                <a:lnTo>
                  <a:pt x="0" y="0"/>
                </a:lnTo>
                <a:lnTo>
                  <a:pt x="0" y="1485"/>
                </a:lnTo>
                <a:lnTo>
                  <a:pt x="3581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8277781" y="3921423"/>
            <a:ext cx="3472107" cy="1724619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3847851" y="5312418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2194531" y="5391789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2006195" y="5480575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225076" y="5442908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3176568" y="5140226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1113581" y="4793149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>
            <a:off x="8525308" y="2818313"/>
            <a:ext cx="235420" cy="207169"/>
          </a:xfrm>
          <a:custGeom>
            <a:avLst/>
            <a:gdLst>
              <a:gd name="T0" fmla="*/ 175 w 175"/>
              <a:gd name="T1" fmla="*/ 154 h 154"/>
              <a:gd name="T2" fmla="*/ 36 w 175"/>
              <a:gd name="T3" fmla="*/ 154 h 154"/>
              <a:gd name="T4" fmla="*/ 0 w 175"/>
              <a:gd name="T5" fmla="*/ 0 h 154"/>
              <a:gd name="T6" fmla="*/ 142 w 175"/>
              <a:gd name="T7" fmla="*/ 0 h 154"/>
              <a:gd name="T8" fmla="*/ 175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175" y="154"/>
                </a:moveTo>
                <a:lnTo>
                  <a:pt x="36" y="154"/>
                </a:lnTo>
                <a:lnTo>
                  <a:pt x="0" y="0"/>
                </a:lnTo>
                <a:lnTo>
                  <a:pt x="142" y="0"/>
                </a:lnTo>
                <a:lnTo>
                  <a:pt x="175" y="154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8413652" y="4828126"/>
            <a:ext cx="248872" cy="391470"/>
          </a:xfrm>
          <a:custGeom>
            <a:avLst/>
            <a:gdLst>
              <a:gd name="T0" fmla="*/ 22 w 185"/>
              <a:gd name="T1" fmla="*/ 0 h 291"/>
              <a:gd name="T2" fmla="*/ 185 w 185"/>
              <a:gd name="T3" fmla="*/ 0 h 291"/>
              <a:gd name="T4" fmla="*/ 171 w 185"/>
              <a:gd name="T5" fmla="*/ 291 h 291"/>
              <a:gd name="T6" fmla="*/ 0 w 185"/>
              <a:gd name="T7" fmla="*/ 291 h 291"/>
              <a:gd name="T8" fmla="*/ 22 w 185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91">
                <a:moveTo>
                  <a:pt x="22" y="0"/>
                </a:moveTo>
                <a:lnTo>
                  <a:pt x="185" y="0"/>
                </a:lnTo>
                <a:lnTo>
                  <a:pt x="171" y="291"/>
                </a:lnTo>
                <a:lnTo>
                  <a:pt x="0" y="291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8483605" y="3855506"/>
            <a:ext cx="232729" cy="417029"/>
          </a:xfrm>
          <a:custGeom>
            <a:avLst/>
            <a:gdLst>
              <a:gd name="T0" fmla="*/ 22 w 173"/>
              <a:gd name="T1" fmla="*/ 0 h 310"/>
              <a:gd name="T2" fmla="*/ 173 w 173"/>
              <a:gd name="T3" fmla="*/ 0 h 310"/>
              <a:gd name="T4" fmla="*/ 156 w 173"/>
              <a:gd name="T5" fmla="*/ 310 h 310"/>
              <a:gd name="T6" fmla="*/ 0 w 173"/>
              <a:gd name="T7" fmla="*/ 310 h 310"/>
              <a:gd name="T8" fmla="*/ 22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22" y="0"/>
                </a:moveTo>
                <a:lnTo>
                  <a:pt x="173" y="0"/>
                </a:lnTo>
                <a:lnTo>
                  <a:pt x="156" y="310"/>
                </a:lnTo>
                <a:lnTo>
                  <a:pt x="0" y="310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3"/>
          <p:cNvSpPr>
            <a:spLocks/>
          </p:cNvSpPr>
          <p:nvPr/>
        </p:nvSpPr>
        <p:spPr bwMode="auto">
          <a:xfrm>
            <a:off x="8553558" y="3025483"/>
            <a:ext cx="207169" cy="273087"/>
          </a:xfrm>
          <a:custGeom>
            <a:avLst/>
            <a:gdLst>
              <a:gd name="T0" fmla="*/ 154 w 154"/>
              <a:gd name="T1" fmla="*/ 0 h 203"/>
              <a:gd name="T2" fmla="*/ 142 w 154"/>
              <a:gd name="T3" fmla="*/ 203 h 203"/>
              <a:gd name="T4" fmla="*/ 0 w 154"/>
              <a:gd name="T5" fmla="*/ 203 h 203"/>
              <a:gd name="T6" fmla="*/ 15 w 154"/>
              <a:gd name="T7" fmla="*/ 0 h 203"/>
              <a:gd name="T8" fmla="*/ 154 w 154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203">
                <a:moveTo>
                  <a:pt x="154" y="0"/>
                </a:moveTo>
                <a:lnTo>
                  <a:pt x="142" y="203"/>
                </a:lnTo>
                <a:lnTo>
                  <a:pt x="0" y="203"/>
                </a:lnTo>
                <a:lnTo>
                  <a:pt x="15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8693465" y="3855506"/>
            <a:ext cx="474875" cy="417029"/>
          </a:xfrm>
          <a:custGeom>
            <a:avLst/>
            <a:gdLst>
              <a:gd name="T0" fmla="*/ 353 w 353"/>
              <a:gd name="T1" fmla="*/ 310 h 310"/>
              <a:gd name="T2" fmla="*/ 0 w 353"/>
              <a:gd name="T3" fmla="*/ 310 h 310"/>
              <a:gd name="T4" fmla="*/ 17 w 353"/>
              <a:gd name="T5" fmla="*/ 0 h 310"/>
              <a:gd name="T6" fmla="*/ 336 w 353"/>
              <a:gd name="T7" fmla="*/ 0 h 310"/>
              <a:gd name="T8" fmla="*/ 353 w 353"/>
              <a:gd name="T9" fmla="*/ 31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" h="310">
                <a:moveTo>
                  <a:pt x="353" y="310"/>
                </a:moveTo>
                <a:lnTo>
                  <a:pt x="0" y="310"/>
                </a:lnTo>
                <a:lnTo>
                  <a:pt x="17" y="0"/>
                </a:lnTo>
                <a:lnTo>
                  <a:pt x="336" y="0"/>
                </a:lnTo>
                <a:lnTo>
                  <a:pt x="353" y="31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8643690" y="4828126"/>
            <a:ext cx="574424" cy="391470"/>
          </a:xfrm>
          <a:custGeom>
            <a:avLst/>
            <a:gdLst>
              <a:gd name="T0" fmla="*/ 427 w 427"/>
              <a:gd name="T1" fmla="*/ 291 h 291"/>
              <a:gd name="T2" fmla="*/ 0 w 427"/>
              <a:gd name="T3" fmla="*/ 291 h 291"/>
              <a:gd name="T4" fmla="*/ 14 w 427"/>
              <a:gd name="T5" fmla="*/ 0 h 291"/>
              <a:gd name="T6" fmla="*/ 411 w 427"/>
              <a:gd name="T7" fmla="*/ 0 h 291"/>
              <a:gd name="T8" fmla="*/ 427 w 427"/>
              <a:gd name="T9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7" h="291">
                <a:moveTo>
                  <a:pt x="427" y="291"/>
                </a:moveTo>
                <a:lnTo>
                  <a:pt x="0" y="291"/>
                </a:lnTo>
                <a:lnTo>
                  <a:pt x="14" y="0"/>
                </a:lnTo>
                <a:lnTo>
                  <a:pt x="411" y="0"/>
                </a:lnTo>
                <a:lnTo>
                  <a:pt x="427" y="291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8614095" y="2716074"/>
            <a:ext cx="629580" cy="4170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8739204" y="2570786"/>
            <a:ext cx="380708" cy="145288"/>
          </a:xfrm>
          <a:prstGeom prst="rect">
            <a:avLst/>
          </a:pr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8513200" y="3298570"/>
            <a:ext cx="231384" cy="556936"/>
          </a:xfrm>
          <a:custGeom>
            <a:avLst/>
            <a:gdLst>
              <a:gd name="T0" fmla="*/ 172 w 172"/>
              <a:gd name="T1" fmla="*/ 0 h 414"/>
              <a:gd name="T2" fmla="*/ 151 w 172"/>
              <a:gd name="T3" fmla="*/ 414 h 414"/>
              <a:gd name="T4" fmla="*/ 0 w 172"/>
              <a:gd name="T5" fmla="*/ 414 h 414"/>
              <a:gd name="T6" fmla="*/ 30 w 172"/>
              <a:gd name="T7" fmla="*/ 0 h 414"/>
              <a:gd name="T8" fmla="*/ 172 w 172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414">
                <a:moveTo>
                  <a:pt x="172" y="0"/>
                </a:moveTo>
                <a:lnTo>
                  <a:pt x="151" y="414"/>
                </a:lnTo>
                <a:lnTo>
                  <a:pt x="0" y="414"/>
                </a:lnTo>
                <a:lnTo>
                  <a:pt x="30" y="0"/>
                </a:lnTo>
                <a:lnTo>
                  <a:pt x="172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4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29"/>
          <p:cNvSpPr>
            <a:spLocks/>
          </p:cNvSpPr>
          <p:nvPr/>
        </p:nvSpPr>
        <p:spPr bwMode="auto">
          <a:xfrm>
            <a:off x="8662524" y="4272535"/>
            <a:ext cx="534067" cy="555591"/>
          </a:xfrm>
          <a:custGeom>
            <a:avLst/>
            <a:gdLst>
              <a:gd name="T0" fmla="*/ 397 w 397"/>
              <a:gd name="T1" fmla="*/ 413 h 413"/>
              <a:gd name="T2" fmla="*/ 0 w 397"/>
              <a:gd name="T3" fmla="*/ 413 h 413"/>
              <a:gd name="T4" fmla="*/ 23 w 397"/>
              <a:gd name="T5" fmla="*/ 0 h 413"/>
              <a:gd name="T6" fmla="*/ 376 w 397"/>
              <a:gd name="T7" fmla="*/ 0 h 413"/>
              <a:gd name="T8" fmla="*/ 397 w 397"/>
              <a:gd name="T9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413">
                <a:moveTo>
                  <a:pt x="397" y="413"/>
                </a:moveTo>
                <a:lnTo>
                  <a:pt x="0" y="413"/>
                </a:lnTo>
                <a:lnTo>
                  <a:pt x="23" y="0"/>
                </a:lnTo>
                <a:lnTo>
                  <a:pt x="376" y="0"/>
                </a:lnTo>
                <a:lnTo>
                  <a:pt x="397" y="41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0"/>
          <p:cNvSpPr>
            <a:spLocks/>
          </p:cNvSpPr>
          <p:nvPr/>
        </p:nvSpPr>
        <p:spPr bwMode="auto">
          <a:xfrm>
            <a:off x="8443247" y="4272535"/>
            <a:ext cx="250218" cy="555591"/>
          </a:xfrm>
          <a:custGeom>
            <a:avLst/>
            <a:gdLst>
              <a:gd name="T0" fmla="*/ 186 w 186"/>
              <a:gd name="T1" fmla="*/ 0 h 413"/>
              <a:gd name="T2" fmla="*/ 163 w 186"/>
              <a:gd name="T3" fmla="*/ 413 h 413"/>
              <a:gd name="T4" fmla="*/ 0 w 186"/>
              <a:gd name="T5" fmla="*/ 413 h 413"/>
              <a:gd name="T6" fmla="*/ 30 w 186"/>
              <a:gd name="T7" fmla="*/ 0 h 413"/>
              <a:gd name="T8" fmla="*/ 186 w 186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6" h="413">
                <a:moveTo>
                  <a:pt x="186" y="0"/>
                </a:moveTo>
                <a:lnTo>
                  <a:pt x="163" y="413"/>
                </a:lnTo>
                <a:lnTo>
                  <a:pt x="0" y="413"/>
                </a:lnTo>
                <a:lnTo>
                  <a:pt x="30" y="0"/>
                </a:lnTo>
                <a:lnTo>
                  <a:pt x="186" y="0"/>
                </a:lnTo>
                <a:close/>
              </a:path>
            </a:pathLst>
          </a:custGeom>
          <a:gradFill flip="none" rotWithShape="1">
            <a:gsLst>
              <a:gs pos="83000">
                <a:srgbClr val="F8716A"/>
              </a:gs>
              <a:gs pos="13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/>
          <p:cNvSpPr>
            <a:spLocks/>
          </p:cNvSpPr>
          <p:nvPr/>
        </p:nvSpPr>
        <p:spPr bwMode="auto">
          <a:xfrm>
            <a:off x="9098387" y="2818313"/>
            <a:ext cx="235420" cy="207169"/>
          </a:xfrm>
          <a:custGeom>
            <a:avLst/>
            <a:gdLst>
              <a:gd name="T0" fmla="*/ 0 w 175"/>
              <a:gd name="T1" fmla="*/ 154 h 154"/>
              <a:gd name="T2" fmla="*/ 141 w 175"/>
              <a:gd name="T3" fmla="*/ 154 h 154"/>
              <a:gd name="T4" fmla="*/ 175 w 175"/>
              <a:gd name="T5" fmla="*/ 0 h 154"/>
              <a:gd name="T6" fmla="*/ 35 w 175"/>
              <a:gd name="T7" fmla="*/ 0 h 154"/>
              <a:gd name="T8" fmla="*/ 0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0" y="154"/>
                </a:moveTo>
                <a:lnTo>
                  <a:pt x="141" y="154"/>
                </a:lnTo>
                <a:lnTo>
                  <a:pt x="175" y="0"/>
                </a:lnTo>
                <a:lnTo>
                  <a:pt x="35" y="0"/>
                </a:lnTo>
                <a:lnTo>
                  <a:pt x="0" y="154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/>
          <p:cNvSpPr>
            <a:spLocks/>
          </p:cNvSpPr>
          <p:nvPr/>
        </p:nvSpPr>
        <p:spPr bwMode="auto">
          <a:xfrm>
            <a:off x="9196591" y="4828126"/>
            <a:ext cx="247527" cy="391470"/>
          </a:xfrm>
          <a:custGeom>
            <a:avLst/>
            <a:gdLst>
              <a:gd name="T0" fmla="*/ 163 w 184"/>
              <a:gd name="T1" fmla="*/ 0 h 291"/>
              <a:gd name="T2" fmla="*/ 0 w 184"/>
              <a:gd name="T3" fmla="*/ 0 h 291"/>
              <a:gd name="T4" fmla="*/ 16 w 184"/>
              <a:gd name="T5" fmla="*/ 291 h 291"/>
              <a:gd name="T6" fmla="*/ 184 w 184"/>
              <a:gd name="T7" fmla="*/ 291 h 291"/>
              <a:gd name="T8" fmla="*/ 163 w 184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291">
                <a:moveTo>
                  <a:pt x="163" y="0"/>
                </a:moveTo>
                <a:lnTo>
                  <a:pt x="0" y="0"/>
                </a:lnTo>
                <a:lnTo>
                  <a:pt x="16" y="291"/>
                </a:lnTo>
                <a:lnTo>
                  <a:pt x="184" y="291"/>
                </a:lnTo>
                <a:lnTo>
                  <a:pt x="163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/>
          <p:cNvSpPr>
            <a:spLocks/>
          </p:cNvSpPr>
          <p:nvPr/>
        </p:nvSpPr>
        <p:spPr bwMode="auto">
          <a:xfrm>
            <a:off x="9145471" y="3855506"/>
            <a:ext cx="232729" cy="417029"/>
          </a:xfrm>
          <a:custGeom>
            <a:avLst/>
            <a:gdLst>
              <a:gd name="T0" fmla="*/ 149 w 173"/>
              <a:gd name="T1" fmla="*/ 0 h 310"/>
              <a:gd name="T2" fmla="*/ 0 w 173"/>
              <a:gd name="T3" fmla="*/ 0 h 310"/>
              <a:gd name="T4" fmla="*/ 17 w 173"/>
              <a:gd name="T5" fmla="*/ 310 h 310"/>
              <a:gd name="T6" fmla="*/ 173 w 173"/>
              <a:gd name="T7" fmla="*/ 310 h 310"/>
              <a:gd name="T8" fmla="*/ 149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149" y="0"/>
                </a:moveTo>
                <a:lnTo>
                  <a:pt x="0" y="0"/>
                </a:lnTo>
                <a:lnTo>
                  <a:pt x="17" y="310"/>
                </a:lnTo>
                <a:lnTo>
                  <a:pt x="173" y="310"/>
                </a:lnTo>
                <a:lnTo>
                  <a:pt x="149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4"/>
          <p:cNvSpPr>
            <a:spLocks/>
          </p:cNvSpPr>
          <p:nvPr/>
        </p:nvSpPr>
        <p:spPr bwMode="auto">
          <a:xfrm>
            <a:off x="9098387" y="3025483"/>
            <a:ext cx="209860" cy="273087"/>
          </a:xfrm>
          <a:custGeom>
            <a:avLst/>
            <a:gdLst>
              <a:gd name="T0" fmla="*/ 0 w 156"/>
              <a:gd name="T1" fmla="*/ 0 h 203"/>
              <a:gd name="T2" fmla="*/ 11 w 156"/>
              <a:gd name="T3" fmla="*/ 203 h 203"/>
              <a:gd name="T4" fmla="*/ 156 w 156"/>
              <a:gd name="T5" fmla="*/ 203 h 203"/>
              <a:gd name="T6" fmla="*/ 141 w 156"/>
              <a:gd name="T7" fmla="*/ 0 h 203"/>
              <a:gd name="T8" fmla="*/ 0 w 156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" h="203">
                <a:moveTo>
                  <a:pt x="0" y="0"/>
                </a:moveTo>
                <a:lnTo>
                  <a:pt x="11" y="203"/>
                </a:lnTo>
                <a:lnTo>
                  <a:pt x="156" y="203"/>
                </a:lnTo>
                <a:lnTo>
                  <a:pt x="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35"/>
          <p:cNvSpPr>
            <a:spLocks/>
          </p:cNvSpPr>
          <p:nvPr/>
        </p:nvSpPr>
        <p:spPr bwMode="auto">
          <a:xfrm>
            <a:off x="8716334" y="2818313"/>
            <a:ext cx="429137" cy="207169"/>
          </a:xfrm>
          <a:custGeom>
            <a:avLst/>
            <a:gdLst>
              <a:gd name="T0" fmla="*/ 158 w 319"/>
              <a:gd name="T1" fmla="*/ 0 h 154"/>
              <a:gd name="T2" fmla="*/ 0 w 319"/>
              <a:gd name="T3" fmla="*/ 0 h 154"/>
              <a:gd name="T4" fmla="*/ 33 w 319"/>
              <a:gd name="T5" fmla="*/ 154 h 154"/>
              <a:gd name="T6" fmla="*/ 158 w 319"/>
              <a:gd name="T7" fmla="*/ 154 h 154"/>
              <a:gd name="T8" fmla="*/ 284 w 319"/>
              <a:gd name="T9" fmla="*/ 154 h 154"/>
              <a:gd name="T10" fmla="*/ 319 w 319"/>
              <a:gd name="T11" fmla="*/ 0 h 154"/>
              <a:gd name="T12" fmla="*/ 158 w 319"/>
              <a:gd name="T13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154">
                <a:moveTo>
                  <a:pt x="158" y="0"/>
                </a:moveTo>
                <a:lnTo>
                  <a:pt x="0" y="0"/>
                </a:lnTo>
                <a:lnTo>
                  <a:pt x="33" y="154"/>
                </a:lnTo>
                <a:lnTo>
                  <a:pt x="158" y="154"/>
                </a:lnTo>
                <a:lnTo>
                  <a:pt x="284" y="154"/>
                </a:lnTo>
                <a:lnTo>
                  <a:pt x="319" y="0"/>
                </a:lnTo>
                <a:lnTo>
                  <a:pt x="158" y="0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36"/>
          <p:cNvSpPr>
            <a:spLocks/>
          </p:cNvSpPr>
          <p:nvPr/>
        </p:nvSpPr>
        <p:spPr bwMode="auto">
          <a:xfrm>
            <a:off x="8744585" y="3025483"/>
            <a:ext cx="368600" cy="273087"/>
          </a:xfrm>
          <a:custGeom>
            <a:avLst/>
            <a:gdLst>
              <a:gd name="T0" fmla="*/ 263 w 274"/>
              <a:gd name="T1" fmla="*/ 0 h 203"/>
              <a:gd name="T2" fmla="*/ 137 w 274"/>
              <a:gd name="T3" fmla="*/ 0 h 203"/>
              <a:gd name="T4" fmla="*/ 12 w 274"/>
              <a:gd name="T5" fmla="*/ 0 h 203"/>
              <a:gd name="T6" fmla="*/ 0 w 274"/>
              <a:gd name="T7" fmla="*/ 203 h 203"/>
              <a:gd name="T8" fmla="*/ 137 w 274"/>
              <a:gd name="T9" fmla="*/ 203 h 203"/>
              <a:gd name="T10" fmla="*/ 274 w 274"/>
              <a:gd name="T11" fmla="*/ 203 h 203"/>
              <a:gd name="T12" fmla="*/ 263 w 274"/>
              <a:gd name="T13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4" h="203">
                <a:moveTo>
                  <a:pt x="263" y="0"/>
                </a:moveTo>
                <a:lnTo>
                  <a:pt x="137" y="0"/>
                </a:lnTo>
                <a:lnTo>
                  <a:pt x="12" y="0"/>
                </a:lnTo>
                <a:lnTo>
                  <a:pt x="0" y="203"/>
                </a:lnTo>
                <a:lnTo>
                  <a:pt x="137" y="203"/>
                </a:lnTo>
                <a:lnTo>
                  <a:pt x="274" y="203"/>
                </a:lnTo>
                <a:lnTo>
                  <a:pt x="263" y="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37"/>
          <p:cNvSpPr>
            <a:spLocks/>
          </p:cNvSpPr>
          <p:nvPr/>
        </p:nvSpPr>
        <p:spPr bwMode="auto">
          <a:xfrm>
            <a:off x="8525308" y="2757777"/>
            <a:ext cx="808499" cy="60537"/>
          </a:xfrm>
          <a:custGeom>
            <a:avLst/>
            <a:gdLst>
              <a:gd name="T0" fmla="*/ 300 w 601"/>
              <a:gd name="T1" fmla="*/ 0 h 45"/>
              <a:gd name="T2" fmla="*/ 0 w 601"/>
              <a:gd name="T3" fmla="*/ 0 h 45"/>
              <a:gd name="T4" fmla="*/ 0 w 601"/>
              <a:gd name="T5" fmla="*/ 45 h 45"/>
              <a:gd name="T6" fmla="*/ 300 w 601"/>
              <a:gd name="T7" fmla="*/ 45 h 45"/>
              <a:gd name="T8" fmla="*/ 601 w 601"/>
              <a:gd name="T9" fmla="*/ 45 h 45"/>
              <a:gd name="T10" fmla="*/ 601 w 601"/>
              <a:gd name="T11" fmla="*/ 0 h 45"/>
              <a:gd name="T12" fmla="*/ 300 w 601"/>
              <a:gd name="T13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1" h="45">
                <a:moveTo>
                  <a:pt x="300" y="0"/>
                </a:moveTo>
                <a:lnTo>
                  <a:pt x="0" y="0"/>
                </a:lnTo>
                <a:lnTo>
                  <a:pt x="0" y="45"/>
                </a:lnTo>
                <a:lnTo>
                  <a:pt x="300" y="45"/>
                </a:lnTo>
                <a:lnTo>
                  <a:pt x="601" y="45"/>
                </a:lnTo>
                <a:lnTo>
                  <a:pt x="601" y="0"/>
                </a:lnTo>
                <a:lnTo>
                  <a:pt x="300" y="0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auto">
          <a:xfrm>
            <a:off x="8658488" y="2449713"/>
            <a:ext cx="347076" cy="12107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>
            <a:off x="8658488" y="2179316"/>
            <a:ext cx="347076" cy="270397"/>
          </a:xfrm>
          <a:custGeom>
            <a:avLst/>
            <a:gdLst>
              <a:gd name="T0" fmla="*/ 109 w 109"/>
              <a:gd name="T1" fmla="*/ 85 h 85"/>
              <a:gd name="T2" fmla="*/ 0 w 109"/>
              <a:gd name="T3" fmla="*/ 85 h 85"/>
              <a:gd name="T4" fmla="*/ 69 w 109"/>
              <a:gd name="T5" fmla="*/ 44 h 85"/>
              <a:gd name="T6" fmla="*/ 69 w 109"/>
              <a:gd name="T7" fmla="*/ 11 h 85"/>
              <a:gd name="T8" fmla="*/ 76 w 109"/>
              <a:gd name="T9" fmla="*/ 0 h 85"/>
              <a:gd name="T10" fmla="*/ 85 w 109"/>
              <a:gd name="T11" fmla="*/ 0 h 85"/>
              <a:gd name="T12" fmla="*/ 85 w 109"/>
              <a:gd name="T13" fmla="*/ 52 h 85"/>
              <a:gd name="T14" fmla="*/ 109 w 109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9" h="85">
                <a:moveTo>
                  <a:pt x="109" y="85"/>
                </a:moveTo>
                <a:cubicBezTo>
                  <a:pt x="0" y="85"/>
                  <a:pt x="0" y="85"/>
                  <a:pt x="0" y="85"/>
                </a:cubicBezTo>
                <a:cubicBezTo>
                  <a:pt x="69" y="44"/>
                  <a:pt x="69" y="44"/>
                  <a:pt x="69" y="44"/>
                </a:cubicBezTo>
                <a:cubicBezTo>
                  <a:pt x="69" y="44"/>
                  <a:pt x="69" y="19"/>
                  <a:pt x="69" y="11"/>
                </a:cubicBezTo>
                <a:cubicBezTo>
                  <a:pt x="69" y="3"/>
                  <a:pt x="72" y="0"/>
                  <a:pt x="76" y="0"/>
                </a:cubicBezTo>
                <a:cubicBezTo>
                  <a:pt x="80" y="0"/>
                  <a:pt x="85" y="0"/>
                  <a:pt x="85" y="0"/>
                </a:cubicBezTo>
                <a:cubicBezTo>
                  <a:pt x="85" y="52"/>
                  <a:pt x="85" y="52"/>
                  <a:pt x="85" y="52"/>
                </a:cubicBezTo>
                <a:lnTo>
                  <a:pt x="109" y="85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40"/>
          <p:cNvSpPr>
            <a:spLocks/>
          </p:cNvSpPr>
          <p:nvPr/>
        </p:nvSpPr>
        <p:spPr bwMode="auto">
          <a:xfrm>
            <a:off x="9113185" y="3298570"/>
            <a:ext cx="232729" cy="556936"/>
          </a:xfrm>
          <a:custGeom>
            <a:avLst/>
            <a:gdLst>
              <a:gd name="T0" fmla="*/ 0 w 173"/>
              <a:gd name="T1" fmla="*/ 0 h 414"/>
              <a:gd name="T2" fmla="*/ 24 w 173"/>
              <a:gd name="T3" fmla="*/ 414 h 414"/>
              <a:gd name="T4" fmla="*/ 173 w 173"/>
              <a:gd name="T5" fmla="*/ 414 h 414"/>
              <a:gd name="T6" fmla="*/ 145 w 173"/>
              <a:gd name="T7" fmla="*/ 0 h 414"/>
              <a:gd name="T8" fmla="*/ 0 w 173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414">
                <a:moveTo>
                  <a:pt x="0" y="0"/>
                </a:moveTo>
                <a:lnTo>
                  <a:pt x="24" y="414"/>
                </a:lnTo>
                <a:lnTo>
                  <a:pt x="173" y="414"/>
                </a:lnTo>
                <a:lnTo>
                  <a:pt x="145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41"/>
          <p:cNvSpPr>
            <a:spLocks/>
          </p:cNvSpPr>
          <p:nvPr/>
        </p:nvSpPr>
        <p:spPr bwMode="auto">
          <a:xfrm>
            <a:off x="8716334" y="3298570"/>
            <a:ext cx="429137" cy="556936"/>
          </a:xfrm>
          <a:custGeom>
            <a:avLst/>
            <a:gdLst>
              <a:gd name="T0" fmla="*/ 295 w 319"/>
              <a:gd name="T1" fmla="*/ 0 h 414"/>
              <a:gd name="T2" fmla="*/ 158 w 319"/>
              <a:gd name="T3" fmla="*/ 0 h 414"/>
              <a:gd name="T4" fmla="*/ 21 w 319"/>
              <a:gd name="T5" fmla="*/ 0 h 414"/>
              <a:gd name="T6" fmla="*/ 0 w 319"/>
              <a:gd name="T7" fmla="*/ 414 h 414"/>
              <a:gd name="T8" fmla="*/ 158 w 319"/>
              <a:gd name="T9" fmla="*/ 414 h 414"/>
              <a:gd name="T10" fmla="*/ 319 w 319"/>
              <a:gd name="T11" fmla="*/ 414 h 414"/>
              <a:gd name="T12" fmla="*/ 295 w 319"/>
              <a:gd name="T13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414">
                <a:moveTo>
                  <a:pt x="295" y="0"/>
                </a:moveTo>
                <a:lnTo>
                  <a:pt x="158" y="0"/>
                </a:lnTo>
                <a:lnTo>
                  <a:pt x="21" y="0"/>
                </a:lnTo>
                <a:lnTo>
                  <a:pt x="0" y="414"/>
                </a:lnTo>
                <a:lnTo>
                  <a:pt x="158" y="414"/>
                </a:lnTo>
                <a:lnTo>
                  <a:pt x="319" y="414"/>
                </a:lnTo>
                <a:lnTo>
                  <a:pt x="295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8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42"/>
          <p:cNvSpPr>
            <a:spLocks/>
          </p:cNvSpPr>
          <p:nvPr/>
        </p:nvSpPr>
        <p:spPr bwMode="auto">
          <a:xfrm>
            <a:off x="9168340" y="4272535"/>
            <a:ext cx="247527" cy="555591"/>
          </a:xfrm>
          <a:custGeom>
            <a:avLst/>
            <a:gdLst>
              <a:gd name="T0" fmla="*/ 0 w 184"/>
              <a:gd name="T1" fmla="*/ 0 h 413"/>
              <a:gd name="T2" fmla="*/ 21 w 184"/>
              <a:gd name="T3" fmla="*/ 413 h 413"/>
              <a:gd name="T4" fmla="*/ 184 w 184"/>
              <a:gd name="T5" fmla="*/ 413 h 413"/>
              <a:gd name="T6" fmla="*/ 156 w 184"/>
              <a:gd name="T7" fmla="*/ 0 h 413"/>
              <a:gd name="T8" fmla="*/ 0 w 184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413">
                <a:moveTo>
                  <a:pt x="0" y="0"/>
                </a:moveTo>
                <a:lnTo>
                  <a:pt x="21" y="413"/>
                </a:lnTo>
                <a:lnTo>
                  <a:pt x="184" y="413"/>
                </a:lnTo>
                <a:lnTo>
                  <a:pt x="156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auto">
          <a:xfrm>
            <a:off x="8798395" y="2570786"/>
            <a:ext cx="260980" cy="145288"/>
          </a:xfrm>
          <a:prstGeom prst="rect">
            <a:avLst/>
          </a:pr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4"/>
          <p:cNvSpPr>
            <a:spLocks noChangeArrowheads="1"/>
          </p:cNvSpPr>
          <p:nvPr/>
        </p:nvSpPr>
        <p:spPr bwMode="auto">
          <a:xfrm>
            <a:off x="9005564" y="2449713"/>
            <a:ext cx="197753" cy="121073"/>
          </a:xfrm>
          <a:prstGeom prst="rect">
            <a:avLst/>
          </a:pr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45"/>
          <p:cNvSpPr>
            <a:spLocks/>
          </p:cNvSpPr>
          <p:nvPr/>
        </p:nvSpPr>
        <p:spPr bwMode="auto">
          <a:xfrm>
            <a:off x="8928885" y="2179316"/>
            <a:ext cx="274432" cy="270397"/>
          </a:xfrm>
          <a:custGeom>
            <a:avLst/>
            <a:gdLst>
              <a:gd name="T0" fmla="*/ 86 w 86"/>
              <a:gd name="T1" fmla="*/ 85 h 85"/>
              <a:gd name="T2" fmla="*/ 24 w 86"/>
              <a:gd name="T3" fmla="*/ 85 h 85"/>
              <a:gd name="T4" fmla="*/ 0 w 86"/>
              <a:gd name="T5" fmla="*/ 52 h 85"/>
              <a:gd name="T6" fmla="*/ 0 w 86"/>
              <a:gd name="T7" fmla="*/ 0 h 85"/>
              <a:gd name="T8" fmla="*/ 9 w 86"/>
              <a:gd name="T9" fmla="*/ 0 h 85"/>
              <a:gd name="T10" fmla="*/ 17 w 86"/>
              <a:gd name="T11" fmla="*/ 11 h 85"/>
              <a:gd name="T12" fmla="*/ 17 w 86"/>
              <a:gd name="T13" fmla="*/ 44 h 85"/>
              <a:gd name="T14" fmla="*/ 86 w 86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" h="85">
                <a:moveTo>
                  <a:pt x="86" y="85"/>
                </a:moveTo>
                <a:cubicBezTo>
                  <a:pt x="24" y="85"/>
                  <a:pt x="24" y="85"/>
                  <a:pt x="24" y="85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5" y="0"/>
                  <a:pt x="9" y="0"/>
                </a:cubicBezTo>
                <a:cubicBezTo>
                  <a:pt x="13" y="0"/>
                  <a:pt x="17" y="3"/>
                  <a:pt x="17" y="11"/>
                </a:cubicBezTo>
                <a:cubicBezTo>
                  <a:pt x="17" y="19"/>
                  <a:pt x="17" y="44"/>
                  <a:pt x="17" y="44"/>
                </a:cubicBezTo>
                <a:lnTo>
                  <a:pt x="86" y="85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5990845" y="3718290"/>
            <a:ext cx="3879719" cy="1927752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8942337" y="4717815"/>
            <a:ext cx="1869906" cy="928227"/>
          </a:xfrm>
          <a:custGeom>
            <a:avLst/>
            <a:gdLst>
              <a:gd name="T0" fmla="*/ 0 w 1390"/>
              <a:gd name="T1" fmla="*/ 690 h 690"/>
              <a:gd name="T2" fmla="*/ 1390 w 1390"/>
              <a:gd name="T3" fmla="*/ 690 h 690"/>
              <a:gd name="T4" fmla="*/ 700 w 1390"/>
              <a:gd name="T5" fmla="*/ 0 h 690"/>
              <a:gd name="T6" fmla="*/ 0 w 1390"/>
              <a:gd name="T7" fmla="*/ 69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90" h="690">
                <a:moveTo>
                  <a:pt x="0" y="690"/>
                </a:moveTo>
                <a:lnTo>
                  <a:pt x="1390" y="690"/>
                </a:lnTo>
                <a:lnTo>
                  <a:pt x="700" y="0"/>
                </a:lnTo>
                <a:lnTo>
                  <a:pt x="0" y="690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3110" y="5647558"/>
            <a:ext cx="12188890" cy="1210442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24625" y="5646042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1224601" y="5646042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4162641" y="5646042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0138270" y="5646042"/>
            <a:ext cx="1951967" cy="969930"/>
          </a:xfrm>
          <a:custGeom>
            <a:avLst/>
            <a:gdLst>
              <a:gd name="T0" fmla="*/ 0 w 1451"/>
              <a:gd name="T1" fmla="*/ 0 h 721"/>
              <a:gd name="T2" fmla="*/ 1451 w 1451"/>
              <a:gd name="T3" fmla="*/ 0 h 721"/>
              <a:gd name="T4" fmla="*/ 730 w 1451"/>
              <a:gd name="T5" fmla="*/ 721 h 721"/>
              <a:gd name="T6" fmla="*/ 0 w 1451"/>
              <a:gd name="T7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51" h="721">
                <a:moveTo>
                  <a:pt x="0" y="0"/>
                </a:moveTo>
                <a:lnTo>
                  <a:pt x="1451" y="0"/>
                </a:lnTo>
                <a:lnTo>
                  <a:pt x="730" y="72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7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8413652" y="5646043"/>
            <a:ext cx="1030466" cy="1478658"/>
          </a:xfrm>
          <a:custGeom>
            <a:avLst/>
            <a:gdLst>
              <a:gd name="T0" fmla="*/ 324 w 324"/>
              <a:gd name="T1" fmla="*/ 0 h 956"/>
              <a:gd name="T2" fmla="*/ 253 w 324"/>
              <a:gd name="T3" fmla="*/ 0 h 956"/>
              <a:gd name="T4" fmla="*/ 72 w 324"/>
              <a:gd name="T5" fmla="*/ 0 h 956"/>
              <a:gd name="T6" fmla="*/ 0 w 324"/>
              <a:gd name="T7" fmla="*/ 0 h 956"/>
              <a:gd name="T8" fmla="*/ 9 w 324"/>
              <a:gd name="T9" fmla="*/ 123 h 956"/>
              <a:gd name="T10" fmla="*/ 22 w 324"/>
              <a:gd name="T11" fmla="*/ 299 h 956"/>
              <a:gd name="T12" fmla="*/ 22 w 324"/>
              <a:gd name="T13" fmla="*/ 299 h 956"/>
              <a:gd name="T14" fmla="*/ 31 w 324"/>
              <a:gd name="T15" fmla="*/ 429 h 956"/>
              <a:gd name="T16" fmla="*/ 44 w 324"/>
              <a:gd name="T17" fmla="*/ 604 h 956"/>
              <a:gd name="T18" fmla="*/ 44 w 324"/>
              <a:gd name="T19" fmla="*/ 604 h 956"/>
              <a:gd name="T20" fmla="*/ 50 w 324"/>
              <a:gd name="T21" fmla="*/ 690 h 956"/>
              <a:gd name="T22" fmla="*/ 35 w 324"/>
              <a:gd name="T23" fmla="*/ 755 h 956"/>
              <a:gd name="T24" fmla="*/ 35 w 324"/>
              <a:gd name="T25" fmla="*/ 774 h 956"/>
              <a:gd name="T26" fmla="*/ 63 w 324"/>
              <a:gd name="T27" fmla="*/ 774 h 956"/>
              <a:gd name="T28" fmla="*/ 63 w 324"/>
              <a:gd name="T29" fmla="*/ 787 h 956"/>
              <a:gd name="T30" fmla="*/ 102 w 324"/>
              <a:gd name="T31" fmla="*/ 787 h 956"/>
              <a:gd name="T32" fmla="*/ 102 w 324"/>
              <a:gd name="T33" fmla="*/ 833 h 956"/>
              <a:gd name="T34" fmla="*/ 77 w 324"/>
              <a:gd name="T35" fmla="*/ 833 h 956"/>
              <a:gd name="T36" fmla="*/ 77 w 324"/>
              <a:gd name="T37" fmla="*/ 871 h 956"/>
              <a:gd name="T38" fmla="*/ 146 w 324"/>
              <a:gd name="T39" fmla="*/ 912 h 956"/>
              <a:gd name="T40" fmla="*/ 146 w 324"/>
              <a:gd name="T41" fmla="*/ 945 h 956"/>
              <a:gd name="T42" fmla="*/ 153 w 324"/>
              <a:gd name="T43" fmla="*/ 956 h 956"/>
              <a:gd name="T44" fmla="*/ 162 w 324"/>
              <a:gd name="T45" fmla="*/ 956 h 956"/>
              <a:gd name="T46" fmla="*/ 171 w 324"/>
              <a:gd name="T47" fmla="*/ 956 h 956"/>
              <a:gd name="T48" fmla="*/ 179 w 324"/>
              <a:gd name="T49" fmla="*/ 945 h 956"/>
              <a:gd name="T50" fmla="*/ 179 w 324"/>
              <a:gd name="T51" fmla="*/ 912 h 956"/>
              <a:gd name="T52" fmla="*/ 248 w 324"/>
              <a:gd name="T53" fmla="*/ 871 h 956"/>
              <a:gd name="T54" fmla="*/ 248 w 324"/>
              <a:gd name="T55" fmla="*/ 833 h 956"/>
              <a:gd name="T56" fmla="*/ 222 w 324"/>
              <a:gd name="T57" fmla="*/ 833 h 956"/>
              <a:gd name="T58" fmla="*/ 222 w 324"/>
              <a:gd name="T59" fmla="*/ 787 h 956"/>
              <a:gd name="T60" fmla="*/ 261 w 324"/>
              <a:gd name="T61" fmla="*/ 787 h 956"/>
              <a:gd name="T62" fmla="*/ 261 w 324"/>
              <a:gd name="T63" fmla="*/ 774 h 956"/>
              <a:gd name="T64" fmla="*/ 289 w 324"/>
              <a:gd name="T65" fmla="*/ 774 h 956"/>
              <a:gd name="T66" fmla="*/ 289 w 324"/>
              <a:gd name="T67" fmla="*/ 755 h 956"/>
              <a:gd name="T68" fmla="*/ 275 w 324"/>
              <a:gd name="T69" fmla="*/ 690 h 956"/>
              <a:gd name="T70" fmla="*/ 281 w 324"/>
              <a:gd name="T71" fmla="*/ 604 h 956"/>
              <a:gd name="T72" fmla="*/ 281 w 324"/>
              <a:gd name="T73" fmla="*/ 604 h 956"/>
              <a:gd name="T74" fmla="*/ 293 w 324"/>
              <a:gd name="T75" fmla="*/ 429 h 956"/>
              <a:gd name="T76" fmla="*/ 303 w 324"/>
              <a:gd name="T77" fmla="*/ 299 h 956"/>
              <a:gd name="T78" fmla="*/ 303 w 324"/>
              <a:gd name="T79" fmla="*/ 299 h 956"/>
              <a:gd name="T80" fmla="*/ 315 w 324"/>
              <a:gd name="T81" fmla="*/ 123 h 956"/>
              <a:gd name="T82" fmla="*/ 324 w 324"/>
              <a:gd name="T83" fmla="*/ 0 h 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4" h="956">
                <a:moveTo>
                  <a:pt x="324" y="0"/>
                </a:moveTo>
                <a:cubicBezTo>
                  <a:pt x="253" y="0"/>
                  <a:pt x="253" y="0"/>
                  <a:pt x="25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123"/>
                  <a:pt x="9" y="123"/>
                  <a:pt x="9" y="123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31" y="429"/>
                  <a:pt x="31" y="429"/>
                  <a:pt x="31" y="429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50" y="690"/>
                  <a:pt x="50" y="690"/>
                  <a:pt x="50" y="690"/>
                </a:cubicBezTo>
                <a:cubicBezTo>
                  <a:pt x="35" y="755"/>
                  <a:pt x="35" y="755"/>
                  <a:pt x="35" y="755"/>
                </a:cubicBezTo>
                <a:cubicBezTo>
                  <a:pt x="35" y="774"/>
                  <a:pt x="35" y="774"/>
                  <a:pt x="35" y="774"/>
                </a:cubicBezTo>
                <a:cubicBezTo>
                  <a:pt x="63" y="774"/>
                  <a:pt x="63" y="774"/>
                  <a:pt x="63" y="774"/>
                </a:cubicBezTo>
                <a:cubicBezTo>
                  <a:pt x="63" y="787"/>
                  <a:pt x="63" y="787"/>
                  <a:pt x="63" y="787"/>
                </a:cubicBezTo>
                <a:cubicBezTo>
                  <a:pt x="102" y="787"/>
                  <a:pt x="102" y="787"/>
                  <a:pt x="102" y="787"/>
                </a:cubicBezTo>
                <a:cubicBezTo>
                  <a:pt x="102" y="833"/>
                  <a:pt x="102" y="833"/>
                  <a:pt x="102" y="833"/>
                </a:cubicBezTo>
                <a:cubicBezTo>
                  <a:pt x="77" y="833"/>
                  <a:pt x="77" y="833"/>
                  <a:pt x="77" y="833"/>
                </a:cubicBezTo>
                <a:cubicBezTo>
                  <a:pt x="77" y="871"/>
                  <a:pt x="77" y="871"/>
                  <a:pt x="77" y="871"/>
                </a:cubicBezTo>
                <a:cubicBezTo>
                  <a:pt x="146" y="912"/>
                  <a:pt x="146" y="912"/>
                  <a:pt x="146" y="912"/>
                </a:cubicBezTo>
                <a:cubicBezTo>
                  <a:pt x="146" y="912"/>
                  <a:pt x="146" y="937"/>
                  <a:pt x="146" y="945"/>
                </a:cubicBezTo>
                <a:cubicBezTo>
                  <a:pt x="146" y="953"/>
                  <a:pt x="149" y="956"/>
                  <a:pt x="153" y="956"/>
                </a:cubicBezTo>
                <a:cubicBezTo>
                  <a:pt x="157" y="956"/>
                  <a:pt x="162" y="956"/>
                  <a:pt x="162" y="956"/>
                </a:cubicBezTo>
                <a:cubicBezTo>
                  <a:pt x="162" y="956"/>
                  <a:pt x="167" y="956"/>
                  <a:pt x="171" y="956"/>
                </a:cubicBezTo>
                <a:cubicBezTo>
                  <a:pt x="175" y="956"/>
                  <a:pt x="179" y="953"/>
                  <a:pt x="179" y="945"/>
                </a:cubicBezTo>
                <a:cubicBezTo>
                  <a:pt x="179" y="937"/>
                  <a:pt x="179" y="912"/>
                  <a:pt x="179" y="912"/>
                </a:cubicBezTo>
                <a:cubicBezTo>
                  <a:pt x="248" y="871"/>
                  <a:pt x="248" y="871"/>
                  <a:pt x="248" y="871"/>
                </a:cubicBezTo>
                <a:cubicBezTo>
                  <a:pt x="248" y="833"/>
                  <a:pt x="248" y="833"/>
                  <a:pt x="248" y="833"/>
                </a:cubicBezTo>
                <a:cubicBezTo>
                  <a:pt x="222" y="833"/>
                  <a:pt x="222" y="833"/>
                  <a:pt x="222" y="833"/>
                </a:cubicBezTo>
                <a:cubicBezTo>
                  <a:pt x="222" y="787"/>
                  <a:pt x="222" y="787"/>
                  <a:pt x="222" y="787"/>
                </a:cubicBezTo>
                <a:cubicBezTo>
                  <a:pt x="261" y="787"/>
                  <a:pt x="261" y="787"/>
                  <a:pt x="261" y="787"/>
                </a:cubicBezTo>
                <a:cubicBezTo>
                  <a:pt x="261" y="774"/>
                  <a:pt x="261" y="774"/>
                  <a:pt x="261" y="774"/>
                </a:cubicBezTo>
                <a:cubicBezTo>
                  <a:pt x="289" y="774"/>
                  <a:pt x="289" y="774"/>
                  <a:pt x="289" y="774"/>
                </a:cubicBezTo>
                <a:cubicBezTo>
                  <a:pt x="289" y="755"/>
                  <a:pt x="289" y="755"/>
                  <a:pt x="289" y="755"/>
                </a:cubicBezTo>
                <a:cubicBezTo>
                  <a:pt x="275" y="690"/>
                  <a:pt x="275" y="690"/>
                  <a:pt x="275" y="690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15" y="123"/>
                  <a:pt x="315" y="123"/>
                  <a:pt x="315" y="123"/>
                </a:cubicBezTo>
                <a:lnTo>
                  <a:pt x="324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43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5450052" y="5646042"/>
            <a:ext cx="5177892" cy="1778429"/>
          </a:xfrm>
          <a:custGeom>
            <a:avLst/>
            <a:gdLst>
              <a:gd name="T0" fmla="*/ 3213 w 3849"/>
              <a:gd name="T1" fmla="*/ 636 h 1322"/>
              <a:gd name="T2" fmla="*/ 2889 w 3849"/>
              <a:gd name="T3" fmla="*/ 317 h 1322"/>
              <a:gd name="T4" fmla="*/ 1884 w 3849"/>
              <a:gd name="T5" fmla="*/ 1322 h 1322"/>
              <a:gd name="T6" fmla="*/ 863 w 3849"/>
              <a:gd name="T7" fmla="*/ 312 h 1322"/>
              <a:gd name="T8" fmla="*/ 594 w 3849"/>
              <a:gd name="T9" fmla="*/ 584 h 1322"/>
              <a:gd name="T10" fmla="*/ 0 w 3849"/>
              <a:gd name="T11" fmla="*/ 0 h 1322"/>
              <a:gd name="T12" fmla="*/ 549 w 3849"/>
              <a:gd name="T13" fmla="*/ 0 h 1322"/>
              <a:gd name="T14" fmla="*/ 1175 w 3849"/>
              <a:gd name="T15" fmla="*/ 0 h 1322"/>
              <a:gd name="T16" fmla="*/ 2570 w 3849"/>
              <a:gd name="T17" fmla="*/ 0 h 1322"/>
              <a:gd name="T18" fmla="*/ 3206 w 3849"/>
              <a:gd name="T19" fmla="*/ 0 h 1322"/>
              <a:gd name="T20" fmla="*/ 3849 w 3849"/>
              <a:gd name="T21" fmla="*/ 0 h 1322"/>
              <a:gd name="T22" fmla="*/ 3213 w 3849"/>
              <a:gd name="T23" fmla="*/ 636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9" h="1322">
                <a:moveTo>
                  <a:pt x="3213" y="636"/>
                </a:moveTo>
                <a:lnTo>
                  <a:pt x="2889" y="317"/>
                </a:lnTo>
                <a:lnTo>
                  <a:pt x="1884" y="1322"/>
                </a:lnTo>
                <a:lnTo>
                  <a:pt x="863" y="312"/>
                </a:lnTo>
                <a:lnTo>
                  <a:pt x="594" y="584"/>
                </a:lnTo>
                <a:lnTo>
                  <a:pt x="0" y="0"/>
                </a:lnTo>
                <a:lnTo>
                  <a:pt x="549" y="0"/>
                </a:lnTo>
                <a:lnTo>
                  <a:pt x="1175" y="0"/>
                </a:lnTo>
                <a:lnTo>
                  <a:pt x="2570" y="0"/>
                </a:lnTo>
                <a:lnTo>
                  <a:pt x="3206" y="0"/>
                </a:lnTo>
                <a:lnTo>
                  <a:pt x="3849" y="0"/>
                </a:lnTo>
                <a:lnTo>
                  <a:pt x="3213" y="636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50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11295191" y="5646042"/>
            <a:ext cx="1536283" cy="764106"/>
          </a:xfrm>
          <a:custGeom>
            <a:avLst/>
            <a:gdLst>
              <a:gd name="T0" fmla="*/ 0 w 1142"/>
              <a:gd name="T1" fmla="*/ 0 h 568"/>
              <a:gd name="T2" fmla="*/ 1142 w 1142"/>
              <a:gd name="T3" fmla="*/ 0 h 568"/>
              <a:gd name="T4" fmla="*/ 575 w 1142"/>
              <a:gd name="T5" fmla="*/ 568 h 568"/>
              <a:gd name="T6" fmla="*/ 0 w 1142"/>
              <a:gd name="T7" fmla="*/ 0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42" h="568">
                <a:moveTo>
                  <a:pt x="0" y="0"/>
                </a:moveTo>
                <a:lnTo>
                  <a:pt x="1142" y="0"/>
                </a:lnTo>
                <a:lnTo>
                  <a:pt x="575" y="5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28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3265355" y="5646042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60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 bwMode="auto">
          <a:xfrm>
            <a:off x="-586705" y="-37811"/>
            <a:ext cx="439738" cy="2871788"/>
            <a:chOff x="-1745" y="-199"/>
            <a:chExt cx="277" cy="1809"/>
          </a:xfrm>
        </p:grpSpPr>
        <p:sp>
          <p:nvSpPr>
            <p:cNvPr id="85" name="Oval 83"/>
            <p:cNvSpPr>
              <a:spLocks noChangeArrowheads="1"/>
            </p:cNvSpPr>
            <p:nvPr/>
          </p:nvSpPr>
          <p:spPr bwMode="auto">
            <a:xfrm>
              <a:off x="-1745" y="-199"/>
              <a:ext cx="277" cy="268"/>
            </a:xfrm>
            <a:prstGeom prst="ellipse">
              <a:avLst/>
            </a:pr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4"/>
            <p:cNvSpPr>
              <a:spLocks noChangeArrowheads="1"/>
            </p:cNvSpPr>
            <p:nvPr/>
          </p:nvSpPr>
          <p:spPr bwMode="auto">
            <a:xfrm>
              <a:off x="-1745" y="109"/>
              <a:ext cx="277" cy="268"/>
            </a:xfrm>
            <a:prstGeom prst="ellipse">
              <a:avLst/>
            </a:prstGeom>
            <a:solidFill>
              <a:srgbClr val="122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85"/>
            <p:cNvSpPr>
              <a:spLocks noChangeArrowheads="1"/>
            </p:cNvSpPr>
            <p:nvPr/>
          </p:nvSpPr>
          <p:spPr bwMode="auto">
            <a:xfrm>
              <a:off x="-1745" y="417"/>
              <a:ext cx="277" cy="268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86"/>
            <p:cNvSpPr>
              <a:spLocks noChangeArrowheads="1"/>
            </p:cNvSpPr>
            <p:nvPr/>
          </p:nvSpPr>
          <p:spPr bwMode="auto">
            <a:xfrm>
              <a:off x="-1745" y="725"/>
              <a:ext cx="277" cy="268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87"/>
            <p:cNvSpPr>
              <a:spLocks noChangeArrowheads="1"/>
            </p:cNvSpPr>
            <p:nvPr/>
          </p:nvSpPr>
          <p:spPr bwMode="auto">
            <a:xfrm>
              <a:off x="-1745" y="1034"/>
              <a:ext cx="277" cy="268"/>
            </a:xfrm>
            <a:prstGeom prst="ellipse">
              <a:avLst/>
            </a:prstGeom>
            <a:solidFill>
              <a:srgbClr val="F644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88"/>
            <p:cNvSpPr>
              <a:spLocks noChangeArrowheads="1"/>
            </p:cNvSpPr>
            <p:nvPr/>
          </p:nvSpPr>
          <p:spPr bwMode="auto">
            <a:xfrm>
              <a:off x="-1745" y="1342"/>
              <a:ext cx="277" cy="268"/>
            </a:xfrm>
            <a:prstGeom prst="ellipse">
              <a:avLst/>
            </a:prstGeom>
            <a:solidFill>
              <a:srgbClr val="193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7"/>
          <p:cNvSpPr>
            <a:spLocks/>
          </p:cNvSpPr>
          <p:nvPr/>
        </p:nvSpPr>
        <p:spPr bwMode="auto">
          <a:xfrm>
            <a:off x="5193108" y="4793149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TextBox 93"/>
          <p:cNvSpPr txBox="1"/>
          <p:nvPr/>
        </p:nvSpPr>
        <p:spPr>
          <a:xfrm>
            <a:off x="3766715" y="6123715"/>
            <a:ext cx="465858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B0F7F4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“</a:t>
            </a:r>
            <a:r>
              <a:rPr lang="cy-GB" sz="1400" dirty="0">
                <a:solidFill>
                  <a:srgbClr val="B0F7F4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AKE THE WORLD SMALLER, ONE SLIDE AT THE TIME”</a:t>
            </a:r>
            <a:endParaRPr lang="en-US" sz="1400" dirty="0">
              <a:solidFill>
                <a:srgbClr val="B0F7F4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837920" y="902804"/>
            <a:ext cx="2389688" cy="757038"/>
          </a:xfrm>
          <a:prstGeom prst="rect">
            <a:avLst/>
          </a:prstGeom>
          <a:effectLst>
            <a:outerShdw blurRad="38100" dist="25400" dir="5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96" name="Freeform 14"/>
          <p:cNvSpPr>
            <a:spLocks/>
          </p:cNvSpPr>
          <p:nvPr/>
        </p:nvSpPr>
        <p:spPr bwMode="auto">
          <a:xfrm flipV="1">
            <a:off x="2194532" y="5646041"/>
            <a:ext cx="451444" cy="224534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5"/>
          <p:cNvSpPr>
            <a:spLocks/>
          </p:cNvSpPr>
          <p:nvPr/>
        </p:nvSpPr>
        <p:spPr bwMode="auto">
          <a:xfrm flipV="1">
            <a:off x="2057315" y="5646040"/>
            <a:ext cx="282504" cy="140113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5"/>
          <p:cNvSpPr>
            <a:spLocks/>
          </p:cNvSpPr>
          <p:nvPr/>
        </p:nvSpPr>
        <p:spPr bwMode="auto">
          <a:xfrm flipV="1">
            <a:off x="282921" y="5646039"/>
            <a:ext cx="345585" cy="171399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725328" y="1767289"/>
            <a:ext cx="5254755" cy="9541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READY TO BOOST THE IMPACT OF YOUR PRESENTATIONS?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837920" y="2917366"/>
            <a:ext cx="305373" cy="0"/>
          </a:xfrm>
          <a:prstGeom prst="line">
            <a:avLst/>
          </a:prstGeom>
          <a:ln w="19050">
            <a:solidFill>
              <a:srgbClr val="B0F7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725328" y="3101121"/>
            <a:ext cx="5159242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600" dirty="0">
                <a:solidFill>
                  <a:srgbClr val="B0F7F4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Head over to 24Slides.com and find out more about our presentation design services.</a:t>
            </a:r>
          </a:p>
        </p:txBody>
      </p:sp>
    </p:spTree>
    <p:extLst>
      <p:ext uri="{BB962C8B-B14F-4D97-AF65-F5344CB8AC3E}">
        <p14:creationId xmlns:p14="http://schemas.microsoft.com/office/powerpoint/2010/main" val="7658705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294643" y="4842880"/>
            <a:ext cx="3863142" cy="1931571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2C9747-202E-41E0-8BEF-BBF25331BE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8859" y="2420938"/>
            <a:ext cx="4718841" cy="46317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7930" y="1"/>
            <a:ext cx="3504070" cy="2279346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 rot="16200000">
            <a:off x="-1113197" y="102325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6B8B620-ECA5-4287-91FE-C7C3139C40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4790110"/>
            <a:ext cx="2581118" cy="206789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52B06BD-3598-4CB9-9F86-C02EF38446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6683091" y="5372100"/>
            <a:ext cx="3351177" cy="1485900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386296" y="900833"/>
            <a:ext cx="84131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know PowerPoint can b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erwhelm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with all the layouts, shapes, charts, and fonts. On top of that, creating slides you’re really satisfied with can take up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OU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your busy schedule. But not today! Focus on polishing your ideas and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ve the designing to 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6757DB-20ED-47C1-8841-9C1669A40A2F}"/>
              </a:ext>
            </a:extLst>
          </p:cNvPr>
          <p:cNvSpPr txBox="1"/>
          <p:nvPr/>
        </p:nvSpPr>
        <p:spPr>
          <a:xfrm>
            <a:off x="393001" y="2257743"/>
            <a:ext cx="751854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ow about using this template as your first draf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ust fill in the content and send it our way. We’ll make sure your final PowerPoint looks exactly as you envision it! </a:t>
            </a:r>
            <a:endParaRPr kumimoji="0" lang="en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72">
            <a:hlinkClick r:id="rId11"/>
            <a:extLst>
              <a:ext uri="{FF2B5EF4-FFF2-40B4-BE49-F238E27FC236}">
                <a16:creationId xmlns:a16="http://schemas.microsoft.com/office/drawing/2014/main" id="{279C4F20-3921-4550-84CB-1FBA34823D76}"/>
              </a:ext>
            </a:extLst>
          </p:cNvPr>
          <p:cNvSpPr txBox="1"/>
          <p:nvPr/>
        </p:nvSpPr>
        <p:spPr>
          <a:xfrm>
            <a:off x="1101034" y="4540163"/>
            <a:ext cx="6134655" cy="56263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T 30% OFF with coupon code TEMPLATES30</a:t>
            </a:r>
          </a:p>
        </p:txBody>
      </p:sp>
      <p:sp>
        <p:nvSpPr>
          <p:cNvPr id="16" name="TextBox 72">
            <a:hlinkClick r:id="rId11"/>
            <a:extLst>
              <a:ext uri="{FF2B5EF4-FFF2-40B4-BE49-F238E27FC236}">
                <a16:creationId xmlns:a16="http://schemas.microsoft.com/office/drawing/2014/main" id="{910B446A-FBB4-4456-94B2-27E0C85B1864}"/>
              </a:ext>
            </a:extLst>
          </p:cNvPr>
          <p:cNvSpPr txBox="1"/>
          <p:nvPr/>
        </p:nvSpPr>
        <p:spPr>
          <a:xfrm>
            <a:off x="2284750" y="5052419"/>
            <a:ext cx="3675548" cy="519351"/>
          </a:xfrm>
          <a:prstGeom prst="roundRect">
            <a:avLst>
              <a:gd name="adj" fmla="val 50000"/>
            </a:avLst>
          </a:prstGeom>
          <a:solidFill>
            <a:srgbClr val="4A72B3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slides.com/discount </a:t>
            </a:r>
          </a:p>
        </p:txBody>
      </p:sp>
    </p:spTree>
    <p:extLst>
      <p:ext uri="{BB962C8B-B14F-4D97-AF65-F5344CB8AC3E}">
        <p14:creationId xmlns:p14="http://schemas.microsoft.com/office/powerpoint/2010/main" val="2024167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" name="Group 151"/>
          <p:cNvGrpSpPr/>
          <p:nvPr/>
        </p:nvGrpSpPr>
        <p:grpSpPr>
          <a:xfrm>
            <a:off x="7715186" y="2814898"/>
            <a:ext cx="1294484" cy="815037"/>
            <a:chOff x="920816" y="2053524"/>
            <a:chExt cx="1294484" cy="815037"/>
          </a:xfrm>
        </p:grpSpPr>
        <p:sp>
          <p:nvSpPr>
            <p:cNvPr id="153" name="Rectangle: Rounded Corners 15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4" name="Rectangle: Rounded Corners 15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tangle: Rounded Corners 15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9979976" y="2053524"/>
            <a:ext cx="1294484" cy="815037"/>
            <a:chOff x="920816" y="2053524"/>
            <a:chExt cx="1294484" cy="815037"/>
          </a:xfrm>
        </p:grpSpPr>
        <p:sp>
          <p:nvSpPr>
            <p:cNvPr id="149" name="Rectangle: Rounded Corners 148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0" name="Rectangle: Rounded Corners 149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tangle: Rounded Corners 150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5450396" y="2053524"/>
            <a:ext cx="1294484" cy="815037"/>
            <a:chOff x="920816" y="2053524"/>
            <a:chExt cx="1294484" cy="815037"/>
          </a:xfrm>
        </p:grpSpPr>
        <p:sp>
          <p:nvSpPr>
            <p:cNvPr id="145" name="Rectangle: Rounded Corners 144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6" name="Rectangle: Rounded Corners 145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tangle: Rounded Corners 146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3184019" y="2814898"/>
            <a:ext cx="1294484" cy="815037"/>
            <a:chOff x="920816" y="2053524"/>
            <a:chExt cx="1294484" cy="815037"/>
          </a:xfrm>
        </p:grpSpPr>
        <p:sp>
          <p:nvSpPr>
            <p:cNvPr id="134" name="Rectangle: Rounded Corners 133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5" name="Rectangle: Rounded Corners 134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: Rounded Corners 13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839788" y="688975"/>
            <a:ext cx="54300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y-GB" sz="2800" dirty="0">
                <a:solidFill>
                  <a:srgbClr val="0C344C"/>
                </a:solidFill>
                <a:latin typeface="+mj-lt"/>
              </a:rPr>
              <a:t>Agenda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72" name="TextBox 25"/>
          <p:cNvSpPr txBox="1"/>
          <p:nvPr/>
        </p:nvSpPr>
        <p:spPr>
          <a:xfrm>
            <a:off x="849215" y="3201072"/>
            <a:ext cx="146049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0C344C"/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920816" y="2053524"/>
            <a:ext cx="1294484" cy="815037"/>
            <a:chOff x="920816" y="2053524"/>
            <a:chExt cx="1294484" cy="815037"/>
          </a:xfrm>
        </p:grpSpPr>
        <p:sp>
          <p:nvSpPr>
            <p:cNvPr id="77" name="Rectangle: Rounded Corners 7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8" name="Rectangle: Rounded Corners 7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: Rounded Corners 7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1429776" y="2284035"/>
            <a:ext cx="360363" cy="354013"/>
            <a:chOff x="9161463" y="4692650"/>
            <a:chExt cx="360363" cy="354013"/>
          </a:xfrm>
          <a:solidFill>
            <a:schemeClr val="bg1"/>
          </a:solidFill>
        </p:grpSpPr>
        <p:sp>
          <p:nvSpPr>
            <p:cNvPr id="81" name="Freeform 156"/>
            <p:cNvSpPr>
              <a:spLocks noEditPoints="1"/>
            </p:cNvSpPr>
            <p:nvPr/>
          </p:nvSpPr>
          <p:spPr bwMode="auto">
            <a:xfrm>
              <a:off x="9161463" y="4692650"/>
              <a:ext cx="255588" cy="330200"/>
            </a:xfrm>
            <a:custGeom>
              <a:avLst/>
              <a:gdLst>
                <a:gd name="T0" fmla="*/ 48 w 68"/>
                <a:gd name="T1" fmla="*/ 76 h 88"/>
                <a:gd name="T2" fmla="*/ 48 w 68"/>
                <a:gd name="T3" fmla="*/ 76 h 88"/>
                <a:gd name="T4" fmla="*/ 49 w 68"/>
                <a:gd name="T5" fmla="*/ 76 h 88"/>
                <a:gd name="T6" fmla="*/ 50 w 68"/>
                <a:gd name="T7" fmla="*/ 74 h 88"/>
                <a:gd name="T8" fmla="*/ 68 w 68"/>
                <a:gd name="T9" fmla="*/ 56 h 88"/>
                <a:gd name="T10" fmla="*/ 68 w 68"/>
                <a:gd name="T11" fmla="*/ 22 h 88"/>
                <a:gd name="T12" fmla="*/ 67 w 68"/>
                <a:gd name="T13" fmla="*/ 21 h 88"/>
                <a:gd name="T14" fmla="*/ 47 w 68"/>
                <a:gd name="T15" fmla="*/ 1 h 88"/>
                <a:gd name="T16" fmla="*/ 46 w 68"/>
                <a:gd name="T17" fmla="*/ 0 h 88"/>
                <a:gd name="T18" fmla="*/ 2 w 68"/>
                <a:gd name="T19" fmla="*/ 0 h 88"/>
                <a:gd name="T20" fmla="*/ 0 w 68"/>
                <a:gd name="T21" fmla="*/ 2 h 88"/>
                <a:gd name="T22" fmla="*/ 0 w 68"/>
                <a:gd name="T23" fmla="*/ 86 h 88"/>
                <a:gd name="T24" fmla="*/ 2 w 68"/>
                <a:gd name="T25" fmla="*/ 88 h 88"/>
                <a:gd name="T26" fmla="*/ 45 w 68"/>
                <a:gd name="T27" fmla="*/ 88 h 88"/>
                <a:gd name="T28" fmla="*/ 48 w 68"/>
                <a:gd name="T29" fmla="*/ 76 h 88"/>
                <a:gd name="T30" fmla="*/ 46 w 68"/>
                <a:gd name="T31" fmla="*/ 2 h 88"/>
                <a:gd name="T32" fmla="*/ 66 w 68"/>
                <a:gd name="T33" fmla="*/ 22 h 88"/>
                <a:gd name="T34" fmla="*/ 46 w 68"/>
                <a:gd name="T35" fmla="*/ 22 h 88"/>
                <a:gd name="T36" fmla="*/ 46 w 68"/>
                <a:gd name="T37" fmla="*/ 2 h 88"/>
                <a:gd name="T38" fmla="*/ 14 w 68"/>
                <a:gd name="T39" fmla="*/ 24 h 88"/>
                <a:gd name="T40" fmla="*/ 32 w 68"/>
                <a:gd name="T41" fmla="*/ 24 h 88"/>
                <a:gd name="T42" fmla="*/ 34 w 68"/>
                <a:gd name="T43" fmla="*/ 26 h 88"/>
                <a:gd name="T44" fmla="*/ 32 w 68"/>
                <a:gd name="T45" fmla="*/ 28 h 88"/>
                <a:gd name="T46" fmla="*/ 14 w 68"/>
                <a:gd name="T47" fmla="*/ 28 h 88"/>
                <a:gd name="T48" fmla="*/ 12 w 68"/>
                <a:gd name="T49" fmla="*/ 26 h 88"/>
                <a:gd name="T50" fmla="*/ 14 w 68"/>
                <a:gd name="T51" fmla="*/ 24 h 88"/>
                <a:gd name="T52" fmla="*/ 14 w 68"/>
                <a:gd name="T53" fmla="*/ 36 h 88"/>
                <a:gd name="T54" fmla="*/ 46 w 68"/>
                <a:gd name="T55" fmla="*/ 36 h 88"/>
                <a:gd name="T56" fmla="*/ 48 w 68"/>
                <a:gd name="T57" fmla="*/ 38 h 88"/>
                <a:gd name="T58" fmla="*/ 46 w 68"/>
                <a:gd name="T59" fmla="*/ 40 h 88"/>
                <a:gd name="T60" fmla="*/ 14 w 68"/>
                <a:gd name="T61" fmla="*/ 40 h 88"/>
                <a:gd name="T62" fmla="*/ 12 w 68"/>
                <a:gd name="T63" fmla="*/ 38 h 88"/>
                <a:gd name="T64" fmla="*/ 14 w 68"/>
                <a:gd name="T65" fmla="*/ 36 h 88"/>
                <a:gd name="T66" fmla="*/ 34 w 68"/>
                <a:gd name="T67" fmla="*/ 64 h 88"/>
                <a:gd name="T68" fmla="*/ 14 w 68"/>
                <a:gd name="T69" fmla="*/ 64 h 88"/>
                <a:gd name="T70" fmla="*/ 12 w 68"/>
                <a:gd name="T71" fmla="*/ 62 h 88"/>
                <a:gd name="T72" fmla="*/ 14 w 68"/>
                <a:gd name="T73" fmla="*/ 60 h 88"/>
                <a:gd name="T74" fmla="*/ 34 w 68"/>
                <a:gd name="T75" fmla="*/ 60 h 88"/>
                <a:gd name="T76" fmla="*/ 36 w 68"/>
                <a:gd name="T77" fmla="*/ 62 h 88"/>
                <a:gd name="T78" fmla="*/ 34 w 68"/>
                <a:gd name="T79" fmla="*/ 64 h 88"/>
                <a:gd name="T80" fmla="*/ 38 w 68"/>
                <a:gd name="T81" fmla="*/ 52 h 88"/>
                <a:gd name="T82" fmla="*/ 14 w 68"/>
                <a:gd name="T83" fmla="*/ 52 h 88"/>
                <a:gd name="T84" fmla="*/ 12 w 68"/>
                <a:gd name="T85" fmla="*/ 50 h 88"/>
                <a:gd name="T86" fmla="*/ 14 w 68"/>
                <a:gd name="T87" fmla="*/ 48 h 88"/>
                <a:gd name="T88" fmla="*/ 38 w 68"/>
                <a:gd name="T89" fmla="*/ 48 h 88"/>
                <a:gd name="T90" fmla="*/ 40 w 68"/>
                <a:gd name="T91" fmla="*/ 50 h 88"/>
                <a:gd name="T92" fmla="*/ 38 w 68"/>
                <a:gd name="T93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88">
                  <a:moveTo>
                    <a:pt x="48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9" y="76"/>
                    <a:pt x="49" y="76"/>
                  </a:cubicBezTo>
                  <a:cubicBezTo>
                    <a:pt x="49" y="75"/>
                    <a:pt x="49" y="74"/>
                    <a:pt x="50" y="74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5" y="88"/>
                    <a:pt x="45" y="88"/>
                    <a:pt x="45" y="88"/>
                  </a:cubicBezTo>
                  <a:lnTo>
                    <a:pt x="48" y="76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2" name="Freeform 157"/>
            <p:cNvSpPr>
              <a:spLocks/>
            </p:cNvSpPr>
            <p:nvPr/>
          </p:nvSpPr>
          <p:spPr bwMode="auto">
            <a:xfrm>
              <a:off x="9364663" y="4903788"/>
              <a:ext cx="119063" cy="119063"/>
            </a:xfrm>
            <a:custGeom>
              <a:avLst/>
              <a:gdLst>
                <a:gd name="T0" fmla="*/ 45 w 75"/>
                <a:gd name="T1" fmla="*/ 0 h 75"/>
                <a:gd name="T2" fmla="*/ 0 w 75"/>
                <a:gd name="T3" fmla="*/ 45 h 75"/>
                <a:gd name="T4" fmla="*/ 30 w 75"/>
                <a:gd name="T5" fmla="*/ 75 h 75"/>
                <a:gd name="T6" fmla="*/ 75 w 75"/>
                <a:gd name="T7" fmla="*/ 30 h 75"/>
                <a:gd name="T8" fmla="*/ 45 w 75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45" y="0"/>
                  </a:moveTo>
                  <a:lnTo>
                    <a:pt x="0" y="45"/>
                  </a:lnTo>
                  <a:lnTo>
                    <a:pt x="30" y="75"/>
                  </a:lnTo>
                  <a:lnTo>
                    <a:pt x="75" y="3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3" name="Freeform 158"/>
            <p:cNvSpPr>
              <a:spLocks/>
            </p:cNvSpPr>
            <p:nvPr/>
          </p:nvSpPr>
          <p:spPr bwMode="auto">
            <a:xfrm>
              <a:off x="9340850" y="4989513"/>
              <a:ext cx="57150" cy="57150"/>
            </a:xfrm>
            <a:custGeom>
              <a:avLst/>
              <a:gdLst>
                <a:gd name="T0" fmla="*/ 4 w 15"/>
                <a:gd name="T1" fmla="*/ 0 h 15"/>
                <a:gd name="T2" fmla="*/ 0 w 15"/>
                <a:gd name="T3" fmla="*/ 12 h 15"/>
                <a:gd name="T4" fmla="*/ 1 w 15"/>
                <a:gd name="T5" fmla="*/ 14 h 15"/>
                <a:gd name="T6" fmla="*/ 2 w 15"/>
                <a:gd name="T7" fmla="*/ 15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4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84" name="Freeform 159"/>
            <p:cNvSpPr>
              <a:spLocks/>
            </p:cNvSpPr>
            <p:nvPr/>
          </p:nvSpPr>
          <p:spPr bwMode="auto">
            <a:xfrm>
              <a:off x="9447213" y="486568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19 w 20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101" name="TextBox 25"/>
          <p:cNvSpPr txBox="1"/>
          <p:nvPr/>
        </p:nvSpPr>
        <p:spPr>
          <a:xfrm>
            <a:off x="3105958" y="3930932"/>
            <a:ext cx="146049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0C344C"/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682036" y="2981910"/>
            <a:ext cx="301625" cy="361951"/>
            <a:chOff x="5584825" y="2163763"/>
            <a:chExt cx="301625" cy="361951"/>
          </a:xfrm>
          <a:solidFill>
            <a:schemeClr val="bg1"/>
          </a:solidFill>
        </p:grpSpPr>
        <p:sp>
          <p:nvSpPr>
            <p:cNvPr id="117" name="Freeform 189"/>
            <p:cNvSpPr>
              <a:spLocks/>
            </p:cNvSpPr>
            <p:nvPr/>
          </p:nvSpPr>
          <p:spPr bwMode="auto">
            <a:xfrm>
              <a:off x="5672138" y="2311401"/>
              <a:ext cx="123825" cy="101600"/>
            </a:xfrm>
            <a:custGeom>
              <a:avLst/>
              <a:gdLst>
                <a:gd name="T0" fmla="*/ 12 w 33"/>
                <a:gd name="T1" fmla="*/ 27 h 27"/>
                <a:gd name="T2" fmla="*/ 11 w 33"/>
                <a:gd name="T3" fmla="*/ 26 h 27"/>
                <a:gd name="T4" fmla="*/ 1 w 33"/>
                <a:gd name="T5" fmla="*/ 16 h 27"/>
                <a:gd name="T6" fmla="*/ 1 w 33"/>
                <a:gd name="T7" fmla="*/ 14 h 27"/>
                <a:gd name="T8" fmla="*/ 4 w 33"/>
                <a:gd name="T9" fmla="*/ 14 h 27"/>
                <a:gd name="T10" fmla="*/ 12 w 33"/>
                <a:gd name="T11" fmla="*/ 22 h 27"/>
                <a:gd name="T12" fmla="*/ 29 w 33"/>
                <a:gd name="T13" fmla="*/ 1 h 27"/>
                <a:gd name="T14" fmla="*/ 32 w 33"/>
                <a:gd name="T15" fmla="*/ 0 h 27"/>
                <a:gd name="T16" fmla="*/ 33 w 33"/>
                <a:gd name="T17" fmla="*/ 3 h 27"/>
                <a:gd name="T18" fmla="*/ 14 w 33"/>
                <a:gd name="T19" fmla="*/ 26 h 27"/>
                <a:gd name="T20" fmla="*/ 13 w 33"/>
                <a:gd name="T21" fmla="*/ 27 h 27"/>
                <a:gd name="T22" fmla="*/ 12 w 33"/>
                <a:gd name="T2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7">
                  <a:moveTo>
                    <a:pt x="12" y="27"/>
                  </a:moveTo>
                  <a:cubicBezTo>
                    <a:pt x="12" y="27"/>
                    <a:pt x="11" y="27"/>
                    <a:pt x="11" y="2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4"/>
                    <a:pt x="1" y="14"/>
                  </a:cubicBezTo>
                  <a:cubicBezTo>
                    <a:pt x="2" y="13"/>
                    <a:pt x="3" y="13"/>
                    <a:pt x="4" y="14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0"/>
                    <a:pt x="31" y="0"/>
                    <a:pt x="32" y="0"/>
                  </a:cubicBezTo>
                  <a:cubicBezTo>
                    <a:pt x="33" y="1"/>
                    <a:pt x="33" y="2"/>
                    <a:pt x="33" y="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7"/>
                    <a:pt x="13" y="27"/>
                    <a:pt x="13" y="27"/>
                  </a:cubicBezTo>
                  <a:cubicBezTo>
                    <a:pt x="13" y="27"/>
                    <a:pt x="13" y="27"/>
                    <a:pt x="1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8" name="Freeform 190"/>
            <p:cNvSpPr>
              <a:spLocks/>
            </p:cNvSpPr>
            <p:nvPr/>
          </p:nvSpPr>
          <p:spPr bwMode="auto">
            <a:xfrm>
              <a:off x="5667375" y="2163763"/>
              <a:ext cx="136525" cy="104775"/>
            </a:xfrm>
            <a:custGeom>
              <a:avLst/>
              <a:gdLst>
                <a:gd name="T0" fmla="*/ 34 w 36"/>
                <a:gd name="T1" fmla="*/ 8 h 28"/>
                <a:gd name="T2" fmla="*/ 28 w 36"/>
                <a:gd name="T3" fmla="*/ 8 h 28"/>
                <a:gd name="T4" fmla="*/ 18 w 36"/>
                <a:gd name="T5" fmla="*/ 0 h 28"/>
                <a:gd name="T6" fmla="*/ 8 w 36"/>
                <a:gd name="T7" fmla="*/ 8 h 28"/>
                <a:gd name="T8" fmla="*/ 2 w 36"/>
                <a:gd name="T9" fmla="*/ 8 h 28"/>
                <a:gd name="T10" fmla="*/ 0 w 36"/>
                <a:gd name="T11" fmla="*/ 10 h 28"/>
                <a:gd name="T12" fmla="*/ 0 w 36"/>
                <a:gd name="T13" fmla="*/ 26 h 28"/>
                <a:gd name="T14" fmla="*/ 2 w 36"/>
                <a:gd name="T15" fmla="*/ 28 h 28"/>
                <a:gd name="T16" fmla="*/ 34 w 36"/>
                <a:gd name="T17" fmla="*/ 28 h 28"/>
                <a:gd name="T18" fmla="*/ 36 w 36"/>
                <a:gd name="T19" fmla="*/ 26 h 28"/>
                <a:gd name="T20" fmla="*/ 36 w 36"/>
                <a:gd name="T21" fmla="*/ 10 h 28"/>
                <a:gd name="T22" fmla="*/ 34 w 36"/>
                <a:gd name="T23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34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9" name="Freeform 191"/>
            <p:cNvSpPr>
              <a:spLocks/>
            </p:cNvSpPr>
            <p:nvPr/>
          </p:nvSpPr>
          <p:spPr bwMode="auto">
            <a:xfrm>
              <a:off x="5584825" y="2209801"/>
              <a:ext cx="301625" cy="315913"/>
            </a:xfrm>
            <a:custGeom>
              <a:avLst/>
              <a:gdLst>
                <a:gd name="T0" fmla="*/ 78 w 80"/>
                <a:gd name="T1" fmla="*/ 0 h 84"/>
                <a:gd name="T2" fmla="*/ 62 w 80"/>
                <a:gd name="T3" fmla="*/ 0 h 84"/>
                <a:gd name="T4" fmla="*/ 62 w 80"/>
                <a:gd name="T5" fmla="*/ 8 h 84"/>
                <a:gd name="T6" fmla="*/ 70 w 80"/>
                <a:gd name="T7" fmla="*/ 8 h 84"/>
                <a:gd name="T8" fmla="*/ 72 w 80"/>
                <a:gd name="T9" fmla="*/ 10 h 84"/>
                <a:gd name="T10" fmla="*/ 72 w 80"/>
                <a:gd name="T11" fmla="*/ 58 h 84"/>
                <a:gd name="T12" fmla="*/ 72 w 80"/>
                <a:gd name="T13" fmla="*/ 59 h 84"/>
                <a:gd name="T14" fmla="*/ 58 w 80"/>
                <a:gd name="T15" fmla="*/ 75 h 84"/>
                <a:gd name="T16" fmla="*/ 56 w 80"/>
                <a:gd name="T17" fmla="*/ 76 h 84"/>
                <a:gd name="T18" fmla="*/ 10 w 80"/>
                <a:gd name="T19" fmla="*/ 76 h 84"/>
                <a:gd name="T20" fmla="*/ 8 w 80"/>
                <a:gd name="T21" fmla="*/ 74 h 84"/>
                <a:gd name="T22" fmla="*/ 8 w 80"/>
                <a:gd name="T23" fmla="*/ 10 h 84"/>
                <a:gd name="T24" fmla="*/ 10 w 80"/>
                <a:gd name="T25" fmla="*/ 8 h 84"/>
                <a:gd name="T26" fmla="*/ 18 w 80"/>
                <a:gd name="T27" fmla="*/ 8 h 84"/>
                <a:gd name="T28" fmla="*/ 18 w 80"/>
                <a:gd name="T29" fmla="*/ 0 h 84"/>
                <a:gd name="T30" fmla="*/ 2 w 80"/>
                <a:gd name="T31" fmla="*/ 0 h 84"/>
                <a:gd name="T32" fmla="*/ 0 w 80"/>
                <a:gd name="T33" fmla="*/ 2 h 84"/>
                <a:gd name="T34" fmla="*/ 0 w 80"/>
                <a:gd name="T35" fmla="*/ 82 h 84"/>
                <a:gd name="T36" fmla="*/ 2 w 80"/>
                <a:gd name="T37" fmla="*/ 84 h 84"/>
                <a:gd name="T38" fmla="*/ 78 w 80"/>
                <a:gd name="T39" fmla="*/ 84 h 84"/>
                <a:gd name="T40" fmla="*/ 80 w 80"/>
                <a:gd name="T41" fmla="*/ 82 h 84"/>
                <a:gd name="T42" fmla="*/ 80 w 80"/>
                <a:gd name="T43" fmla="*/ 2 h 84"/>
                <a:gd name="T44" fmla="*/ 78 w 80"/>
                <a:gd name="T4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84">
                  <a:moveTo>
                    <a:pt x="78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2" y="9"/>
                    <a:pt x="72" y="10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9"/>
                    <a:pt x="72" y="59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7" y="76"/>
                    <a:pt x="57" y="76"/>
                    <a:pt x="56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9" y="76"/>
                    <a:pt x="8" y="75"/>
                    <a:pt x="8" y="74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3"/>
                    <a:pt x="1" y="84"/>
                    <a:pt x="2" y="84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9" y="84"/>
                    <a:pt x="80" y="83"/>
                    <a:pt x="80" y="8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20" name="Freeform 192"/>
            <p:cNvSpPr>
              <a:spLocks/>
            </p:cNvSpPr>
            <p:nvPr/>
          </p:nvSpPr>
          <p:spPr bwMode="auto">
            <a:xfrm>
              <a:off x="5788025" y="2419351"/>
              <a:ext cx="57150" cy="65088"/>
            </a:xfrm>
            <a:custGeom>
              <a:avLst/>
              <a:gdLst>
                <a:gd name="T0" fmla="*/ 15 w 15"/>
                <a:gd name="T1" fmla="*/ 0 h 17"/>
                <a:gd name="T2" fmla="*/ 2 w 15"/>
                <a:gd name="T3" fmla="*/ 0 h 17"/>
                <a:gd name="T4" fmla="*/ 0 w 15"/>
                <a:gd name="T5" fmla="*/ 2 h 17"/>
                <a:gd name="T6" fmla="*/ 0 w 15"/>
                <a:gd name="T7" fmla="*/ 17 h 17"/>
                <a:gd name="T8" fmla="*/ 15 w 1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7">
                  <a:moveTo>
                    <a:pt x="1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0506568" y="2280067"/>
            <a:ext cx="241300" cy="361951"/>
            <a:chOff x="7778750" y="2535238"/>
            <a:chExt cx="241300" cy="361951"/>
          </a:xfrm>
          <a:solidFill>
            <a:schemeClr val="bg1"/>
          </a:solidFill>
        </p:grpSpPr>
        <p:sp>
          <p:nvSpPr>
            <p:cNvPr id="114" name="Freeform 64"/>
            <p:cNvSpPr>
              <a:spLocks noEditPoints="1"/>
            </p:cNvSpPr>
            <p:nvPr/>
          </p:nvSpPr>
          <p:spPr bwMode="auto">
            <a:xfrm>
              <a:off x="7778750" y="2686051"/>
              <a:ext cx="241300" cy="211138"/>
            </a:xfrm>
            <a:custGeom>
              <a:avLst/>
              <a:gdLst>
                <a:gd name="T0" fmla="*/ 44 w 64"/>
                <a:gd name="T1" fmla="*/ 0 h 56"/>
                <a:gd name="T2" fmla="*/ 43 w 64"/>
                <a:gd name="T3" fmla="*/ 0 h 56"/>
                <a:gd name="T4" fmla="*/ 21 w 64"/>
                <a:gd name="T5" fmla="*/ 0 h 56"/>
                <a:gd name="T6" fmla="*/ 20 w 64"/>
                <a:gd name="T7" fmla="*/ 0 h 56"/>
                <a:gd name="T8" fmla="*/ 0 w 64"/>
                <a:gd name="T9" fmla="*/ 32 h 56"/>
                <a:gd name="T10" fmla="*/ 32 w 64"/>
                <a:gd name="T11" fmla="*/ 56 h 56"/>
                <a:gd name="T12" fmla="*/ 64 w 64"/>
                <a:gd name="T13" fmla="*/ 32 h 56"/>
                <a:gd name="T14" fmla="*/ 44 w 64"/>
                <a:gd name="T15" fmla="*/ 0 h 56"/>
                <a:gd name="T16" fmla="*/ 32 w 64"/>
                <a:gd name="T17" fmla="*/ 26 h 56"/>
                <a:gd name="T18" fmla="*/ 40 w 64"/>
                <a:gd name="T19" fmla="*/ 34 h 56"/>
                <a:gd name="T20" fmla="*/ 34 w 64"/>
                <a:gd name="T21" fmla="*/ 42 h 56"/>
                <a:gd name="T22" fmla="*/ 34 w 64"/>
                <a:gd name="T23" fmla="*/ 44 h 56"/>
                <a:gd name="T24" fmla="*/ 32 w 64"/>
                <a:gd name="T25" fmla="*/ 46 h 56"/>
                <a:gd name="T26" fmla="*/ 30 w 64"/>
                <a:gd name="T27" fmla="*/ 44 h 56"/>
                <a:gd name="T28" fmla="*/ 30 w 64"/>
                <a:gd name="T29" fmla="*/ 42 h 56"/>
                <a:gd name="T30" fmla="*/ 24 w 64"/>
                <a:gd name="T31" fmla="*/ 34 h 56"/>
                <a:gd name="T32" fmla="*/ 26 w 64"/>
                <a:gd name="T33" fmla="*/ 32 h 56"/>
                <a:gd name="T34" fmla="*/ 28 w 64"/>
                <a:gd name="T35" fmla="*/ 34 h 56"/>
                <a:gd name="T36" fmla="*/ 32 w 64"/>
                <a:gd name="T37" fmla="*/ 38 h 56"/>
                <a:gd name="T38" fmla="*/ 36 w 64"/>
                <a:gd name="T39" fmla="*/ 34 h 56"/>
                <a:gd name="T40" fmla="*/ 32 w 64"/>
                <a:gd name="T41" fmla="*/ 30 h 56"/>
                <a:gd name="T42" fmla="*/ 24 w 64"/>
                <a:gd name="T43" fmla="*/ 22 h 56"/>
                <a:gd name="T44" fmla="*/ 30 w 64"/>
                <a:gd name="T45" fmla="*/ 14 h 56"/>
                <a:gd name="T46" fmla="*/ 30 w 64"/>
                <a:gd name="T47" fmla="*/ 12 h 56"/>
                <a:gd name="T48" fmla="*/ 32 w 64"/>
                <a:gd name="T49" fmla="*/ 10 h 56"/>
                <a:gd name="T50" fmla="*/ 34 w 64"/>
                <a:gd name="T51" fmla="*/ 12 h 56"/>
                <a:gd name="T52" fmla="*/ 34 w 64"/>
                <a:gd name="T53" fmla="*/ 14 h 56"/>
                <a:gd name="T54" fmla="*/ 40 w 64"/>
                <a:gd name="T55" fmla="*/ 22 h 56"/>
                <a:gd name="T56" fmla="*/ 38 w 64"/>
                <a:gd name="T57" fmla="*/ 24 h 56"/>
                <a:gd name="T58" fmla="*/ 36 w 64"/>
                <a:gd name="T59" fmla="*/ 22 h 56"/>
                <a:gd name="T60" fmla="*/ 32 w 64"/>
                <a:gd name="T61" fmla="*/ 18 h 56"/>
                <a:gd name="T62" fmla="*/ 28 w 64"/>
                <a:gd name="T63" fmla="*/ 22 h 56"/>
                <a:gd name="T64" fmla="*/ 32 w 64"/>
                <a:gd name="T65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4" h="56">
                  <a:moveTo>
                    <a:pt x="44" y="0"/>
                  </a:moveTo>
                  <a:cubicBezTo>
                    <a:pt x="44" y="0"/>
                    <a:pt x="44" y="0"/>
                    <a:pt x="4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0" y="8"/>
                    <a:pt x="0" y="21"/>
                    <a:pt x="0" y="32"/>
                  </a:cubicBezTo>
                  <a:cubicBezTo>
                    <a:pt x="0" y="48"/>
                    <a:pt x="10" y="56"/>
                    <a:pt x="32" y="56"/>
                  </a:cubicBezTo>
                  <a:cubicBezTo>
                    <a:pt x="54" y="56"/>
                    <a:pt x="64" y="48"/>
                    <a:pt x="64" y="32"/>
                  </a:cubicBezTo>
                  <a:cubicBezTo>
                    <a:pt x="64" y="21"/>
                    <a:pt x="54" y="8"/>
                    <a:pt x="44" y="0"/>
                  </a:cubicBezTo>
                  <a:close/>
                  <a:moveTo>
                    <a:pt x="32" y="26"/>
                  </a:moveTo>
                  <a:cubicBezTo>
                    <a:pt x="36" y="26"/>
                    <a:pt x="40" y="30"/>
                    <a:pt x="40" y="34"/>
                  </a:cubicBezTo>
                  <a:cubicBezTo>
                    <a:pt x="40" y="38"/>
                    <a:pt x="37" y="41"/>
                    <a:pt x="34" y="42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5"/>
                    <a:pt x="33" y="46"/>
                    <a:pt x="32" y="46"/>
                  </a:cubicBezTo>
                  <a:cubicBezTo>
                    <a:pt x="31" y="46"/>
                    <a:pt x="30" y="45"/>
                    <a:pt x="30" y="44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7" y="41"/>
                    <a:pt x="24" y="38"/>
                    <a:pt x="24" y="34"/>
                  </a:cubicBezTo>
                  <a:cubicBezTo>
                    <a:pt x="24" y="33"/>
                    <a:pt x="25" y="32"/>
                    <a:pt x="26" y="32"/>
                  </a:cubicBezTo>
                  <a:cubicBezTo>
                    <a:pt x="27" y="32"/>
                    <a:pt x="28" y="33"/>
                    <a:pt x="28" y="34"/>
                  </a:cubicBezTo>
                  <a:cubicBezTo>
                    <a:pt x="28" y="36"/>
                    <a:pt x="30" y="38"/>
                    <a:pt x="32" y="38"/>
                  </a:cubicBezTo>
                  <a:cubicBezTo>
                    <a:pt x="34" y="38"/>
                    <a:pt x="36" y="36"/>
                    <a:pt x="36" y="34"/>
                  </a:cubicBezTo>
                  <a:cubicBezTo>
                    <a:pt x="36" y="32"/>
                    <a:pt x="34" y="30"/>
                    <a:pt x="32" y="30"/>
                  </a:cubicBezTo>
                  <a:cubicBezTo>
                    <a:pt x="28" y="30"/>
                    <a:pt x="24" y="26"/>
                    <a:pt x="24" y="22"/>
                  </a:cubicBezTo>
                  <a:cubicBezTo>
                    <a:pt x="24" y="18"/>
                    <a:pt x="27" y="15"/>
                    <a:pt x="30" y="14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1"/>
                    <a:pt x="31" y="10"/>
                    <a:pt x="32" y="10"/>
                  </a:cubicBezTo>
                  <a:cubicBezTo>
                    <a:pt x="33" y="10"/>
                    <a:pt x="34" y="11"/>
                    <a:pt x="34" y="12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7" y="15"/>
                    <a:pt x="40" y="18"/>
                    <a:pt x="40" y="22"/>
                  </a:cubicBezTo>
                  <a:cubicBezTo>
                    <a:pt x="40" y="23"/>
                    <a:pt x="39" y="24"/>
                    <a:pt x="38" y="24"/>
                  </a:cubicBezTo>
                  <a:cubicBezTo>
                    <a:pt x="37" y="24"/>
                    <a:pt x="36" y="23"/>
                    <a:pt x="36" y="22"/>
                  </a:cubicBezTo>
                  <a:cubicBezTo>
                    <a:pt x="36" y="20"/>
                    <a:pt x="34" y="18"/>
                    <a:pt x="32" y="18"/>
                  </a:cubicBezTo>
                  <a:cubicBezTo>
                    <a:pt x="30" y="18"/>
                    <a:pt x="28" y="20"/>
                    <a:pt x="28" y="22"/>
                  </a:cubicBezTo>
                  <a:cubicBezTo>
                    <a:pt x="28" y="24"/>
                    <a:pt x="30" y="26"/>
                    <a:pt x="32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5" name="Freeform 65"/>
            <p:cNvSpPr>
              <a:spLocks/>
            </p:cNvSpPr>
            <p:nvPr/>
          </p:nvSpPr>
          <p:spPr bwMode="auto">
            <a:xfrm>
              <a:off x="7824788" y="2535238"/>
              <a:ext cx="149225" cy="106363"/>
            </a:xfrm>
            <a:custGeom>
              <a:avLst/>
              <a:gdLst>
                <a:gd name="T0" fmla="*/ 8 w 40"/>
                <a:gd name="T1" fmla="*/ 26 h 28"/>
                <a:gd name="T2" fmla="*/ 10 w 40"/>
                <a:gd name="T3" fmla="*/ 28 h 28"/>
                <a:gd name="T4" fmla="*/ 30 w 40"/>
                <a:gd name="T5" fmla="*/ 28 h 28"/>
                <a:gd name="T6" fmla="*/ 32 w 40"/>
                <a:gd name="T7" fmla="*/ 26 h 28"/>
                <a:gd name="T8" fmla="*/ 40 w 40"/>
                <a:gd name="T9" fmla="*/ 7 h 28"/>
                <a:gd name="T10" fmla="*/ 40 w 40"/>
                <a:gd name="T11" fmla="*/ 5 h 28"/>
                <a:gd name="T12" fmla="*/ 37 w 40"/>
                <a:gd name="T13" fmla="*/ 4 h 28"/>
                <a:gd name="T14" fmla="*/ 25 w 40"/>
                <a:gd name="T15" fmla="*/ 9 h 28"/>
                <a:gd name="T16" fmla="*/ 22 w 40"/>
                <a:gd name="T17" fmla="*/ 1 h 28"/>
                <a:gd name="T18" fmla="*/ 20 w 40"/>
                <a:gd name="T19" fmla="*/ 0 h 28"/>
                <a:gd name="T20" fmla="*/ 18 w 40"/>
                <a:gd name="T21" fmla="*/ 1 h 28"/>
                <a:gd name="T22" fmla="*/ 15 w 40"/>
                <a:gd name="T23" fmla="*/ 9 h 28"/>
                <a:gd name="T24" fmla="*/ 3 w 40"/>
                <a:gd name="T25" fmla="*/ 4 h 28"/>
                <a:gd name="T26" fmla="*/ 0 w 40"/>
                <a:gd name="T27" fmla="*/ 5 h 28"/>
                <a:gd name="T28" fmla="*/ 0 w 40"/>
                <a:gd name="T29" fmla="*/ 7 h 28"/>
                <a:gd name="T30" fmla="*/ 8 w 40"/>
                <a:gd name="T31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28">
                  <a:moveTo>
                    <a:pt x="8" y="26"/>
                  </a:moveTo>
                  <a:cubicBezTo>
                    <a:pt x="8" y="27"/>
                    <a:pt x="9" y="28"/>
                    <a:pt x="1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1" y="28"/>
                    <a:pt x="32" y="27"/>
                    <a:pt x="32" y="26"/>
                  </a:cubicBezTo>
                  <a:cubicBezTo>
                    <a:pt x="32" y="19"/>
                    <a:pt x="40" y="7"/>
                    <a:pt x="40" y="7"/>
                  </a:cubicBezTo>
                  <a:cubicBezTo>
                    <a:pt x="40" y="6"/>
                    <a:pt x="40" y="5"/>
                    <a:pt x="40" y="5"/>
                  </a:cubicBezTo>
                  <a:cubicBezTo>
                    <a:pt x="39" y="4"/>
                    <a:pt x="38" y="4"/>
                    <a:pt x="37" y="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0"/>
                    <a:pt x="18" y="0"/>
                    <a:pt x="18" y="1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7"/>
                    <a:pt x="8" y="19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6" name="Freeform 66"/>
            <p:cNvSpPr>
              <a:spLocks/>
            </p:cNvSpPr>
            <p:nvPr/>
          </p:nvSpPr>
          <p:spPr bwMode="auto">
            <a:xfrm>
              <a:off x="7839075" y="2655888"/>
              <a:ext cx="120650" cy="15875"/>
            </a:xfrm>
            <a:custGeom>
              <a:avLst/>
              <a:gdLst>
                <a:gd name="T0" fmla="*/ 2 w 32"/>
                <a:gd name="T1" fmla="*/ 0 h 4"/>
                <a:gd name="T2" fmla="*/ 0 w 32"/>
                <a:gd name="T3" fmla="*/ 2 h 4"/>
                <a:gd name="T4" fmla="*/ 2 w 32"/>
                <a:gd name="T5" fmla="*/ 4 h 4"/>
                <a:gd name="T6" fmla="*/ 30 w 32"/>
                <a:gd name="T7" fmla="*/ 4 h 4"/>
                <a:gd name="T8" fmla="*/ 32 w 32"/>
                <a:gd name="T9" fmla="*/ 2 h 4"/>
                <a:gd name="T10" fmla="*/ 30 w 32"/>
                <a:gd name="T11" fmla="*/ 0 h 4"/>
                <a:gd name="T12" fmla="*/ 2 w 3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8182247" y="2982704"/>
            <a:ext cx="360363" cy="360363"/>
            <a:chOff x="9166226" y="3952875"/>
            <a:chExt cx="360363" cy="360363"/>
          </a:xfrm>
          <a:solidFill>
            <a:schemeClr val="bg1"/>
          </a:solidFill>
        </p:grpSpPr>
        <p:sp>
          <p:nvSpPr>
            <p:cNvPr id="107" name="Freeform 24"/>
            <p:cNvSpPr>
              <a:spLocks/>
            </p:cNvSpPr>
            <p:nvPr/>
          </p:nvSpPr>
          <p:spPr bwMode="auto">
            <a:xfrm>
              <a:off x="9166226" y="4071938"/>
              <a:ext cx="360363" cy="24130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30 h 64"/>
                <a:gd name="T18" fmla="*/ 66 w 96"/>
                <a:gd name="T19" fmla="*/ 28 h 64"/>
                <a:gd name="T20" fmla="*/ 54 w 96"/>
                <a:gd name="T21" fmla="*/ 28 h 64"/>
                <a:gd name="T22" fmla="*/ 52 w 96"/>
                <a:gd name="T23" fmla="*/ 30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22 h 64"/>
                <a:gd name="T30" fmla="*/ 42 w 96"/>
                <a:gd name="T31" fmla="*/ 20 h 64"/>
                <a:gd name="T32" fmla="*/ 30 w 96"/>
                <a:gd name="T33" fmla="*/ 20 h 64"/>
                <a:gd name="T34" fmla="*/ 28 w 96"/>
                <a:gd name="T35" fmla="*/ 22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42 h 64"/>
                <a:gd name="T42" fmla="*/ 18 w 96"/>
                <a:gd name="T43" fmla="*/ 40 h 64"/>
                <a:gd name="T44" fmla="*/ 6 w 96"/>
                <a:gd name="T45" fmla="*/ 40 h 64"/>
                <a:gd name="T46" fmla="*/ 4 w 96"/>
                <a:gd name="T47" fmla="*/ 42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29"/>
                    <a:pt x="67" y="28"/>
                    <a:pt x="66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9"/>
                    <a:pt x="52" y="3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8" y="21"/>
                    <a:pt x="28" y="2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1"/>
                    <a:pt x="19" y="40"/>
                    <a:pt x="18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5" y="40"/>
                    <a:pt x="4" y="41"/>
                    <a:pt x="4" y="4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08" name="Freeform 25"/>
            <p:cNvSpPr>
              <a:spLocks/>
            </p:cNvSpPr>
            <p:nvPr/>
          </p:nvSpPr>
          <p:spPr bwMode="auto">
            <a:xfrm>
              <a:off x="9188451" y="3952875"/>
              <a:ext cx="315913" cy="195263"/>
            </a:xfrm>
            <a:custGeom>
              <a:avLst/>
              <a:gdLst>
                <a:gd name="T0" fmla="*/ 6 w 84"/>
                <a:gd name="T1" fmla="*/ 52 h 52"/>
                <a:gd name="T2" fmla="*/ 12 w 84"/>
                <a:gd name="T3" fmla="*/ 46 h 52"/>
                <a:gd name="T4" fmla="*/ 12 w 84"/>
                <a:gd name="T5" fmla="*/ 44 h 52"/>
                <a:gd name="T6" fmla="*/ 27 w 84"/>
                <a:gd name="T7" fmla="*/ 31 h 52"/>
                <a:gd name="T8" fmla="*/ 30 w 84"/>
                <a:gd name="T9" fmla="*/ 32 h 52"/>
                <a:gd name="T10" fmla="*/ 35 w 84"/>
                <a:gd name="T11" fmla="*/ 30 h 52"/>
                <a:gd name="T12" fmla="*/ 48 w 84"/>
                <a:gd name="T13" fmla="*/ 34 h 52"/>
                <a:gd name="T14" fmla="*/ 54 w 84"/>
                <a:gd name="T15" fmla="*/ 40 h 52"/>
                <a:gd name="T16" fmla="*/ 60 w 84"/>
                <a:gd name="T17" fmla="*/ 34 h 52"/>
                <a:gd name="T18" fmla="*/ 59 w 84"/>
                <a:gd name="T19" fmla="*/ 31 h 52"/>
                <a:gd name="T20" fmla="*/ 76 w 84"/>
                <a:gd name="T21" fmla="*/ 12 h 52"/>
                <a:gd name="T22" fmla="*/ 78 w 84"/>
                <a:gd name="T23" fmla="*/ 12 h 52"/>
                <a:gd name="T24" fmla="*/ 84 w 84"/>
                <a:gd name="T25" fmla="*/ 6 h 52"/>
                <a:gd name="T26" fmla="*/ 78 w 84"/>
                <a:gd name="T27" fmla="*/ 0 h 52"/>
                <a:gd name="T28" fmla="*/ 72 w 84"/>
                <a:gd name="T29" fmla="*/ 6 h 52"/>
                <a:gd name="T30" fmla="*/ 73 w 84"/>
                <a:gd name="T31" fmla="*/ 9 h 52"/>
                <a:gd name="T32" fmla="*/ 56 w 84"/>
                <a:gd name="T33" fmla="*/ 28 h 52"/>
                <a:gd name="T34" fmla="*/ 54 w 84"/>
                <a:gd name="T35" fmla="*/ 28 h 52"/>
                <a:gd name="T36" fmla="*/ 49 w 84"/>
                <a:gd name="T37" fmla="*/ 30 h 52"/>
                <a:gd name="T38" fmla="*/ 36 w 84"/>
                <a:gd name="T39" fmla="*/ 26 h 52"/>
                <a:gd name="T40" fmla="*/ 30 w 84"/>
                <a:gd name="T41" fmla="*/ 20 h 52"/>
                <a:gd name="T42" fmla="*/ 24 w 84"/>
                <a:gd name="T43" fmla="*/ 26 h 52"/>
                <a:gd name="T44" fmla="*/ 24 w 84"/>
                <a:gd name="T45" fmla="*/ 28 h 52"/>
                <a:gd name="T46" fmla="*/ 9 w 84"/>
                <a:gd name="T47" fmla="*/ 41 h 52"/>
                <a:gd name="T48" fmla="*/ 6 w 84"/>
                <a:gd name="T49" fmla="*/ 40 h 52"/>
                <a:gd name="T50" fmla="*/ 0 w 84"/>
                <a:gd name="T51" fmla="*/ 46 h 52"/>
                <a:gd name="T52" fmla="*/ 6 w 84"/>
                <a:gd name="T5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52">
                  <a:moveTo>
                    <a:pt x="6" y="52"/>
                  </a:moveTo>
                  <a:cubicBezTo>
                    <a:pt x="9" y="52"/>
                    <a:pt x="12" y="49"/>
                    <a:pt x="12" y="46"/>
                  </a:cubicBezTo>
                  <a:cubicBezTo>
                    <a:pt x="12" y="45"/>
                    <a:pt x="12" y="45"/>
                    <a:pt x="12" y="44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8" y="32"/>
                    <a:pt x="29" y="32"/>
                    <a:pt x="30" y="32"/>
                  </a:cubicBezTo>
                  <a:cubicBezTo>
                    <a:pt x="32" y="32"/>
                    <a:pt x="34" y="31"/>
                    <a:pt x="35" y="30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7"/>
                    <a:pt x="51" y="40"/>
                    <a:pt x="54" y="40"/>
                  </a:cubicBezTo>
                  <a:cubicBezTo>
                    <a:pt x="57" y="40"/>
                    <a:pt x="60" y="37"/>
                    <a:pt x="60" y="34"/>
                  </a:cubicBezTo>
                  <a:cubicBezTo>
                    <a:pt x="60" y="33"/>
                    <a:pt x="60" y="32"/>
                    <a:pt x="59" y="31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7" y="12"/>
                    <a:pt x="77" y="12"/>
                    <a:pt x="78" y="12"/>
                  </a:cubicBezTo>
                  <a:cubicBezTo>
                    <a:pt x="81" y="12"/>
                    <a:pt x="84" y="9"/>
                    <a:pt x="84" y="6"/>
                  </a:cubicBezTo>
                  <a:cubicBezTo>
                    <a:pt x="84" y="3"/>
                    <a:pt x="81" y="0"/>
                    <a:pt x="78" y="0"/>
                  </a:cubicBezTo>
                  <a:cubicBezTo>
                    <a:pt x="75" y="0"/>
                    <a:pt x="72" y="3"/>
                    <a:pt x="72" y="6"/>
                  </a:cubicBezTo>
                  <a:cubicBezTo>
                    <a:pt x="72" y="7"/>
                    <a:pt x="72" y="8"/>
                    <a:pt x="73" y="9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2" y="28"/>
                    <a:pt x="50" y="29"/>
                    <a:pt x="49" y="30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3"/>
                    <a:pt x="33" y="20"/>
                    <a:pt x="30" y="20"/>
                  </a:cubicBezTo>
                  <a:cubicBezTo>
                    <a:pt x="27" y="20"/>
                    <a:pt x="24" y="23"/>
                    <a:pt x="24" y="26"/>
                  </a:cubicBezTo>
                  <a:cubicBezTo>
                    <a:pt x="24" y="27"/>
                    <a:pt x="24" y="27"/>
                    <a:pt x="24" y="28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40"/>
                    <a:pt x="7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49"/>
                    <a:pt x="3" y="52"/>
                    <a:pt x="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121" name="TextBox 25"/>
          <p:cNvSpPr txBox="1"/>
          <p:nvPr/>
        </p:nvSpPr>
        <p:spPr>
          <a:xfrm>
            <a:off x="1258203" y="4151713"/>
            <a:ext cx="619710" cy="449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rgbClr val="BFBEBE"/>
                </a:solidFill>
                <a:latin typeface="+mj-lt"/>
                <a:cs typeface="Calibri Light" panose="020F0302020204030204" pitchFamily="34" charset="0"/>
              </a:rPr>
              <a:t>01</a:t>
            </a:r>
          </a:p>
        </p:txBody>
      </p:sp>
      <p:sp>
        <p:nvSpPr>
          <p:cNvPr id="122" name="TextBox 25"/>
          <p:cNvSpPr txBox="1"/>
          <p:nvPr/>
        </p:nvSpPr>
        <p:spPr>
          <a:xfrm>
            <a:off x="3526351" y="4890736"/>
            <a:ext cx="619710" cy="449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rgbClr val="BFBEBE"/>
                </a:solidFill>
                <a:latin typeface="+mj-lt"/>
                <a:cs typeface="Calibri Light" panose="020F0302020204030204" pitchFamily="34" charset="0"/>
              </a:rPr>
              <a:t>02</a:t>
            </a:r>
          </a:p>
        </p:txBody>
      </p:sp>
      <p:sp>
        <p:nvSpPr>
          <p:cNvPr id="102" name="TextBox 25"/>
          <p:cNvSpPr txBox="1"/>
          <p:nvPr/>
        </p:nvSpPr>
        <p:spPr>
          <a:xfrm>
            <a:off x="5378795" y="3230626"/>
            <a:ext cx="146049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0C344C"/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grpSp>
        <p:nvGrpSpPr>
          <p:cNvPr id="105" name="Group 104"/>
          <p:cNvGrpSpPr/>
          <p:nvPr/>
        </p:nvGrpSpPr>
        <p:grpSpPr>
          <a:xfrm>
            <a:off x="5925394" y="2280067"/>
            <a:ext cx="344488" cy="361950"/>
            <a:chOff x="6276975" y="723900"/>
            <a:chExt cx="344488" cy="361950"/>
          </a:xfrm>
          <a:solidFill>
            <a:schemeClr val="bg1"/>
          </a:solidFill>
        </p:grpSpPr>
        <p:sp>
          <p:nvSpPr>
            <p:cNvPr id="109" name="Freeform 71"/>
            <p:cNvSpPr>
              <a:spLocks/>
            </p:cNvSpPr>
            <p:nvPr/>
          </p:nvSpPr>
          <p:spPr bwMode="auto">
            <a:xfrm>
              <a:off x="6527800" y="723900"/>
              <a:ext cx="93663" cy="153988"/>
            </a:xfrm>
            <a:custGeom>
              <a:avLst/>
              <a:gdLst>
                <a:gd name="T0" fmla="*/ 25 w 25"/>
                <a:gd name="T1" fmla="*/ 1 h 41"/>
                <a:gd name="T2" fmla="*/ 23 w 25"/>
                <a:gd name="T3" fmla="*/ 0 h 41"/>
                <a:gd name="T4" fmla="*/ 16 w 25"/>
                <a:gd name="T5" fmla="*/ 0 h 41"/>
                <a:gd name="T6" fmla="*/ 0 w 25"/>
                <a:gd name="T7" fmla="*/ 35 h 41"/>
                <a:gd name="T8" fmla="*/ 7 w 25"/>
                <a:gd name="T9" fmla="*/ 41 h 41"/>
                <a:gd name="T10" fmla="*/ 7 w 25"/>
                <a:gd name="T11" fmla="*/ 41 h 41"/>
                <a:gd name="T12" fmla="*/ 25 w 25"/>
                <a:gd name="T13" fmla="*/ 3 h 41"/>
                <a:gd name="T14" fmla="*/ 25 w 25"/>
                <a:gd name="T15" fmla="*/ 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1">
                  <a:moveTo>
                    <a:pt x="25" y="1"/>
                  </a:moveTo>
                  <a:cubicBezTo>
                    <a:pt x="25" y="0"/>
                    <a:pt x="24" y="0"/>
                    <a:pt x="2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5" y="39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2"/>
                    <a:pt x="25" y="2"/>
                    <a:pt x="2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0" name="Freeform 72"/>
            <p:cNvSpPr>
              <a:spLocks/>
            </p:cNvSpPr>
            <p:nvPr/>
          </p:nvSpPr>
          <p:spPr bwMode="auto">
            <a:xfrm>
              <a:off x="6483350" y="723900"/>
              <a:ext cx="90488" cy="120650"/>
            </a:xfrm>
            <a:custGeom>
              <a:avLst/>
              <a:gdLst>
                <a:gd name="T0" fmla="*/ 24 w 24"/>
                <a:gd name="T1" fmla="*/ 0 h 32"/>
                <a:gd name="T2" fmla="*/ 15 w 24"/>
                <a:gd name="T3" fmla="*/ 0 h 32"/>
                <a:gd name="T4" fmla="*/ 14 w 24"/>
                <a:gd name="T5" fmla="*/ 1 h 32"/>
                <a:gd name="T6" fmla="*/ 0 w 24"/>
                <a:gd name="T7" fmla="*/ 29 h 32"/>
                <a:gd name="T8" fmla="*/ 9 w 24"/>
                <a:gd name="T9" fmla="*/ 32 h 32"/>
                <a:gd name="T10" fmla="*/ 24 w 24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2">
                  <a:moveTo>
                    <a:pt x="24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3" y="30"/>
                    <a:pt x="6" y="31"/>
                    <a:pt x="9" y="32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1" name="Freeform 73"/>
            <p:cNvSpPr>
              <a:spLocks/>
            </p:cNvSpPr>
            <p:nvPr/>
          </p:nvSpPr>
          <p:spPr bwMode="auto">
            <a:xfrm>
              <a:off x="6276975" y="723900"/>
              <a:ext cx="93663" cy="153988"/>
            </a:xfrm>
            <a:custGeom>
              <a:avLst/>
              <a:gdLst>
                <a:gd name="T0" fmla="*/ 19 w 25"/>
                <a:gd name="T1" fmla="*/ 41 h 41"/>
                <a:gd name="T2" fmla="*/ 25 w 25"/>
                <a:gd name="T3" fmla="*/ 35 h 41"/>
                <a:gd name="T4" fmla="*/ 9 w 25"/>
                <a:gd name="T5" fmla="*/ 0 h 41"/>
                <a:gd name="T6" fmla="*/ 2 w 25"/>
                <a:gd name="T7" fmla="*/ 0 h 41"/>
                <a:gd name="T8" fmla="*/ 0 w 25"/>
                <a:gd name="T9" fmla="*/ 1 h 41"/>
                <a:gd name="T10" fmla="*/ 0 w 25"/>
                <a:gd name="T11" fmla="*/ 3 h 41"/>
                <a:gd name="T12" fmla="*/ 18 w 25"/>
                <a:gd name="T13" fmla="*/ 41 h 41"/>
                <a:gd name="T14" fmla="*/ 19 w 2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1">
                  <a:moveTo>
                    <a:pt x="19" y="41"/>
                  </a:moveTo>
                  <a:cubicBezTo>
                    <a:pt x="21" y="39"/>
                    <a:pt x="23" y="37"/>
                    <a:pt x="25" y="3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2" name="Freeform 74"/>
            <p:cNvSpPr>
              <a:spLocks/>
            </p:cNvSpPr>
            <p:nvPr/>
          </p:nvSpPr>
          <p:spPr bwMode="auto">
            <a:xfrm>
              <a:off x="6324600" y="723900"/>
              <a:ext cx="90488" cy="123825"/>
            </a:xfrm>
            <a:custGeom>
              <a:avLst/>
              <a:gdLst>
                <a:gd name="T0" fmla="*/ 24 w 24"/>
                <a:gd name="T1" fmla="*/ 29 h 33"/>
                <a:gd name="T2" fmla="*/ 11 w 24"/>
                <a:gd name="T3" fmla="*/ 1 h 33"/>
                <a:gd name="T4" fmla="*/ 9 w 24"/>
                <a:gd name="T5" fmla="*/ 0 h 33"/>
                <a:gd name="T6" fmla="*/ 0 w 24"/>
                <a:gd name="T7" fmla="*/ 0 h 33"/>
                <a:gd name="T8" fmla="*/ 16 w 24"/>
                <a:gd name="T9" fmla="*/ 33 h 33"/>
                <a:gd name="T10" fmla="*/ 24 w 24"/>
                <a:gd name="T1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3">
                  <a:moveTo>
                    <a:pt x="24" y="29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8" y="31"/>
                    <a:pt x="21" y="30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113" name="Freeform 75"/>
            <p:cNvSpPr>
              <a:spLocks noEditPoints="1"/>
            </p:cNvSpPr>
            <p:nvPr/>
          </p:nvSpPr>
          <p:spPr bwMode="auto">
            <a:xfrm>
              <a:off x="6329363" y="844550"/>
              <a:ext cx="239713" cy="241300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52 w 64"/>
                <a:gd name="T11" fmla="*/ 28 h 64"/>
                <a:gd name="T12" fmla="*/ 43 w 64"/>
                <a:gd name="T13" fmla="*/ 35 h 64"/>
                <a:gd name="T14" fmla="*/ 46 w 64"/>
                <a:gd name="T15" fmla="*/ 47 h 64"/>
                <a:gd name="T16" fmla="*/ 46 w 64"/>
                <a:gd name="T17" fmla="*/ 50 h 64"/>
                <a:gd name="T18" fmla="*/ 44 w 64"/>
                <a:gd name="T19" fmla="*/ 50 h 64"/>
                <a:gd name="T20" fmla="*/ 43 w 64"/>
                <a:gd name="T21" fmla="*/ 50 h 64"/>
                <a:gd name="T22" fmla="*/ 32 w 64"/>
                <a:gd name="T23" fmla="*/ 43 h 64"/>
                <a:gd name="T24" fmla="*/ 21 w 64"/>
                <a:gd name="T25" fmla="*/ 50 h 64"/>
                <a:gd name="T26" fmla="*/ 19 w 64"/>
                <a:gd name="T27" fmla="*/ 50 h 64"/>
                <a:gd name="T28" fmla="*/ 18 w 64"/>
                <a:gd name="T29" fmla="*/ 47 h 64"/>
                <a:gd name="T30" fmla="*/ 22 w 64"/>
                <a:gd name="T31" fmla="*/ 35 h 64"/>
                <a:gd name="T32" fmla="*/ 13 w 64"/>
                <a:gd name="T33" fmla="*/ 28 h 64"/>
                <a:gd name="T34" fmla="*/ 12 w 64"/>
                <a:gd name="T35" fmla="*/ 25 h 64"/>
                <a:gd name="T36" fmla="*/ 14 w 64"/>
                <a:gd name="T37" fmla="*/ 24 h 64"/>
                <a:gd name="T38" fmla="*/ 25 w 64"/>
                <a:gd name="T39" fmla="*/ 24 h 64"/>
                <a:gd name="T40" fmla="*/ 31 w 64"/>
                <a:gd name="T41" fmla="*/ 13 h 64"/>
                <a:gd name="T42" fmla="*/ 34 w 64"/>
                <a:gd name="T43" fmla="*/ 13 h 64"/>
                <a:gd name="T44" fmla="*/ 40 w 64"/>
                <a:gd name="T45" fmla="*/ 24 h 64"/>
                <a:gd name="T46" fmla="*/ 50 w 64"/>
                <a:gd name="T47" fmla="*/ 24 h 64"/>
                <a:gd name="T48" fmla="*/ 52 w 64"/>
                <a:gd name="T49" fmla="*/ 25 h 64"/>
                <a:gd name="T50" fmla="*/ 52 w 64"/>
                <a:gd name="T51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4"/>
                    <a:pt x="32" y="64"/>
                  </a:cubicBezTo>
                  <a:cubicBezTo>
                    <a:pt x="50" y="64"/>
                    <a:pt x="64" y="50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lose/>
                  <a:moveTo>
                    <a:pt x="52" y="2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8"/>
                    <a:pt x="46" y="49"/>
                    <a:pt x="46" y="50"/>
                  </a:cubicBezTo>
                  <a:cubicBezTo>
                    <a:pt x="45" y="50"/>
                    <a:pt x="45" y="50"/>
                    <a:pt x="44" y="50"/>
                  </a:cubicBezTo>
                  <a:cubicBezTo>
                    <a:pt x="44" y="50"/>
                    <a:pt x="44" y="50"/>
                    <a:pt x="43" y="50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0" y="50"/>
                    <a:pt x="19" y="50"/>
                  </a:cubicBezTo>
                  <a:cubicBezTo>
                    <a:pt x="18" y="49"/>
                    <a:pt x="18" y="48"/>
                    <a:pt x="18" y="4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2" y="27"/>
                    <a:pt x="12" y="26"/>
                    <a:pt x="12" y="25"/>
                  </a:cubicBezTo>
                  <a:cubicBezTo>
                    <a:pt x="13" y="25"/>
                    <a:pt x="13" y="24"/>
                    <a:pt x="14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3" y="12"/>
                    <a:pt x="34" y="13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1" y="24"/>
                    <a:pt x="52" y="25"/>
                    <a:pt x="52" y="25"/>
                  </a:cubicBezTo>
                  <a:cubicBezTo>
                    <a:pt x="52" y="26"/>
                    <a:pt x="52" y="27"/>
                    <a:pt x="5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123" name="TextBox 25"/>
          <p:cNvSpPr txBox="1"/>
          <p:nvPr/>
        </p:nvSpPr>
        <p:spPr>
          <a:xfrm>
            <a:off x="5799188" y="4157082"/>
            <a:ext cx="619710" cy="449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rgbClr val="BFBEBE"/>
                </a:solidFill>
                <a:latin typeface="+mj-lt"/>
                <a:cs typeface="Calibri Light" panose="020F0302020204030204" pitchFamily="34" charset="0"/>
              </a:rPr>
              <a:t>03</a:t>
            </a:r>
          </a:p>
        </p:txBody>
      </p:sp>
      <p:sp>
        <p:nvSpPr>
          <p:cNvPr id="126" name="TextBox 25"/>
          <p:cNvSpPr txBox="1"/>
          <p:nvPr/>
        </p:nvSpPr>
        <p:spPr>
          <a:xfrm>
            <a:off x="7628822" y="3930932"/>
            <a:ext cx="146049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0C344C"/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sp>
        <p:nvSpPr>
          <p:cNvPr id="127" name="TextBox 25"/>
          <p:cNvSpPr txBox="1"/>
          <p:nvPr/>
        </p:nvSpPr>
        <p:spPr>
          <a:xfrm>
            <a:off x="8049215" y="4890736"/>
            <a:ext cx="619710" cy="449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rgbClr val="BFBEBE"/>
                </a:solidFill>
                <a:latin typeface="+mj-lt"/>
                <a:cs typeface="Calibri Light" panose="020F0302020204030204" pitchFamily="34" charset="0"/>
              </a:rPr>
              <a:t>04</a:t>
            </a:r>
          </a:p>
        </p:txBody>
      </p:sp>
      <p:sp>
        <p:nvSpPr>
          <p:cNvPr id="128" name="TextBox 25"/>
          <p:cNvSpPr txBox="1"/>
          <p:nvPr/>
        </p:nvSpPr>
        <p:spPr>
          <a:xfrm>
            <a:off x="9892134" y="3201072"/>
            <a:ext cx="1460497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0C344C"/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sp>
        <p:nvSpPr>
          <p:cNvPr id="129" name="TextBox 25"/>
          <p:cNvSpPr txBox="1"/>
          <p:nvPr/>
        </p:nvSpPr>
        <p:spPr>
          <a:xfrm>
            <a:off x="10301122" y="4151713"/>
            <a:ext cx="619710" cy="449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rgbClr val="BFBEBE"/>
                </a:solidFill>
                <a:latin typeface="+mj-lt"/>
                <a:cs typeface="Calibri Light" panose="020F0302020204030204" pitchFamily="34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874507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0" y="3543300"/>
            <a:ext cx="12188890" cy="3313185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0" y="0"/>
            <a:ext cx="12188891" cy="35433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6"/>
          <p:cNvSpPr>
            <a:spLocks/>
          </p:cNvSpPr>
          <p:nvPr/>
        </p:nvSpPr>
        <p:spPr bwMode="auto">
          <a:xfrm>
            <a:off x="66308" y="2580096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7"/>
          <p:cNvSpPr>
            <a:spLocks/>
          </p:cNvSpPr>
          <p:nvPr/>
        </p:nvSpPr>
        <p:spPr bwMode="auto">
          <a:xfrm>
            <a:off x="-1395530" y="2332624"/>
            <a:ext cx="2435569" cy="1210676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8"/>
          <p:cNvSpPr>
            <a:spLocks/>
          </p:cNvSpPr>
          <p:nvPr/>
        </p:nvSpPr>
        <p:spPr bwMode="auto">
          <a:xfrm>
            <a:off x="4276988" y="2960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9"/>
          <p:cNvSpPr>
            <a:spLocks/>
          </p:cNvSpPr>
          <p:nvPr/>
        </p:nvSpPr>
        <p:spPr bwMode="auto">
          <a:xfrm>
            <a:off x="11425749" y="3006050"/>
            <a:ext cx="1081517" cy="537249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2"/>
          <p:cNvSpPr>
            <a:spLocks/>
          </p:cNvSpPr>
          <p:nvPr/>
        </p:nvSpPr>
        <p:spPr bwMode="auto">
          <a:xfrm>
            <a:off x="9918700" y="2633737"/>
            <a:ext cx="1831188" cy="909563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>
            <a:off x="814298" y="1007536"/>
            <a:ext cx="10809135" cy="1657355"/>
            <a:chOff x="814298" y="3025483"/>
            <a:chExt cx="10809135" cy="1657355"/>
          </a:xfrm>
        </p:grpSpPr>
        <p:sp>
          <p:nvSpPr>
            <p:cNvPr id="24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59"/>
            <p:cNvSpPr>
              <a:spLocks noChangeArrowheads="1"/>
            </p:cNvSpPr>
            <p:nvPr/>
          </p:nvSpPr>
          <p:spPr bwMode="auto">
            <a:xfrm>
              <a:off x="7987192" y="326253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0" name="Freeform 7"/>
          <p:cNvSpPr>
            <a:spLocks/>
          </p:cNvSpPr>
          <p:nvPr/>
        </p:nvSpPr>
        <p:spPr bwMode="auto">
          <a:xfrm>
            <a:off x="3468005" y="2054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46"/>
          <p:cNvSpPr>
            <a:spLocks/>
          </p:cNvSpPr>
          <p:nvPr/>
        </p:nvSpPr>
        <p:spPr bwMode="auto">
          <a:xfrm flipH="1">
            <a:off x="6577497" y="1270000"/>
            <a:ext cx="4575156" cy="227330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6"/>
          <p:cNvSpPr>
            <a:spLocks/>
          </p:cNvSpPr>
          <p:nvPr/>
        </p:nvSpPr>
        <p:spPr bwMode="auto">
          <a:xfrm flipH="1">
            <a:off x="4139475" y="1794103"/>
            <a:ext cx="3520367" cy="1749197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46"/>
          <p:cNvSpPr>
            <a:spLocks/>
          </p:cNvSpPr>
          <p:nvPr/>
        </p:nvSpPr>
        <p:spPr bwMode="auto">
          <a:xfrm flipH="1">
            <a:off x="2155082" y="2205119"/>
            <a:ext cx="2693171" cy="133818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6"/>
          <p:cNvSpPr>
            <a:spLocks/>
          </p:cNvSpPr>
          <p:nvPr/>
        </p:nvSpPr>
        <p:spPr bwMode="auto">
          <a:xfrm flipH="1">
            <a:off x="1039347" y="2748524"/>
            <a:ext cx="1599535" cy="794775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" name="Group 46"/>
          <p:cNvGrpSpPr/>
          <p:nvPr/>
        </p:nvGrpSpPr>
        <p:grpSpPr>
          <a:xfrm>
            <a:off x="826809" y="4185815"/>
            <a:ext cx="447181" cy="446928"/>
            <a:chOff x="1295127" y="2643071"/>
            <a:chExt cx="379068" cy="378853"/>
          </a:xfrm>
          <a:solidFill>
            <a:srgbClr val="B0F7F4"/>
          </a:solidFill>
          <a:effectLst/>
        </p:grpSpPr>
        <p:sp>
          <p:nvSpPr>
            <p:cNvPr id="48" name="Freeform 2131"/>
            <p:cNvSpPr>
              <a:spLocks/>
            </p:cNvSpPr>
            <p:nvPr/>
          </p:nvSpPr>
          <p:spPr bwMode="auto">
            <a:xfrm>
              <a:off x="1457837" y="2980090"/>
              <a:ext cx="55781" cy="13946"/>
            </a:xfrm>
            <a:custGeom>
              <a:avLst/>
              <a:gdLst>
                <a:gd name="T0" fmla="*/ 105 w 120"/>
                <a:gd name="T1" fmla="*/ 0 h 29"/>
                <a:gd name="T2" fmla="*/ 14 w 120"/>
                <a:gd name="T3" fmla="*/ 0 h 29"/>
                <a:gd name="T4" fmla="*/ 8 w 120"/>
                <a:gd name="T5" fmla="*/ 1 h 29"/>
                <a:gd name="T6" fmla="*/ 3 w 120"/>
                <a:gd name="T7" fmla="*/ 4 h 29"/>
                <a:gd name="T8" fmla="*/ 1 w 120"/>
                <a:gd name="T9" fmla="*/ 9 h 29"/>
                <a:gd name="T10" fmla="*/ 0 w 120"/>
                <a:gd name="T11" fmla="*/ 15 h 29"/>
                <a:gd name="T12" fmla="*/ 1 w 120"/>
                <a:gd name="T13" fmla="*/ 21 h 29"/>
                <a:gd name="T14" fmla="*/ 3 w 120"/>
                <a:gd name="T15" fmla="*/ 26 h 29"/>
                <a:gd name="T16" fmla="*/ 8 w 120"/>
                <a:gd name="T17" fmla="*/ 28 h 29"/>
                <a:gd name="T18" fmla="*/ 14 w 120"/>
                <a:gd name="T19" fmla="*/ 29 h 29"/>
                <a:gd name="T20" fmla="*/ 105 w 120"/>
                <a:gd name="T21" fmla="*/ 29 h 29"/>
                <a:gd name="T22" fmla="*/ 111 w 120"/>
                <a:gd name="T23" fmla="*/ 28 h 29"/>
                <a:gd name="T24" fmla="*/ 116 w 120"/>
                <a:gd name="T25" fmla="*/ 26 h 29"/>
                <a:gd name="T26" fmla="*/ 118 w 120"/>
                <a:gd name="T27" fmla="*/ 21 h 29"/>
                <a:gd name="T28" fmla="*/ 120 w 120"/>
                <a:gd name="T29" fmla="*/ 15 h 29"/>
                <a:gd name="T30" fmla="*/ 118 w 120"/>
                <a:gd name="T31" fmla="*/ 9 h 29"/>
                <a:gd name="T32" fmla="*/ 116 w 120"/>
                <a:gd name="T33" fmla="*/ 4 h 29"/>
                <a:gd name="T34" fmla="*/ 111 w 120"/>
                <a:gd name="T35" fmla="*/ 1 h 29"/>
                <a:gd name="T36" fmla="*/ 105 w 12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29">
                  <a:moveTo>
                    <a:pt x="105" y="0"/>
                  </a:moveTo>
                  <a:lnTo>
                    <a:pt x="14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3" y="26"/>
                  </a:lnTo>
                  <a:lnTo>
                    <a:pt x="8" y="28"/>
                  </a:lnTo>
                  <a:lnTo>
                    <a:pt x="14" y="29"/>
                  </a:lnTo>
                  <a:lnTo>
                    <a:pt x="105" y="29"/>
                  </a:lnTo>
                  <a:lnTo>
                    <a:pt x="111" y="28"/>
                  </a:lnTo>
                  <a:lnTo>
                    <a:pt x="116" y="26"/>
                  </a:lnTo>
                  <a:lnTo>
                    <a:pt x="118" y="21"/>
                  </a:lnTo>
                  <a:lnTo>
                    <a:pt x="120" y="15"/>
                  </a:lnTo>
                  <a:lnTo>
                    <a:pt x="118" y="9"/>
                  </a:lnTo>
                  <a:lnTo>
                    <a:pt x="116" y="4"/>
                  </a:lnTo>
                  <a:lnTo>
                    <a:pt x="111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49" name="Freeform 2132"/>
            <p:cNvSpPr>
              <a:spLocks/>
            </p:cNvSpPr>
            <p:nvPr/>
          </p:nvSpPr>
          <p:spPr bwMode="auto">
            <a:xfrm>
              <a:off x="1471783" y="3007978"/>
              <a:ext cx="27891" cy="13946"/>
            </a:xfrm>
            <a:custGeom>
              <a:avLst/>
              <a:gdLst>
                <a:gd name="T0" fmla="*/ 45 w 61"/>
                <a:gd name="T1" fmla="*/ 0 h 30"/>
                <a:gd name="T2" fmla="*/ 16 w 61"/>
                <a:gd name="T3" fmla="*/ 0 h 30"/>
                <a:gd name="T4" fmla="*/ 10 w 61"/>
                <a:gd name="T5" fmla="*/ 1 h 30"/>
                <a:gd name="T6" fmla="*/ 5 w 61"/>
                <a:gd name="T7" fmla="*/ 5 h 30"/>
                <a:gd name="T8" fmla="*/ 1 w 61"/>
                <a:gd name="T9" fmla="*/ 8 h 30"/>
                <a:gd name="T10" fmla="*/ 0 w 61"/>
                <a:gd name="T11" fmla="*/ 14 h 30"/>
                <a:gd name="T12" fmla="*/ 1 w 61"/>
                <a:gd name="T13" fmla="*/ 21 h 30"/>
                <a:gd name="T14" fmla="*/ 5 w 61"/>
                <a:gd name="T15" fmla="*/ 25 h 30"/>
                <a:gd name="T16" fmla="*/ 10 w 61"/>
                <a:gd name="T17" fmla="*/ 29 h 30"/>
                <a:gd name="T18" fmla="*/ 16 w 61"/>
                <a:gd name="T19" fmla="*/ 30 h 30"/>
                <a:gd name="T20" fmla="*/ 45 w 61"/>
                <a:gd name="T21" fmla="*/ 30 h 30"/>
                <a:gd name="T22" fmla="*/ 51 w 61"/>
                <a:gd name="T23" fmla="*/ 29 h 30"/>
                <a:gd name="T24" fmla="*/ 56 w 61"/>
                <a:gd name="T25" fmla="*/ 25 h 30"/>
                <a:gd name="T26" fmla="*/ 60 w 61"/>
                <a:gd name="T27" fmla="*/ 21 h 30"/>
                <a:gd name="T28" fmla="*/ 61 w 61"/>
                <a:gd name="T29" fmla="*/ 14 h 30"/>
                <a:gd name="T30" fmla="*/ 60 w 61"/>
                <a:gd name="T31" fmla="*/ 8 h 30"/>
                <a:gd name="T32" fmla="*/ 56 w 61"/>
                <a:gd name="T33" fmla="*/ 5 h 30"/>
                <a:gd name="T34" fmla="*/ 51 w 61"/>
                <a:gd name="T35" fmla="*/ 1 h 30"/>
                <a:gd name="T36" fmla="*/ 45 w 61"/>
                <a:gd name="T3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30">
                  <a:moveTo>
                    <a:pt x="45" y="0"/>
                  </a:moveTo>
                  <a:lnTo>
                    <a:pt x="16" y="0"/>
                  </a:lnTo>
                  <a:lnTo>
                    <a:pt x="10" y="1"/>
                  </a:lnTo>
                  <a:lnTo>
                    <a:pt x="5" y="5"/>
                  </a:lnTo>
                  <a:lnTo>
                    <a:pt x="1" y="8"/>
                  </a:lnTo>
                  <a:lnTo>
                    <a:pt x="0" y="14"/>
                  </a:lnTo>
                  <a:lnTo>
                    <a:pt x="1" y="21"/>
                  </a:lnTo>
                  <a:lnTo>
                    <a:pt x="5" y="25"/>
                  </a:lnTo>
                  <a:lnTo>
                    <a:pt x="10" y="29"/>
                  </a:lnTo>
                  <a:lnTo>
                    <a:pt x="16" y="30"/>
                  </a:lnTo>
                  <a:lnTo>
                    <a:pt x="45" y="30"/>
                  </a:lnTo>
                  <a:lnTo>
                    <a:pt x="51" y="29"/>
                  </a:lnTo>
                  <a:lnTo>
                    <a:pt x="56" y="25"/>
                  </a:lnTo>
                  <a:lnTo>
                    <a:pt x="60" y="21"/>
                  </a:lnTo>
                  <a:lnTo>
                    <a:pt x="61" y="14"/>
                  </a:lnTo>
                  <a:lnTo>
                    <a:pt x="60" y="8"/>
                  </a:lnTo>
                  <a:lnTo>
                    <a:pt x="56" y="5"/>
                  </a:lnTo>
                  <a:lnTo>
                    <a:pt x="51" y="1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0" name="Freeform 2133"/>
            <p:cNvSpPr>
              <a:spLocks/>
            </p:cNvSpPr>
            <p:nvPr/>
          </p:nvSpPr>
          <p:spPr bwMode="auto">
            <a:xfrm>
              <a:off x="1367192" y="2705826"/>
              <a:ext cx="237074" cy="260316"/>
            </a:xfrm>
            <a:custGeom>
              <a:avLst/>
              <a:gdLst>
                <a:gd name="T0" fmla="*/ 242 w 511"/>
                <a:gd name="T1" fmla="*/ 1 h 556"/>
                <a:gd name="T2" fmla="*/ 217 w 511"/>
                <a:gd name="T3" fmla="*/ 3 h 556"/>
                <a:gd name="T4" fmla="*/ 192 w 511"/>
                <a:gd name="T5" fmla="*/ 8 h 556"/>
                <a:gd name="T6" fmla="*/ 168 w 511"/>
                <a:gd name="T7" fmla="*/ 15 h 556"/>
                <a:gd name="T8" fmla="*/ 134 w 511"/>
                <a:gd name="T9" fmla="*/ 31 h 556"/>
                <a:gd name="T10" fmla="*/ 93 w 511"/>
                <a:gd name="T11" fmla="*/ 58 h 556"/>
                <a:gd name="T12" fmla="*/ 59 w 511"/>
                <a:gd name="T13" fmla="*/ 94 h 556"/>
                <a:gd name="T14" fmla="*/ 31 w 511"/>
                <a:gd name="T15" fmla="*/ 134 h 556"/>
                <a:gd name="T16" fmla="*/ 15 w 511"/>
                <a:gd name="T17" fmla="*/ 168 h 556"/>
                <a:gd name="T18" fmla="*/ 8 w 511"/>
                <a:gd name="T19" fmla="*/ 191 h 556"/>
                <a:gd name="T20" fmla="*/ 3 w 511"/>
                <a:gd name="T21" fmla="*/ 217 h 556"/>
                <a:gd name="T22" fmla="*/ 0 w 511"/>
                <a:gd name="T23" fmla="*/ 243 h 556"/>
                <a:gd name="T24" fmla="*/ 0 w 511"/>
                <a:gd name="T25" fmla="*/ 277 h 556"/>
                <a:gd name="T26" fmla="*/ 8 w 511"/>
                <a:gd name="T27" fmla="*/ 317 h 556"/>
                <a:gd name="T28" fmla="*/ 20 w 511"/>
                <a:gd name="T29" fmla="*/ 355 h 556"/>
                <a:gd name="T30" fmla="*/ 39 w 511"/>
                <a:gd name="T31" fmla="*/ 392 h 556"/>
                <a:gd name="T32" fmla="*/ 63 w 511"/>
                <a:gd name="T33" fmla="*/ 423 h 556"/>
                <a:gd name="T34" fmla="*/ 91 w 511"/>
                <a:gd name="T35" fmla="*/ 451 h 556"/>
                <a:gd name="T36" fmla="*/ 124 w 511"/>
                <a:gd name="T37" fmla="*/ 475 h 556"/>
                <a:gd name="T38" fmla="*/ 160 w 511"/>
                <a:gd name="T39" fmla="*/ 493 h 556"/>
                <a:gd name="T40" fmla="*/ 180 w 511"/>
                <a:gd name="T41" fmla="*/ 542 h 556"/>
                <a:gd name="T42" fmla="*/ 185 w 511"/>
                <a:gd name="T43" fmla="*/ 552 h 556"/>
                <a:gd name="T44" fmla="*/ 196 w 511"/>
                <a:gd name="T45" fmla="*/ 556 h 556"/>
                <a:gd name="T46" fmla="*/ 322 w 511"/>
                <a:gd name="T47" fmla="*/ 555 h 556"/>
                <a:gd name="T48" fmla="*/ 330 w 511"/>
                <a:gd name="T49" fmla="*/ 547 h 556"/>
                <a:gd name="T50" fmla="*/ 331 w 511"/>
                <a:gd name="T51" fmla="*/ 500 h 556"/>
                <a:gd name="T52" fmla="*/ 369 w 511"/>
                <a:gd name="T53" fmla="*/ 484 h 556"/>
                <a:gd name="T54" fmla="*/ 405 w 511"/>
                <a:gd name="T55" fmla="*/ 464 h 556"/>
                <a:gd name="T56" fmla="*/ 435 w 511"/>
                <a:gd name="T57" fmla="*/ 438 h 556"/>
                <a:gd name="T58" fmla="*/ 461 w 511"/>
                <a:gd name="T59" fmla="*/ 407 h 556"/>
                <a:gd name="T60" fmla="*/ 483 w 511"/>
                <a:gd name="T61" fmla="*/ 373 h 556"/>
                <a:gd name="T62" fmla="*/ 499 w 511"/>
                <a:gd name="T63" fmla="*/ 337 h 556"/>
                <a:gd name="T64" fmla="*/ 508 w 511"/>
                <a:gd name="T65" fmla="*/ 298 h 556"/>
                <a:gd name="T66" fmla="*/ 511 w 511"/>
                <a:gd name="T67" fmla="*/ 256 h 556"/>
                <a:gd name="T68" fmla="*/ 510 w 511"/>
                <a:gd name="T69" fmla="*/ 229 h 556"/>
                <a:gd name="T70" fmla="*/ 506 w 511"/>
                <a:gd name="T71" fmla="*/ 205 h 556"/>
                <a:gd name="T72" fmla="*/ 500 w 511"/>
                <a:gd name="T73" fmla="*/ 179 h 556"/>
                <a:gd name="T74" fmla="*/ 491 w 511"/>
                <a:gd name="T75" fmla="*/ 156 h 556"/>
                <a:gd name="T76" fmla="*/ 468 w 511"/>
                <a:gd name="T77" fmla="*/ 113 h 556"/>
                <a:gd name="T78" fmla="*/ 436 w 511"/>
                <a:gd name="T79" fmla="*/ 75 h 556"/>
                <a:gd name="T80" fmla="*/ 399 w 511"/>
                <a:gd name="T81" fmla="*/ 44 h 556"/>
                <a:gd name="T82" fmla="*/ 355 w 511"/>
                <a:gd name="T83" fmla="*/ 20 h 556"/>
                <a:gd name="T84" fmla="*/ 331 w 511"/>
                <a:gd name="T85" fmla="*/ 12 h 556"/>
                <a:gd name="T86" fmla="*/ 307 w 511"/>
                <a:gd name="T87" fmla="*/ 6 h 556"/>
                <a:gd name="T88" fmla="*/ 281 w 511"/>
                <a:gd name="T89" fmla="*/ 1 h 556"/>
                <a:gd name="T90" fmla="*/ 256 w 511"/>
                <a:gd name="T91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1" h="556">
                  <a:moveTo>
                    <a:pt x="256" y="0"/>
                  </a:moveTo>
                  <a:lnTo>
                    <a:pt x="242" y="1"/>
                  </a:lnTo>
                  <a:lnTo>
                    <a:pt x="230" y="1"/>
                  </a:lnTo>
                  <a:lnTo>
                    <a:pt x="217" y="3"/>
                  </a:lnTo>
                  <a:lnTo>
                    <a:pt x="204" y="6"/>
                  </a:lnTo>
                  <a:lnTo>
                    <a:pt x="192" y="8"/>
                  </a:lnTo>
                  <a:lnTo>
                    <a:pt x="180" y="12"/>
                  </a:lnTo>
                  <a:lnTo>
                    <a:pt x="168" y="15"/>
                  </a:lnTo>
                  <a:lnTo>
                    <a:pt x="157" y="20"/>
                  </a:lnTo>
                  <a:lnTo>
                    <a:pt x="134" y="31"/>
                  </a:lnTo>
                  <a:lnTo>
                    <a:pt x="113" y="44"/>
                  </a:lnTo>
                  <a:lnTo>
                    <a:pt x="93" y="58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5" y="168"/>
                  </a:lnTo>
                  <a:lnTo>
                    <a:pt x="11" y="179"/>
                  </a:lnTo>
                  <a:lnTo>
                    <a:pt x="8" y="191"/>
                  </a:lnTo>
                  <a:lnTo>
                    <a:pt x="5" y="205"/>
                  </a:lnTo>
                  <a:lnTo>
                    <a:pt x="3" y="217"/>
                  </a:lnTo>
                  <a:lnTo>
                    <a:pt x="2" y="229"/>
                  </a:lnTo>
                  <a:lnTo>
                    <a:pt x="0" y="243"/>
                  </a:lnTo>
                  <a:lnTo>
                    <a:pt x="0" y="256"/>
                  </a:lnTo>
                  <a:lnTo>
                    <a:pt x="0" y="277"/>
                  </a:lnTo>
                  <a:lnTo>
                    <a:pt x="3" y="298"/>
                  </a:lnTo>
                  <a:lnTo>
                    <a:pt x="8" y="317"/>
                  </a:lnTo>
                  <a:lnTo>
                    <a:pt x="13" y="337"/>
                  </a:lnTo>
                  <a:lnTo>
                    <a:pt x="20" y="355"/>
                  </a:lnTo>
                  <a:lnTo>
                    <a:pt x="28" y="373"/>
                  </a:lnTo>
                  <a:lnTo>
                    <a:pt x="39" y="392"/>
                  </a:lnTo>
                  <a:lnTo>
                    <a:pt x="50" y="407"/>
                  </a:lnTo>
                  <a:lnTo>
                    <a:pt x="63" y="423"/>
                  </a:lnTo>
                  <a:lnTo>
                    <a:pt x="76" y="438"/>
                  </a:lnTo>
                  <a:lnTo>
                    <a:pt x="91" y="451"/>
                  </a:lnTo>
                  <a:lnTo>
                    <a:pt x="107" y="464"/>
                  </a:lnTo>
                  <a:lnTo>
                    <a:pt x="124" y="475"/>
                  </a:lnTo>
                  <a:lnTo>
                    <a:pt x="142" y="484"/>
                  </a:lnTo>
                  <a:lnTo>
                    <a:pt x="160" y="493"/>
                  </a:lnTo>
                  <a:lnTo>
                    <a:pt x="180" y="500"/>
                  </a:lnTo>
                  <a:lnTo>
                    <a:pt x="180" y="542"/>
                  </a:lnTo>
                  <a:lnTo>
                    <a:pt x="181" y="547"/>
                  </a:lnTo>
                  <a:lnTo>
                    <a:pt x="185" y="552"/>
                  </a:lnTo>
                  <a:lnTo>
                    <a:pt x="190" y="555"/>
                  </a:lnTo>
                  <a:lnTo>
                    <a:pt x="196" y="556"/>
                  </a:lnTo>
                  <a:lnTo>
                    <a:pt x="316" y="556"/>
                  </a:lnTo>
                  <a:lnTo>
                    <a:pt x="322" y="555"/>
                  </a:lnTo>
                  <a:lnTo>
                    <a:pt x="327" y="552"/>
                  </a:lnTo>
                  <a:lnTo>
                    <a:pt x="330" y="547"/>
                  </a:lnTo>
                  <a:lnTo>
                    <a:pt x="331" y="542"/>
                  </a:lnTo>
                  <a:lnTo>
                    <a:pt x="331" y="500"/>
                  </a:lnTo>
                  <a:lnTo>
                    <a:pt x="351" y="493"/>
                  </a:lnTo>
                  <a:lnTo>
                    <a:pt x="369" y="484"/>
                  </a:lnTo>
                  <a:lnTo>
                    <a:pt x="388" y="475"/>
                  </a:lnTo>
                  <a:lnTo>
                    <a:pt x="405" y="464"/>
                  </a:lnTo>
                  <a:lnTo>
                    <a:pt x="421" y="451"/>
                  </a:lnTo>
                  <a:lnTo>
                    <a:pt x="435" y="438"/>
                  </a:lnTo>
                  <a:lnTo>
                    <a:pt x="449" y="423"/>
                  </a:lnTo>
                  <a:lnTo>
                    <a:pt x="461" y="407"/>
                  </a:lnTo>
                  <a:lnTo>
                    <a:pt x="473" y="392"/>
                  </a:lnTo>
                  <a:lnTo>
                    <a:pt x="483" y="373"/>
                  </a:lnTo>
                  <a:lnTo>
                    <a:pt x="491" y="355"/>
                  </a:lnTo>
                  <a:lnTo>
                    <a:pt x="499" y="337"/>
                  </a:lnTo>
                  <a:lnTo>
                    <a:pt x="504" y="317"/>
                  </a:lnTo>
                  <a:lnTo>
                    <a:pt x="508" y="298"/>
                  </a:lnTo>
                  <a:lnTo>
                    <a:pt x="511" y="277"/>
                  </a:lnTo>
                  <a:lnTo>
                    <a:pt x="511" y="256"/>
                  </a:lnTo>
                  <a:lnTo>
                    <a:pt x="511" y="243"/>
                  </a:lnTo>
                  <a:lnTo>
                    <a:pt x="510" y="229"/>
                  </a:lnTo>
                  <a:lnTo>
                    <a:pt x="508" y="217"/>
                  </a:lnTo>
                  <a:lnTo>
                    <a:pt x="506" y="205"/>
                  </a:lnTo>
                  <a:lnTo>
                    <a:pt x="504" y="191"/>
                  </a:lnTo>
                  <a:lnTo>
                    <a:pt x="500" y="179"/>
                  </a:lnTo>
                  <a:lnTo>
                    <a:pt x="496" y="168"/>
                  </a:lnTo>
                  <a:lnTo>
                    <a:pt x="491" y="156"/>
                  </a:lnTo>
                  <a:lnTo>
                    <a:pt x="480" y="134"/>
                  </a:lnTo>
                  <a:lnTo>
                    <a:pt x="468" y="113"/>
                  </a:lnTo>
                  <a:lnTo>
                    <a:pt x="452" y="94"/>
                  </a:lnTo>
                  <a:lnTo>
                    <a:pt x="436" y="75"/>
                  </a:lnTo>
                  <a:lnTo>
                    <a:pt x="418" y="58"/>
                  </a:lnTo>
                  <a:lnTo>
                    <a:pt x="399" y="44"/>
                  </a:lnTo>
                  <a:lnTo>
                    <a:pt x="378" y="31"/>
                  </a:lnTo>
                  <a:lnTo>
                    <a:pt x="355" y="20"/>
                  </a:lnTo>
                  <a:lnTo>
                    <a:pt x="344" y="15"/>
                  </a:lnTo>
                  <a:lnTo>
                    <a:pt x="331" y="12"/>
                  </a:lnTo>
                  <a:lnTo>
                    <a:pt x="319" y="8"/>
                  </a:lnTo>
                  <a:lnTo>
                    <a:pt x="307" y="6"/>
                  </a:lnTo>
                  <a:lnTo>
                    <a:pt x="295" y="3"/>
                  </a:lnTo>
                  <a:lnTo>
                    <a:pt x="281" y="1"/>
                  </a:lnTo>
                  <a:lnTo>
                    <a:pt x="269" y="1"/>
                  </a:lnTo>
                  <a:lnTo>
                    <a:pt x="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1" name="Freeform 2134"/>
            <p:cNvSpPr>
              <a:spLocks/>
            </p:cNvSpPr>
            <p:nvPr/>
          </p:nvSpPr>
          <p:spPr bwMode="auto">
            <a:xfrm>
              <a:off x="1295127" y="2810415"/>
              <a:ext cx="41837" cy="16271"/>
            </a:xfrm>
            <a:custGeom>
              <a:avLst/>
              <a:gdLst>
                <a:gd name="T0" fmla="*/ 76 w 90"/>
                <a:gd name="T1" fmla="*/ 0 h 31"/>
                <a:gd name="T2" fmla="*/ 16 w 90"/>
                <a:gd name="T3" fmla="*/ 0 h 31"/>
                <a:gd name="T4" fmla="*/ 10 w 90"/>
                <a:gd name="T5" fmla="*/ 2 h 31"/>
                <a:gd name="T6" fmla="*/ 5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5 w 90"/>
                <a:gd name="T15" fmla="*/ 26 h 31"/>
                <a:gd name="T16" fmla="*/ 10 w 90"/>
                <a:gd name="T17" fmla="*/ 30 h 31"/>
                <a:gd name="T18" fmla="*/ 16 w 90"/>
                <a:gd name="T19" fmla="*/ 31 h 31"/>
                <a:gd name="T20" fmla="*/ 76 w 90"/>
                <a:gd name="T21" fmla="*/ 31 h 31"/>
                <a:gd name="T22" fmla="*/ 82 w 90"/>
                <a:gd name="T23" fmla="*/ 30 h 31"/>
                <a:gd name="T24" fmla="*/ 87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7 w 90"/>
                <a:gd name="T33" fmla="*/ 5 h 31"/>
                <a:gd name="T34" fmla="*/ 82 w 90"/>
                <a:gd name="T35" fmla="*/ 2 h 31"/>
                <a:gd name="T36" fmla="*/ 76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6" y="0"/>
                  </a:move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10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82" y="30"/>
                  </a:lnTo>
                  <a:lnTo>
                    <a:pt x="87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7" y="5"/>
                  </a:lnTo>
                  <a:lnTo>
                    <a:pt x="82" y="2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2" name="Freeform 2135"/>
            <p:cNvSpPr>
              <a:spLocks/>
            </p:cNvSpPr>
            <p:nvPr/>
          </p:nvSpPr>
          <p:spPr bwMode="auto">
            <a:xfrm>
              <a:off x="1336977" y="2684907"/>
              <a:ext cx="51134" cy="51134"/>
            </a:xfrm>
            <a:custGeom>
              <a:avLst/>
              <a:gdLst>
                <a:gd name="T0" fmla="*/ 91 w 107"/>
                <a:gd name="T1" fmla="*/ 107 h 107"/>
                <a:gd name="T2" fmla="*/ 97 w 107"/>
                <a:gd name="T3" fmla="*/ 105 h 107"/>
                <a:gd name="T4" fmla="*/ 102 w 107"/>
                <a:gd name="T5" fmla="*/ 102 h 107"/>
                <a:gd name="T6" fmla="*/ 105 w 107"/>
                <a:gd name="T7" fmla="*/ 97 h 107"/>
                <a:gd name="T8" fmla="*/ 107 w 107"/>
                <a:gd name="T9" fmla="*/ 91 h 107"/>
                <a:gd name="T10" fmla="*/ 105 w 107"/>
                <a:gd name="T11" fmla="*/ 86 h 107"/>
                <a:gd name="T12" fmla="*/ 102 w 107"/>
                <a:gd name="T13" fmla="*/ 81 h 107"/>
                <a:gd name="T14" fmla="*/ 26 w 107"/>
                <a:gd name="T15" fmla="*/ 5 h 107"/>
                <a:gd name="T16" fmla="*/ 21 w 107"/>
                <a:gd name="T17" fmla="*/ 2 h 107"/>
                <a:gd name="T18" fmla="*/ 16 w 107"/>
                <a:gd name="T19" fmla="*/ 0 h 107"/>
                <a:gd name="T20" fmla="*/ 10 w 107"/>
                <a:gd name="T21" fmla="*/ 2 h 107"/>
                <a:gd name="T22" fmla="*/ 5 w 107"/>
                <a:gd name="T23" fmla="*/ 5 h 107"/>
                <a:gd name="T24" fmla="*/ 2 w 107"/>
                <a:gd name="T25" fmla="*/ 10 h 107"/>
                <a:gd name="T26" fmla="*/ 0 w 107"/>
                <a:gd name="T27" fmla="*/ 16 h 107"/>
                <a:gd name="T28" fmla="*/ 2 w 107"/>
                <a:gd name="T29" fmla="*/ 21 h 107"/>
                <a:gd name="T30" fmla="*/ 5 w 107"/>
                <a:gd name="T31" fmla="*/ 26 h 107"/>
                <a:gd name="T32" fmla="*/ 81 w 107"/>
                <a:gd name="T33" fmla="*/ 102 h 107"/>
                <a:gd name="T34" fmla="*/ 86 w 107"/>
                <a:gd name="T35" fmla="*/ 105 h 107"/>
                <a:gd name="T36" fmla="*/ 91 w 107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07">
                  <a:moveTo>
                    <a:pt x="91" y="107"/>
                  </a:moveTo>
                  <a:lnTo>
                    <a:pt x="97" y="105"/>
                  </a:lnTo>
                  <a:lnTo>
                    <a:pt x="102" y="102"/>
                  </a:lnTo>
                  <a:lnTo>
                    <a:pt x="105" y="97"/>
                  </a:lnTo>
                  <a:lnTo>
                    <a:pt x="107" y="91"/>
                  </a:lnTo>
                  <a:lnTo>
                    <a:pt x="105" y="86"/>
                  </a:lnTo>
                  <a:lnTo>
                    <a:pt x="102" y="81"/>
                  </a:lnTo>
                  <a:lnTo>
                    <a:pt x="26" y="5"/>
                  </a:lnTo>
                  <a:lnTo>
                    <a:pt x="21" y="2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81" y="102"/>
                  </a:lnTo>
                  <a:lnTo>
                    <a:pt x="86" y="105"/>
                  </a:lnTo>
                  <a:lnTo>
                    <a:pt x="9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3" name="Freeform 2136"/>
            <p:cNvSpPr>
              <a:spLocks/>
            </p:cNvSpPr>
            <p:nvPr/>
          </p:nvSpPr>
          <p:spPr bwMode="auto">
            <a:xfrm>
              <a:off x="1478746" y="2643071"/>
              <a:ext cx="13946" cy="41836"/>
            </a:xfrm>
            <a:custGeom>
              <a:avLst/>
              <a:gdLst>
                <a:gd name="T0" fmla="*/ 15 w 29"/>
                <a:gd name="T1" fmla="*/ 90 h 90"/>
                <a:gd name="T2" fmla="*/ 21 w 29"/>
                <a:gd name="T3" fmla="*/ 89 h 90"/>
                <a:gd name="T4" fmla="*/ 26 w 29"/>
                <a:gd name="T5" fmla="*/ 87 h 90"/>
                <a:gd name="T6" fmla="*/ 28 w 29"/>
                <a:gd name="T7" fmla="*/ 82 h 90"/>
                <a:gd name="T8" fmla="*/ 29 w 29"/>
                <a:gd name="T9" fmla="*/ 76 h 90"/>
                <a:gd name="T10" fmla="*/ 29 w 29"/>
                <a:gd name="T11" fmla="*/ 16 h 90"/>
                <a:gd name="T12" fmla="*/ 28 w 29"/>
                <a:gd name="T13" fmla="*/ 10 h 90"/>
                <a:gd name="T14" fmla="*/ 26 w 29"/>
                <a:gd name="T15" fmla="*/ 5 h 90"/>
                <a:gd name="T16" fmla="*/ 21 w 29"/>
                <a:gd name="T17" fmla="*/ 1 h 90"/>
                <a:gd name="T18" fmla="*/ 15 w 29"/>
                <a:gd name="T19" fmla="*/ 0 h 90"/>
                <a:gd name="T20" fmla="*/ 9 w 29"/>
                <a:gd name="T21" fmla="*/ 1 h 90"/>
                <a:gd name="T22" fmla="*/ 4 w 29"/>
                <a:gd name="T23" fmla="*/ 5 h 90"/>
                <a:gd name="T24" fmla="*/ 1 w 29"/>
                <a:gd name="T25" fmla="*/ 10 h 90"/>
                <a:gd name="T26" fmla="*/ 0 w 29"/>
                <a:gd name="T27" fmla="*/ 16 h 90"/>
                <a:gd name="T28" fmla="*/ 0 w 29"/>
                <a:gd name="T29" fmla="*/ 76 h 90"/>
                <a:gd name="T30" fmla="*/ 1 w 29"/>
                <a:gd name="T31" fmla="*/ 82 h 90"/>
                <a:gd name="T32" fmla="*/ 4 w 29"/>
                <a:gd name="T33" fmla="*/ 87 h 90"/>
                <a:gd name="T34" fmla="*/ 9 w 29"/>
                <a:gd name="T35" fmla="*/ 89 h 90"/>
                <a:gd name="T36" fmla="*/ 15 w 29"/>
                <a:gd name="T3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90">
                  <a:moveTo>
                    <a:pt x="15" y="90"/>
                  </a:moveTo>
                  <a:lnTo>
                    <a:pt x="21" y="89"/>
                  </a:lnTo>
                  <a:lnTo>
                    <a:pt x="26" y="87"/>
                  </a:lnTo>
                  <a:lnTo>
                    <a:pt x="28" y="82"/>
                  </a:lnTo>
                  <a:lnTo>
                    <a:pt x="29" y="76"/>
                  </a:lnTo>
                  <a:lnTo>
                    <a:pt x="29" y="16"/>
                  </a:lnTo>
                  <a:lnTo>
                    <a:pt x="28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76"/>
                  </a:lnTo>
                  <a:lnTo>
                    <a:pt x="1" y="82"/>
                  </a:lnTo>
                  <a:lnTo>
                    <a:pt x="4" y="87"/>
                  </a:lnTo>
                  <a:lnTo>
                    <a:pt x="9" y="89"/>
                  </a:lnTo>
                  <a:lnTo>
                    <a:pt x="1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4" name="Freeform 2137"/>
            <p:cNvSpPr>
              <a:spLocks/>
            </p:cNvSpPr>
            <p:nvPr/>
          </p:nvSpPr>
          <p:spPr bwMode="auto">
            <a:xfrm>
              <a:off x="1583373" y="2684912"/>
              <a:ext cx="48811" cy="51134"/>
            </a:xfrm>
            <a:custGeom>
              <a:avLst/>
              <a:gdLst>
                <a:gd name="T0" fmla="*/ 101 w 106"/>
                <a:gd name="T1" fmla="*/ 5 h 107"/>
                <a:gd name="T2" fmla="*/ 96 w 106"/>
                <a:gd name="T3" fmla="*/ 2 h 107"/>
                <a:gd name="T4" fmla="*/ 90 w 106"/>
                <a:gd name="T5" fmla="*/ 0 h 107"/>
                <a:gd name="T6" fmla="*/ 85 w 106"/>
                <a:gd name="T7" fmla="*/ 2 h 107"/>
                <a:gd name="T8" fmla="*/ 80 w 106"/>
                <a:gd name="T9" fmla="*/ 5 h 107"/>
                <a:gd name="T10" fmla="*/ 5 w 106"/>
                <a:gd name="T11" fmla="*/ 80 h 107"/>
                <a:gd name="T12" fmla="*/ 1 w 106"/>
                <a:gd name="T13" fmla="*/ 86 h 107"/>
                <a:gd name="T14" fmla="*/ 0 w 106"/>
                <a:gd name="T15" fmla="*/ 91 h 107"/>
                <a:gd name="T16" fmla="*/ 1 w 106"/>
                <a:gd name="T17" fmla="*/ 97 h 107"/>
                <a:gd name="T18" fmla="*/ 5 w 106"/>
                <a:gd name="T19" fmla="*/ 102 h 107"/>
                <a:gd name="T20" fmla="*/ 10 w 106"/>
                <a:gd name="T21" fmla="*/ 105 h 107"/>
                <a:gd name="T22" fmla="*/ 16 w 106"/>
                <a:gd name="T23" fmla="*/ 107 h 107"/>
                <a:gd name="T24" fmla="*/ 21 w 106"/>
                <a:gd name="T25" fmla="*/ 105 h 107"/>
                <a:gd name="T26" fmla="*/ 25 w 106"/>
                <a:gd name="T27" fmla="*/ 102 h 107"/>
                <a:gd name="T28" fmla="*/ 101 w 106"/>
                <a:gd name="T29" fmla="*/ 26 h 107"/>
                <a:gd name="T30" fmla="*/ 105 w 106"/>
                <a:gd name="T31" fmla="*/ 21 h 107"/>
                <a:gd name="T32" fmla="*/ 106 w 106"/>
                <a:gd name="T33" fmla="*/ 16 h 107"/>
                <a:gd name="T34" fmla="*/ 105 w 106"/>
                <a:gd name="T35" fmla="*/ 10 h 107"/>
                <a:gd name="T36" fmla="*/ 101 w 106"/>
                <a:gd name="T37" fmla="*/ 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07">
                  <a:moveTo>
                    <a:pt x="101" y="5"/>
                  </a:moveTo>
                  <a:lnTo>
                    <a:pt x="96" y="2"/>
                  </a:lnTo>
                  <a:lnTo>
                    <a:pt x="90" y="0"/>
                  </a:lnTo>
                  <a:lnTo>
                    <a:pt x="85" y="2"/>
                  </a:lnTo>
                  <a:lnTo>
                    <a:pt x="80" y="5"/>
                  </a:lnTo>
                  <a:lnTo>
                    <a:pt x="5" y="80"/>
                  </a:lnTo>
                  <a:lnTo>
                    <a:pt x="1" y="86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5" y="102"/>
                  </a:lnTo>
                  <a:lnTo>
                    <a:pt x="10" y="105"/>
                  </a:lnTo>
                  <a:lnTo>
                    <a:pt x="16" y="107"/>
                  </a:lnTo>
                  <a:lnTo>
                    <a:pt x="21" y="105"/>
                  </a:lnTo>
                  <a:lnTo>
                    <a:pt x="25" y="102"/>
                  </a:lnTo>
                  <a:lnTo>
                    <a:pt x="101" y="26"/>
                  </a:lnTo>
                  <a:lnTo>
                    <a:pt x="105" y="21"/>
                  </a:lnTo>
                  <a:lnTo>
                    <a:pt x="106" y="16"/>
                  </a:lnTo>
                  <a:lnTo>
                    <a:pt x="105" y="10"/>
                  </a:lnTo>
                  <a:lnTo>
                    <a:pt x="10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  <p:sp>
          <p:nvSpPr>
            <p:cNvPr id="55" name="Freeform 2138"/>
            <p:cNvSpPr>
              <a:spLocks/>
            </p:cNvSpPr>
            <p:nvPr/>
          </p:nvSpPr>
          <p:spPr bwMode="auto">
            <a:xfrm>
              <a:off x="1632358" y="2810464"/>
              <a:ext cx="41837" cy="16271"/>
            </a:xfrm>
            <a:custGeom>
              <a:avLst/>
              <a:gdLst>
                <a:gd name="T0" fmla="*/ 75 w 90"/>
                <a:gd name="T1" fmla="*/ 0 h 31"/>
                <a:gd name="T2" fmla="*/ 15 w 90"/>
                <a:gd name="T3" fmla="*/ 0 h 31"/>
                <a:gd name="T4" fmla="*/ 9 w 90"/>
                <a:gd name="T5" fmla="*/ 2 h 31"/>
                <a:gd name="T6" fmla="*/ 4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4 w 90"/>
                <a:gd name="T15" fmla="*/ 26 h 31"/>
                <a:gd name="T16" fmla="*/ 9 w 90"/>
                <a:gd name="T17" fmla="*/ 30 h 31"/>
                <a:gd name="T18" fmla="*/ 15 w 90"/>
                <a:gd name="T19" fmla="*/ 31 h 31"/>
                <a:gd name="T20" fmla="*/ 75 w 90"/>
                <a:gd name="T21" fmla="*/ 31 h 31"/>
                <a:gd name="T22" fmla="*/ 81 w 90"/>
                <a:gd name="T23" fmla="*/ 30 h 31"/>
                <a:gd name="T24" fmla="*/ 86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6 w 90"/>
                <a:gd name="T33" fmla="*/ 5 h 31"/>
                <a:gd name="T34" fmla="*/ 81 w 90"/>
                <a:gd name="T35" fmla="*/ 2 h 31"/>
                <a:gd name="T36" fmla="*/ 75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5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4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75" y="31"/>
                  </a:lnTo>
                  <a:lnTo>
                    <a:pt x="81" y="30"/>
                  </a:lnTo>
                  <a:lnTo>
                    <a:pt x="86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6" y="5"/>
                  </a:lnTo>
                  <a:lnTo>
                    <a:pt x="81" y="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white">
                    <a:lumMod val="75000"/>
                  </a:prstClr>
                </a:solidFill>
              </a:endParaRPr>
            </a:p>
          </p:txBody>
        </p:sp>
      </p:grpSp>
      <p:sp>
        <p:nvSpPr>
          <p:cNvPr id="56" name="Freeform 3886"/>
          <p:cNvSpPr>
            <a:spLocks noEditPoints="1"/>
          </p:cNvSpPr>
          <p:nvPr/>
        </p:nvSpPr>
        <p:spPr bwMode="auto">
          <a:xfrm>
            <a:off x="3638326" y="4243938"/>
            <a:ext cx="370899" cy="368849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6446739" y="4242775"/>
            <a:ext cx="330646" cy="381192"/>
            <a:chOff x="896938" y="1943100"/>
            <a:chExt cx="249237" cy="287338"/>
          </a:xfrm>
          <a:solidFill>
            <a:srgbClr val="B0F7F4"/>
          </a:solidFill>
          <a:effectLst/>
        </p:grpSpPr>
        <p:sp>
          <p:nvSpPr>
            <p:cNvPr id="58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9231533" y="4319620"/>
            <a:ext cx="347679" cy="267002"/>
            <a:chOff x="1450975" y="2559050"/>
            <a:chExt cx="287338" cy="220663"/>
          </a:xfrm>
          <a:solidFill>
            <a:srgbClr val="B0F7F4"/>
          </a:solidFill>
          <a:effectLst/>
        </p:grpSpPr>
        <p:sp>
          <p:nvSpPr>
            <p:cNvPr id="61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2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66" name="Text Placeholder 2"/>
          <p:cNvSpPr txBox="1">
            <a:spLocks/>
          </p:cNvSpPr>
          <p:nvPr/>
        </p:nvSpPr>
        <p:spPr>
          <a:xfrm>
            <a:off x="1368200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7" name="Text Placeholder 2"/>
          <p:cNvSpPr txBox="1">
            <a:spLocks/>
          </p:cNvSpPr>
          <p:nvPr/>
        </p:nvSpPr>
        <p:spPr>
          <a:xfrm>
            <a:off x="4175595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8" name="Text Placeholder 2"/>
          <p:cNvSpPr txBox="1">
            <a:spLocks/>
          </p:cNvSpPr>
          <p:nvPr/>
        </p:nvSpPr>
        <p:spPr>
          <a:xfrm>
            <a:off x="6982990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69" name="Text Placeholder 2"/>
          <p:cNvSpPr txBox="1">
            <a:spLocks/>
          </p:cNvSpPr>
          <p:nvPr/>
        </p:nvSpPr>
        <p:spPr>
          <a:xfrm>
            <a:off x="9790385" y="4688981"/>
            <a:ext cx="1506366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ts val="1700"/>
              </a:lnSpc>
            </a:pPr>
            <a:r>
              <a:rPr lang="en-US" dirty="0"/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371475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178860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982990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9790385" y="426948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613892" y="3138788"/>
            <a:ext cx="482504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20%</a:t>
            </a:r>
            <a:endParaRPr lang="en-US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121757" y="2984900"/>
            <a:ext cx="75982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2800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40%</a:t>
            </a:r>
            <a:endParaRPr lang="en-US" sz="2800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414751" y="2861789"/>
            <a:ext cx="969817" cy="55399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3600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60%</a:t>
            </a:r>
            <a:endParaRPr lang="en-US" sz="3600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273569" y="2738679"/>
            <a:ext cx="1183017" cy="67710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/>
            <a:r>
              <a:rPr lang="cy-GB" sz="4400" dirty="0">
                <a:solidFill>
                  <a:srgbClr val="F6443B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80%</a:t>
            </a:r>
            <a:endParaRPr lang="en-US" sz="4400" dirty="0">
              <a:solidFill>
                <a:srgbClr val="F6443B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3100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3"/>
          <p:cNvSpPr/>
          <p:nvPr/>
        </p:nvSpPr>
        <p:spPr>
          <a:xfrm rot="18900000">
            <a:off x="5362458" y="1652474"/>
            <a:ext cx="781283" cy="781283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11" r="1082" b="1045"/>
          <a:stretch/>
        </p:blipFill>
        <p:spPr>
          <a:xfrm>
            <a:off x="0" y="0"/>
            <a:ext cx="6096000" cy="6233318"/>
          </a:xfrm>
          <a:custGeom>
            <a:avLst/>
            <a:gdLst>
              <a:gd name="connsiteX0" fmla="*/ 0 w 6096000"/>
              <a:gd name="connsiteY0" fmla="*/ 0 h 6233318"/>
              <a:gd name="connsiteX1" fmla="*/ 4071342 w 6096000"/>
              <a:gd name="connsiteY1" fmla="*/ 0 h 6233318"/>
              <a:gd name="connsiteX2" fmla="*/ 6096000 w 6096000"/>
              <a:gd name="connsiteY2" fmla="*/ 2043514 h 6233318"/>
              <a:gd name="connsiteX3" fmla="*/ 1942974 w 6096000"/>
              <a:gd name="connsiteY3" fmla="*/ 6233318 h 6233318"/>
              <a:gd name="connsiteX4" fmla="*/ 0 w 6096000"/>
              <a:gd name="connsiteY4" fmla="*/ 6233318 h 6233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33318">
                <a:moveTo>
                  <a:pt x="0" y="0"/>
                </a:moveTo>
                <a:lnTo>
                  <a:pt x="4071342" y="0"/>
                </a:lnTo>
                <a:lnTo>
                  <a:pt x="6096000" y="2043514"/>
                </a:lnTo>
                <a:lnTo>
                  <a:pt x="1942974" y="6233318"/>
                </a:lnTo>
                <a:lnTo>
                  <a:pt x="0" y="6233318"/>
                </a:lnTo>
                <a:close/>
              </a:path>
            </a:pathLst>
          </a:custGeom>
        </p:spPr>
      </p:pic>
      <p:sp>
        <p:nvSpPr>
          <p:cNvPr id="16" name="Freeform 9"/>
          <p:cNvSpPr>
            <a:spLocks/>
          </p:cNvSpPr>
          <p:nvPr/>
        </p:nvSpPr>
        <p:spPr bwMode="auto">
          <a:xfrm>
            <a:off x="1" y="0"/>
            <a:ext cx="6096000" cy="6233318"/>
          </a:xfrm>
          <a:custGeom>
            <a:avLst/>
            <a:gdLst>
              <a:gd name="T0" fmla="*/ 4436 w 6642"/>
              <a:gd name="T1" fmla="*/ 0 h 6733"/>
              <a:gd name="T2" fmla="*/ 6642 w 6642"/>
              <a:gd name="T3" fmla="*/ 2207 h 6733"/>
              <a:gd name="T4" fmla="*/ 2117 w 6642"/>
              <a:gd name="T5" fmla="*/ 6733 h 6733"/>
              <a:gd name="T6" fmla="*/ 0 w 6642"/>
              <a:gd name="T7" fmla="*/ 6733 h 6733"/>
              <a:gd name="T8" fmla="*/ 0 w 6642"/>
              <a:gd name="T9" fmla="*/ 0 h 6733"/>
              <a:gd name="T10" fmla="*/ 4436 w 6642"/>
              <a:gd name="T11" fmla="*/ 0 h 6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642" h="6733">
                <a:moveTo>
                  <a:pt x="4436" y="0"/>
                </a:moveTo>
                <a:lnTo>
                  <a:pt x="6642" y="2207"/>
                </a:lnTo>
                <a:lnTo>
                  <a:pt x="2117" y="6733"/>
                </a:lnTo>
                <a:lnTo>
                  <a:pt x="0" y="6733"/>
                </a:lnTo>
                <a:lnTo>
                  <a:pt x="0" y="0"/>
                </a:lnTo>
                <a:lnTo>
                  <a:pt x="4436" y="0"/>
                </a:lnTo>
                <a:close/>
              </a:path>
            </a:pathLst>
          </a:custGeom>
          <a:gradFill flip="none" rotWithShape="1">
            <a:gsLst>
              <a:gs pos="0">
                <a:srgbClr val="0C344C">
                  <a:alpha val="50000"/>
                </a:srgbClr>
              </a:gs>
              <a:gs pos="100000">
                <a:srgbClr val="0C344C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Left Image Slide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515099" y="1642762"/>
            <a:ext cx="4837114" cy="800707"/>
            <a:chOff x="6515099" y="1612228"/>
            <a:chExt cx="4837114" cy="800707"/>
          </a:xfrm>
        </p:grpSpPr>
        <p:sp>
          <p:nvSpPr>
            <p:cNvPr id="22" name="TextBox 25"/>
            <p:cNvSpPr txBox="1"/>
            <p:nvPr/>
          </p:nvSpPr>
          <p:spPr>
            <a:xfrm>
              <a:off x="6515099" y="1612228"/>
              <a:ext cx="2103397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8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654,520,000</a:t>
              </a:r>
            </a:p>
          </p:txBody>
        </p:sp>
        <p:sp>
          <p:nvSpPr>
            <p:cNvPr id="23" name="TextBox 25"/>
            <p:cNvSpPr txBox="1"/>
            <p:nvPr/>
          </p:nvSpPr>
          <p:spPr>
            <a:xfrm>
              <a:off x="6515099" y="2089770"/>
              <a:ext cx="4837114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886032" y="1737360"/>
            <a:ext cx="639692" cy="611510"/>
            <a:chOff x="4833938" y="3983038"/>
            <a:chExt cx="360363" cy="344488"/>
          </a:xfrm>
          <a:solidFill>
            <a:schemeClr val="bg1"/>
          </a:solidFill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833938" y="4179888"/>
              <a:ext cx="74613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916488" y="4194176"/>
              <a:ext cx="277813" cy="133350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037138" y="3983038"/>
              <a:ext cx="104775" cy="106363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4968875" y="4089401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Rectangle: Rounded Corners 73"/>
          <p:cNvSpPr/>
          <p:nvPr/>
        </p:nvSpPr>
        <p:spPr>
          <a:xfrm rot="18900000">
            <a:off x="5334938" y="3643041"/>
            <a:ext cx="453779" cy="453781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50"/>
          <p:cNvSpPr/>
          <p:nvPr/>
        </p:nvSpPr>
        <p:spPr>
          <a:xfrm rot="2700000">
            <a:off x="4886032" y="3524797"/>
            <a:ext cx="690266" cy="690267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: Rounded Corners 73"/>
          <p:cNvSpPr/>
          <p:nvPr/>
        </p:nvSpPr>
        <p:spPr>
          <a:xfrm rot="18900000">
            <a:off x="5334937" y="4837360"/>
            <a:ext cx="453780" cy="453781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50"/>
          <p:cNvSpPr/>
          <p:nvPr/>
        </p:nvSpPr>
        <p:spPr>
          <a:xfrm rot="2700000">
            <a:off x="4886032" y="4719116"/>
            <a:ext cx="690266" cy="690268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25"/>
          <p:cNvSpPr txBox="1"/>
          <p:nvPr/>
        </p:nvSpPr>
        <p:spPr>
          <a:xfrm>
            <a:off x="6096001" y="3766297"/>
            <a:ext cx="1913362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Richard McClintock, a Latin professor at Hampden-Sydney College in Virginia, looked up one.</a:t>
            </a:r>
          </a:p>
        </p:txBody>
      </p:sp>
      <p:sp>
        <p:nvSpPr>
          <p:cNvPr id="45" name="TextBox 25"/>
          <p:cNvSpPr txBox="1"/>
          <p:nvPr/>
        </p:nvSpPr>
        <p:spPr>
          <a:xfrm>
            <a:off x="6096727" y="3482445"/>
            <a:ext cx="145173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77" name="TextBox 25"/>
          <p:cNvSpPr txBox="1"/>
          <p:nvPr/>
        </p:nvSpPr>
        <p:spPr>
          <a:xfrm>
            <a:off x="6096001" y="4963801"/>
            <a:ext cx="1913362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Richard McClintock, a Latin professor at Hampden-Sydney College in Virginia, looked up one.</a:t>
            </a:r>
          </a:p>
        </p:txBody>
      </p:sp>
      <p:sp>
        <p:nvSpPr>
          <p:cNvPr id="78" name="TextBox 25"/>
          <p:cNvSpPr txBox="1"/>
          <p:nvPr/>
        </p:nvSpPr>
        <p:spPr>
          <a:xfrm>
            <a:off x="6096727" y="4679949"/>
            <a:ext cx="145173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86" name="Rectangle: Rounded Corners 73"/>
          <p:cNvSpPr/>
          <p:nvPr/>
        </p:nvSpPr>
        <p:spPr>
          <a:xfrm rot="18900000">
            <a:off x="8677788" y="3643041"/>
            <a:ext cx="453779" cy="453781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: Rounded Corners 50"/>
          <p:cNvSpPr/>
          <p:nvPr/>
        </p:nvSpPr>
        <p:spPr>
          <a:xfrm rot="2700000">
            <a:off x="8228882" y="3524797"/>
            <a:ext cx="690266" cy="690267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tangle: Rounded Corners 73"/>
          <p:cNvSpPr/>
          <p:nvPr/>
        </p:nvSpPr>
        <p:spPr>
          <a:xfrm rot="18900000">
            <a:off x="8677788" y="4837360"/>
            <a:ext cx="453779" cy="453781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: Rounded Corners 50"/>
          <p:cNvSpPr/>
          <p:nvPr/>
        </p:nvSpPr>
        <p:spPr>
          <a:xfrm rot="2700000">
            <a:off x="8228882" y="4719116"/>
            <a:ext cx="690266" cy="690267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TextBox 25"/>
          <p:cNvSpPr txBox="1"/>
          <p:nvPr/>
        </p:nvSpPr>
        <p:spPr>
          <a:xfrm>
            <a:off x="9438851" y="3766297"/>
            <a:ext cx="1913362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Richard McClintock, a Latin professor at Hampden-Sydney College in Virginia, looked up one.</a:t>
            </a:r>
          </a:p>
        </p:txBody>
      </p:sp>
      <p:sp>
        <p:nvSpPr>
          <p:cNvPr id="93" name="TextBox 25"/>
          <p:cNvSpPr txBox="1"/>
          <p:nvPr/>
        </p:nvSpPr>
        <p:spPr>
          <a:xfrm>
            <a:off x="9439577" y="3482445"/>
            <a:ext cx="145173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95" name="TextBox 25"/>
          <p:cNvSpPr txBox="1"/>
          <p:nvPr/>
        </p:nvSpPr>
        <p:spPr>
          <a:xfrm>
            <a:off x="9438851" y="4963801"/>
            <a:ext cx="1913362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Richard McClintock, a Latin professor at Hampden-Sydney College in Virginia, looked up one.</a:t>
            </a:r>
          </a:p>
        </p:txBody>
      </p:sp>
      <p:sp>
        <p:nvSpPr>
          <p:cNvPr id="96" name="TextBox 25"/>
          <p:cNvSpPr txBox="1"/>
          <p:nvPr/>
        </p:nvSpPr>
        <p:spPr>
          <a:xfrm>
            <a:off x="9439577" y="4679949"/>
            <a:ext cx="145173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5083299" y="3722064"/>
            <a:ext cx="295732" cy="295733"/>
            <a:chOff x="5554663" y="2887663"/>
            <a:chExt cx="360362" cy="360363"/>
          </a:xfrm>
          <a:solidFill>
            <a:schemeClr val="bg1"/>
          </a:solidFill>
        </p:grpSpPr>
        <p:sp>
          <p:nvSpPr>
            <p:cNvPr id="98" name="Freeform 152"/>
            <p:cNvSpPr>
              <a:spLocks/>
            </p:cNvSpPr>
            <p:nvPr/>
          </p:nvSpPr>
          <p:spPr bwMode="auto">
            <a:xfrm>
              <a:off x="5784850" y="3052763"/>
              <a:ext cx="130175" cy="150813"/>
            </a:xfrm>
            <a:custGeom>
              <a:avLst/>
              <a:gdLst>
                <a:gd name="T0" fmla="*/ 35 w 35"/>
                <a:gd name="T1" fmla="*/ 37 h 40"/>
                <a:gd name="T2" fmla="*/ 24 w 35"/>
                <a:gd name="T3" fmla="*/ 22 h 40"/>
                <a:gd name="T4" fmla="*/ 29 w 35"/>
                <a:gd name="T5" fmla="*/ 12 h 40"/>
                <a:gd name="T6" fmla="*/ 17 w 35"/>
                <a:gd name="T7" fmla="*/ 0 h 40"/>
                <a:gd name="T8" fmla="*/ 5 w 35"/>
                <a:gd name="T9" fmla="*/ 12 h 40"/>
                <a:gd name="T10" fmla="*/ 10 w 35"/>
                <a:gd name="T11" fmla="*/ 22 h 40"/>
                <a:gd name="T12" fmla="*/ 0 w 35"/>
                <a:gd name="T13" fmla="*/ 32 h 40"/>
                <a:gd name="T14" fmla="*/ 7 w 35"/>
                <a:gd name="T15" fmla="*/ 40 h 40"/>
                <a:gd name="T16" fmla="*/ 33 w 35"/>
                <a:gd name="T17" fmla="*/ 40 h 40"/>
                <a:gd name="T18" fmla="*/ 33 w 35"/>
                <a:gd name="T19" fmla="*/ 40 h 40"/>
                <a:gd name="T20" fmla="*/ 35 w 35"/>
                <a:gd name="T21" fmla="*/ 38 h 40"/>
                <a:gd name="T22" fmla="*/ 35 w 35"/>
                <a:gd name="T23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40">
                  <a:moveTo>
                    <a:pt x="35" y="37"/>
                  </a:moveTo>
                  <a:cubicBezTo>
                    <a:pt x="35" y="30"/>
                    <a:pt x="30" y="24"/>
                    <a:pt x="24" y="22"/>
                  </a:cubicBezTo>
                  <a:cubicBezTo>
                    <a:pt x="27" y="19"/>
                    <a:pt x="29" y="16"/>
                    <a:pt x="29" y="12"/>
                  </a:cubicBezTo>
                  <a:cubicBezTo>
                    <a:pt x="29" y="5"/>
                    <a:pt x="24" y="0"/>
                    <a:pt x="17" y="0"/>
                  </a:cubicBezTo>
                  <a:cubicBezTo>
                    <a:pt x="10" y="0"/>
                    <a:pt x="5" y="5"/>
                    <a:pt x="5" y="12"/>
                  </a:cubicBezTo>
                  <a:cubicBezTo>
                    <a:pt x="5" y="16"/>
                    <a:pt x="7" y="19"/>
                    <a:pt x="10" y="22"/>
                  </a:cubicBezTo>
                  <a:cubicBezTo>
                    <a:pt x="5" y="24"/>
                    <a:pt x="2" y="28"/>
                    <a:pt x="0" y="32"/>
                  </a:cubicBezTo>
                  <a:cubicBezTo>
                    <a:pt x="3" y="34"/>
                    <a:pt x="5" y="37"/>
                    <a:pt x="7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4" y="40"/>
                    <a:pt x="35" y="39"/>
                    <a:pt x="35" y="38"/>
                  </a:cubicBezTo>
                  <a:cubicBezTo>
                    <a:pt x="35" y="38"/>
                    <a:pt x="35" y="38"/>
                    <a:pt x="3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153"/>
            <p:cNvSpPr>
              <a:spLocks/>
            </p:cNvSpPr>
            <p:nvPr/>
          </p:nvSpPr>
          <p:spPr bwMode="auto">
            <a:xfrm>
              <a:off x="5554663" y="3052763"/>
              <a:ext cx="131763" cy="150813"/>
            </a:xfrm>
            <a:custGeom>
              <a:avLst/>
              <a:gdLst>
                <a:gd name="T0" fmla="*/ 35 w 35"/>
                <a:gd name="T1" fmla="*/ 32 h 40"/>
                <a:gd name="T2" fmla="*/ 25 w 35"/>
                <a:gd name="T3" fmla="*/ 22 h 40"/>
                <a:gd name="T4" fmla="*/ 30 w 35"/>
                <a:gd name="T5" fmla="*/ 12 h 40"/>
                <a:gd name="T6" fmla="*/ 18 w 35"/>
                <a:gd name="T7" fmla="*/ 0 h 40"/>
                <a:gd name="T8" fmla="*/ 6 w 35"/>
                <a:gd name="T9" fmla="*/ 12 h 40"/>
                <a:gd name="T10" fmla="*/ 11 w 35"/>
                <a:gd name="T11" fmla="*/ 22 h 40"/>
                <a:gd name="T12" fmla="*/ 0 w 35"/>
                <a:gd name="T13" fmla="*/ 38 h 40"/>
                <a:gd name="T14" fmla="*/ 2 w 35"/>
                <a:gd name="T15" fmla="*/ 40 h 40"/>
                <a:gd name="T16" fmla="*/ 28 w 35"/>
                <a:gd name="T17" fmla="*/ 40 h 40"/>
                <a:gd name="T18" fmla="*/ 35 w 35"/>
                <a:gd name="T19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40">
                  <a:moveTo>
                    <a:pt x="35" y="32"/>
                  </a:moveTo>
                  <a:cubicBezTo>
                    <a:pt x="33" y="27"/>
                    <a:pt x="30" y="24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0" y="37"/>
                    <a:pt x="32" y="34"/>
                    <a:pt x="3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154"/>
            <p:cNvSpPr>
              <a:spLocks/>
            </p:cNvSpPr>
            <p:nvPr/>
          </p:nvSpPr>
          <p:spPr bwMode="auto">
            <a:xfrm>
              <a:off x="5667375" y="3098801"/>
              <a:ext cx="136525" cy="149225"/>
            </a:xfrm>
            <a:custGeom>
              <a:avLst/>
              <a:gdLst>
                <a:gd name="T0" fmla="*/ 36 w 36"/>
                <a:gd name="T1" fmla="*/ 37 h 40"/>
                <a:gd name="T2" fmla="*/ 25 w 36"/>
                <a:gd name="T3" fmla="*/ 22 h 40"/>
                <a:gd name="T4" fmla="*/ 30 w 36"/>
                <a:gd name="T5" fmla="*/ 12 h 40"/>
                <a:gd name="T6" fmla="*/ 18 w 36"/>
                <a:gd name="T7" fmla="*/ 0 h 40"/>
                <a:gd name="T8" fmla="*/ 6 w 36"/>
                <a:gd name="T9" fmla="*/ 12 h 40"/>
                <a:gd name="T10" fmla="*/ 11 w 36"/>
                <a:gd name="T11" fmla="*/ 22 h 40"/>
                <a:gd name="T12" fmla="*/ 0 w 36"/>
                <a:gd name="T13" fmla="*/ 38 h 40"/>
                <a:gd name="T14" fmla="*/ 2 w 36"/>
                <a:gd name="T15" fmla="*/ 40 h 40"/>
                <a:gd name="T16" fmla="*/ 34 w 36"/>
                <a:gd name="T17" fmla="*/ 40 h 40"/>
                <a:gd name="T18" fmla="*/ 34 w 36"/>
                <a:gd name="T19" fmla="*/ 40 h 40"/>
                <a:gd name="T20" fmla="*/ 36 w 36"/>
                <a:gd name="T21" fmla="*/ 38 h 40"/>
                <a:gd name="T22" fmla="*/ 36 w 36"/>
                <a:gd name="T23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40">
                  <a:moveTo>
                    <a:pt x="36" y="37"/>
                  </a:moveTo>
                  <a:cubicBezTo>
                    <a:pt x="36" y="30"/>
                    <a:pt x="31" y="24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4" y="24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5" y="40"/>
                    <a:pt x="36" y="39"/>
                    <a:pt x="36" y="38"/>
                  </a:cubicBezTo>
                  <a:cubicBezTo>
                    <a:pt x="36" y="38"/>
                    <a:pt x="36" y="38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55"/>
            <p:cNvSpPr>
              <a:spLocks noEditPoints="1"/>
            </p:cNvSpPr>
            <p:nvPr/>
          </p:nvSpPr>
          <p:spPr bwMode="auto">
            <a:xfrm>
              <a:off x="5630863" y="2887663"/>
              <a:ext cx="209550" cy="195263"/>
            </a:xfrm>
            <a:custGeom>
              <a:avLst/>
              <a:gdLst>
                <a:gd name="T0" fmla="*/ 50 w 56"/>
                <a:gd name="T1" fmla="*/ 0 h 52"/>
                <a:gd name="T2" fmla="*/ 6 w 56"/>
                <a:gd name="T3" fmla="*/ 0 h 52"/>
                <a:gd name="T4" fmla="*/ 0 w 56"/>
                <a:gd name="T5" fmla="*/ 6 h 52"/>
                <a:gd name="T6" fmla="*/ 0 w 56"/>
                <a:gd name="T7" fmla="*/ 34 h 52"/>
                <a:gd name="T8" fmla="*/ 6 w 56"/>
                <a:gd name="T9" fmla="*/ 40 h 52"/>
                <a:gd name="T10" fmla="*/ 9 w 56"/>
                <a:gd name="T11" fmla="*/ 40 h 52"/>
                <a:gd name="T12" fmla="*/ 21 w 56"/>
                <a:gd name="T13" fmla="*/ 51 h 52"/>
                <a:gd name="T14" fmla="*/ 22 w 56"/>
                <a:gd name="T15" fmla="*/ 52 h 52"/>
                <a:gd name="T16" fmla="*/ 23 w 56"/>
                <a:gd name="T17" fmla="*/ 52 h 52"/>
                <a:gd name="T18" fmla="*/ 24 w 56"/>
                <a:gd name="T19" fmla="*/ 50 h 52"/>
                <a:gd name="T20" fmla="*/ 24 w 56"/>
                <a:gd name="T21" fmla="*/ 40 h 52"/>
                <a:gd name="T22" fmla="*/ 50 w 56"/>
                <a:gd name="T23" fmla="*/ 40 h 52"/>
                <a:gd name="T24" fmla="*/ 56 w 56"/>
                <a:gd name="T25" fmla="*/ 34 h 52"/>
                <a:gd name="T26" fmla="*/ 56 w 56"/>
                <a:gd name="T27" fmla="*/ 6 h 52"/>
                <a:gd name="T28" fmla="*/ 50 w 56"/>
                <a:gd name="T29" fmla="*/ 0 h 52"/>
                <a:gd name="T30" fmla="*/ 42 w 56"/>
                <a:gd name="T31" fmla="*/ 28 h 52"/>
                <a:gd name="T32" fmla="*/ 14 w 56"/>
                <a:gd name="T33" fmla="*/ 28 h 52"/>
                <a:gd name="T34" fmla="*/ 12 w 56"/>
                <a:gd name="T35" fmla="*/ 26 h 52"/>
                <a:gd name="T36" fmla="*/ 14 w 56"/>
                <a:gd name="T37" fmla="*/ 24 h 52"/>
                <a:gd name="T38" fmla="*/ 42 w 56"/>
                <a:gd name="T39" fmla="*/ 24 h 52"/>
                <a:gd name="T40" fmla="*/ 44 w 56"/>
                <a:gd name="T41" fmla="*/ 26 h 52"/>
                <a:gd name="T42" fmla="*/ 42 w 56"/>
                <a:gd name="T43" fmla="*/ 28 h 52"/>
                <a:gd name="T44" fmla="*/ 42 w 56"/>
                <a:gd name="T45" fmla="*/ 20 h 52"/>
                <a:gd name="T46" fmla="*/ 14 w 56"/>
                <a:gd name="T47" fmla="*/ 20 h 52"/>
                <a:gd name="T48" fmla="*/ 12 w 56"/>
                <a:gd name="T49" fmla="*/ 18 h 52"/>
                <a:gd name="T50" fmla="*/ 14 w 56"/>
                <a:gd name="T51" fmla="*/ 16 h 52"/>
                <a:gd name="T52" fmla="*/ 42 w 56"/>
                <a:gd name="T53" fmla="*/ 16 h 52"/>
                <a:gd name="T54" fmla="*/ 44 w 56"/>
                <a:gd name="T55" fmla="*/ 18 h 52"/>
                <a:gd name="T56" fmla="*/ 42 w 56"/>
                <a:gd name="T57" fmla="*/ 20 h 52"/>
                <a:gd name="T58" fmla="*/ 42 w 56"/>
                <a:gd name="T59" fmla="*/ 12 h 52"/>
                <a:gd name="T60" fmla="*/ 14 w 56"/>
                <a:gd name="T61" fmla="*/ 12 h 52"/>
                <a:gd name="T62" fmla="*/ 12 w 56"/>
                <a:gd name="T63" fmla="*/ 10 h 52"/>
                <a:gd name="T64" fmla="*/ 14 w 56"/>
                <a:gd name="T65" fmla="*/ 8 h 52"/>
                <a:gd name="T66" fmla="*/ 42 w 56"/>
                <a:gd name="T67" fmla="*/ 8 h 52"/>
                <a:gd name="T68" fmla="*/ 44 w 56"/>
                <a:gd name="T69" fmla="*/ 10 h 52"/>
                <a:gd name="T70" fmla="*/ 42 w 56"/>
                <a:gd name="T71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" h="52">
                  <a:moveTo>
                    <a:pt x="5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7"/>
                    <a:pt x="3" y="40"/>
                    <a:pt x="6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52"/>
                    <a:pt x="21" y="52"/>
                    <a:pt x="22" y="52"/>
                  </a:cubicBezTo>
                  <a:cubicBezTo>
                    <a:pt x="22" y="52"/>
                    <a:pt x="23" y="52"/>
                    <a:pt x="23" y="52"/>
                  </a:cubicBezTo>
                  <a:cubicBezTo>
                    <a:pt x="24" y="52"/>
                    <a:pt x="24" y="51"/>
                    <a:pt x="24" y="5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3" y="40"/>
                    <a:pt x="56" y="37"/>
                    <a:pt x="56" y="34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3"/>
                    <a:pt x="53" y="0"/>
                    <a:pt x="50" y="0"/>
                  </a:cubicBezTo>
                  <a:close/>
                  <a:moveTo>
                    <a:pt x="42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cubicBezTo>
                    <a:pt x="44" y="27"/>
                    <a:pt x="43" y="28"/>
                    <a:pt x="42" y="28"/>
                  </a:cubicBezTo>
                  <a:close/>
                  <a:moveTo>
                    <a:pt x="42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6"/>
                    <a:pt x="44" y="17"/>
                    <a:pt x="44" y="18"/>
                  </a:cubicBezTo>
                  <a:cubicBezTo>
                    <a:pt x="44" y="19"/>
                    <a:pt x="43" y="20"/>
                    <a:pt x="42" y="20"/>
                  </a:cubicBezTo>
                  <a:close/>
                  <a:moveTo>
                    <a:pt x="42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1"/>
                    <a:pt x="12" y="10"/>
                  </a:cubicBezTo>
                  <a:cubicBezTo>
                    <a:pt x="12" y="9"/>
                    <a:pt x="13" y="8"/>
                    <a:pt x="14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8"/>
                    <a:pt x="44" y="9"/>
                    <a:pt x="44" y="10"/>
                  </a:cubicBezTo>
                  <a:cubicBezTo>
                    <a:pt x="44" y="11"/>
                    <a:pt x="43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5083299" y="4970035"/>
            <a:ext cx="295733" cy="270980"/>
            <a:chOff x="4113213" y="2165351"/>
            <a:chExt cx="360363" cy="330200"/>
          </a:xfrm>
          <a:solidFill>
            <a:schemeClr val="bg1"/>
          </a:solidFill>
        </p:grpSpPr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4127500" y="2165351"/>
              <a:ext cx="300038" cy="123825"/>
            </a:xfrm>
            <a:custGeom>
              <a:avLst/>
              <a:gdLst>
                <a:gd name="T0" fmla="*/ 40 w 80"/>
                <a:gd name="T1" fmla="*/ 33 h 33"/>
                <a:gd name="T2" fmla="*/ 80 w 80"/>
                <a:gd name="T3" fmla="*/ 1 h 33"/>
                <a:gd name="T4" fmla="*/ 76 w 80"/>
                <a:gd name="T5" fmla="*/ 0 h 33"/>
                <a:gd name="T6" fmla="*/ 4 w 80"/>
                <a:gd name="T7" fmla="*/ 0 h 33"/>
                <a:gd name="T8" fmla="*/ 0 w 80"/>
                <a:gd name="T9" fmla="*/ 1 h 33"/>
                <a:gd name="T10" fmla="*/ 40 w 80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3">
                  <a:moveTo>
                    <a:pt x="40" y="33"/>
                  </a:moveTo>
                  <a:cubicBezTo>
                    <a:pt x="80" y="1"/>
                    <a:pt x="80" y="1"/>
                    <a:pt x="80" y="1"/>
                  </a:cubicBezTo>
                  <a:cubicBezTo>
                    <a:pt x="79" y="0"/>
                    <a:pt x="78" y="0"/>
                    <a:pt x="7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1"/>
                  </a:cubicBezTo>
                  <a:lnTo>
                    <a:pt x="4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4113213" y="2179638"/>
              <a:ext cx="330200" cy="211138"/>
            </a:xfrm>
            <a:custGeom>
              <a:avLst/>
              <a:gdLst>
                <a:gd name="T0" fmla="*/ 36 w 88"/>
                <a:gd name="T1" fmla="*/ 50 h 56"/>
                <a:gd name="T2" fmla="*/ 42 w 88"/>
                <a:gd name="T3" fmla="*/ 44 h 56"/>
                <a:gd name="T4" fmla="*/ 64 w 88"/>
                <a:gd name="T5" fmla="*/ 44 h 56"/>
                <a:gd name="T6" fmla="*/ 64 w 88"/>
                <a:gd name="T7" fmla="*/ 38 h 56"/>
                <a:gd name="T8" fmla="*/ 68 w 88"/>
                <a:gd name="T9" fmla="*/ 33 h 56"/>
                <a:gd name="T10" fmla="*/ 74 w 88"/>
                <a:gd name="T11" fmla="*/ 34 h 56"/>
                <a:gd name="T12" fmla="*/ 88 w 88"/>
                <a:gd name="T13" fmla="*/ 46 h 56"/>
                <a:gd name="T14" fmla="*/ 88 w 88"/>
                <a:gd name="T15" fmla="*/ 4 h 56"/>
                <a:gd name="T16" fmla="*/ 87 w 88"/>
                <a:gd name="T17" fmla="*/ 0 h 56"/>
                <a:gd name="T18" fmla="*/ 45 w 88"/>
                <a:gd name="T19" fmla="*/ 34 h 56"/>
                <a:gd name="T20" fmla="*/ 44 w 88"/>
                <a:gd name="T21" fmla="*/ 34 h 56"/>
                <a:gd name="T22" fmla="*/ 43 w 88"/>
                <a:gd name="T23" fmla="*/ 34 h 56"/>
                <a:gd name="T24" fmla="*/ 1 w 88"/>
                <a:gd name="T25" fmla="*/ 0 h 56"/>
                <a:gd name="T26" fmla="*/ 0 w 88"/>
                <a:gd name="T27" fmla="*/ 4 h 56"/>
                <a:gd name="T28" fmla="*/ 0 w 88"/>
                <a:gd name="T29" fmla="*/ 48 h 56"/>
                <a:gd name="T30" fmla="*/ 8 w 88"/>
                <a:gd name="T31" fmla="*/ 56 h 56"/>
                <a:gd name="T32" fmla="*/ 36 w 88"/>
                <a:gd name="T33" fmla="*/ 56 h 56"/>
                <a:gd name="T34" fmla="*/ 36 w 88"/>
                <a:gd name="T35" fmla="*/ 5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6">
                  <a:moveTo>
                    <a:pt x="36" y="50"/>
                  </a:moveTo>
                  <a:cubicBezTo>
                    <a:pt x="36" y="47"/>
                    <a:pt x="39" y="44"/>
                    <a:pt x="42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6"/>
                    <a:pt x="65" y="33"/>
                    <a:pt x="68" y="33"/>
                  </a:cubicBezTo>
                  <a:cubicBezTo>
                    <a:pt x="70" y="32"/>
                    <a:pt x="72" y="32"/>
                    <a:pt x="74" y="34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3"/>
                    <a:pt x="88" y="1"/>
                    <a:pt x="87" y="0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4" y="34"/>
                    <a:pt x="44" y="34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4" y="56"/>
                    <a:pt x="8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4262438" y="2316163"/>
              <a:ext cx="211138" cy="179388"/>
            </a:xfrm>
            <a:custGeom>
              <a:avLst/>
              <a:gdLst>
                <a:gd name="T0" fmla="*/ 55 w 56"/>
                <a:gd name="T1" fmla="*/ 23 h 48"/>
                <a:gd name="T2" fmla="*/ 31 w 56"/>
                <a:gd name="T3" fmla="*/ 1 h 48"/>
                <a:gd name="T4" fmla="*/ 29 w 56"/>
                <a:gd name="T5" fmla="*/ 0 h 48"/>
                <a:gd name="T6" fmla="*/ 28 w 56"/>
                <a:gd name="T7" fmla="*/ 2 h 48"/>
                <a:gd name="T8" fmla="*/ 28 w 56"/>
                <a:gd name="T9" fmla="*/ 12 h 48"/>
                <a:gd name="T10" fmla="*/ 2 w 56"/>
                <a:gd name="T11" fmla="*/ 12 h 48"/>
                <a:gd name="T12" fmla="*/ 0 w 56"/>
                <a:gd name="T13" fmla="*/ 14 h 48"/>
                <a:gd name="T14" fmla="*/ 0 w 56"/>
                <a:gd name="T15" fmla="*/ 34 h 48"/>
                <a:gd name="T16" fmla="*/ 2 w 56"/>
                <a:gd name="T17" fmla="*/ 36 h 48"/>
                <a:gd name="T18" fmla="*/ 28 w 56"/>
                <a:gd name="T19" fmla="*/ 36 h 48"/>
                <a:gd name="T20" fmla="*/ 28 w 56"/>
                <a:gd name="T21" fmla="*/ 46 h 48"/>
                <a:gd name="T22" fmla="*/ 29 w 56"/>
                <a:gd name="T23" fmla="*/ 48 h 48"/>
                <a:gd name="T24" fmla="*/ 30 w 56"/>
                <a:gd name="T25" fmla="*/ 48 h 48"/>
                <a:gd name="T26" fmla="*/ 31 w 56"/>
                <a:gd name="T27" fmla="*/ 47 h 48"/>
                <a:gd name="T28" fmla="*/ 55 w 56"/>
                <a:gd name="T29" fmla="*/ 25 h 48"/>
                <a:gd name="T30" fmla="*/ 56 w 56"/>
                <a:gd name="T31" fmla="*/ 24 h 48"/>
                <a:gd name="T32" fmla="*/ 55 w 56"/>
                <a:gd name="T33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48">
                  <a:moveTo>
                    <a:pt x="55" y="23"/>
                  </a:move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0" y="0"/>
                    <a:pt x="29" y="0"/>
                  </a:cubicBezTo>
                  <a:cubicBezTo>
                    <a:pt x="28" y="0"/>
                    <a:pt x="28" y="1"/>
                    <a:pt x="28" y="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3"/>
                    <a:pt x="0" y="1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7"/>
                    <a:pt x="28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ubicBezTo>
                    <a:pt x="30" y="48"/>
                    <a:pt x="31" y="48"/>
                    <a:pt x="31" y="47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6" y="25"/>
                    <a:pt x="56" y="25"/>
                    <a:pt x="56" y="24"/>
                  </a:cubicBezTo>
                  <a:cubicBezTo>
                    <a:pt x="56" y="23"/>
                    <a:pt x="56" y="23"/>
                    <a:pt x="5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6" name="Freeform 105"/>
          <p:cNvSpPr>
            <a:spLocks noEditPoints="1"/>
          </p:cNvSpPr>
          <p:nvPr/>
        </p:nvSpPr>
        <p:spPr bwMode="auto">
          <a:xfrm>
            <a:off x="8425497" y="3717504"/>
            <a:ext cx="297036" cy="304853"/>
          </a:xfrm>
          <a:custGeom>
            <a:avLst/>
            <a:gdLst>
              <a:gd name="T0" fmla="*/ 82 w 96"/>
              <a:gd name="T1" fmla="*/ 0 h 96"/>
              <a:gd name="T2" fmla="*/ 14 w 96"/>
              <a:gd name="T3" fmla="*/ 0 h 96"/>
              <a:gd name="T4" fmla="*/ 0 w 96"/>
              <a:gd name="T5" fmla="*/ 14 h 96"/>
              <a:gd name="T6" fmla="*/ 0 w 96"/>
              <a:gd name="T7" fmla="*/ 82 h 96"/>
              <a:gd name="T8" fmla="*/ 14 w 96"/>
              <a:gd name="T9" fmla="*/ 96 h 96"/>
              <a:gd name="T10" fmla="*/ 82 w 96"/>
              <a:gd name="T11" fmla="*/ 96 h 96"/>
              <a:gd name="T12" fmla="*/ 96 w 96"/>
              <a:gd name="T13" fmla="*/ 82 h 96"/>
              <a:gd name="T14" fmla="*/ 96 w 96"/>
              <a:gd name="T15" fmla="*/ 14 h 96"/>
              <a:gd name="T16" fmla="*/ 82 w 96"/>
              <a:gd name="T17" fmla="*/ 0 h 96"/>
              <a:gd name="T18" fmla="*/ 76 w 96"/>
              <a:gd name="T19" fmla="*/ 62 h 96"/>
              <a:gd name="T20" fmla="*/ 75 w 96"/>
              <a:gd name="T21" fmla="*/ 64 h 96"/>
              <a:gd name="T22" fmla="*/ 73 w 96"/>
              <a:gd name="T23" fmla="*/ 64 h 96"/>
              <a:gd name="T24" fmla="*/ 60 w 96"/>
              <a:gd name="T25" fmla="*/ 56 h 96"/>
              <a:gd name="T26" fmla="*/ 60 w 96"/>
              <a:gd name="T27" fmla="*/ 66 h 96"/>
              <a:gd name="T28" fmla="*/ 58 w 96"/>
              <a:gd name="T29" fmla="*/ 68 h 96"/>
              <a:gd name="T30" fmla="*/ 22 w 96"/>
              <a:gd name="T31" fmla="*/ 68 h 96"/>
              <a:gd name="T32" fmla="*/ 20 w 96"/>
              <a:gd name="T33" fmla="*/ 66 h 96"/>
              <a:gd name="T34" fmla="*/ 20 w 96"/>
              <a:gd name="T35" fmla="*/ 30 h 96"/>
              <a:gd name="T36" fmla="*/ 22 w 96"/>
              <a:gd name="T37" fmla="*/ 28 h 96"/>
              <a:gd name="T38" fmla="*/ 58 w 96"/>
              <a:gd name="T39" fmla="*/ 28 h 96"/>
              <a:gd name="T40" fmla="*/ 60 w 96"/>
              <a:gd name="T41" fmla="*/ 30 h 96"/>
              <a:gd name="T42" fmla="*/ 60 w 96"/>
              <a:gd name="T43" fmla="*/ 40 h 96"/>
              <a:gd name="T44" fmla="*/ 73 w 96"/>
              <a:gd name="T45" fmla="*/ 32 h 96"/>
              <a:gd name="T46" fmla="*/ 75 w 96"/>
              <a:gd name="T47" fmla="*/ 32 h 96"/>
              <a:gd name="T48" fmla="*/ 76 w 96"/>
              <a:gd name="T49" fmla="*/ 34 h 96"/>
              <a:gd name="T50" fmla="*/ 76 w 96"/>
              <a:gd name="T51" fmla="*/ 6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6" h="96">
                <a:moveTo>
                  <a:pt x="82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6" y="96"/>
                  <a:pt x="14" y="96"/>
                </a:cubicBezTo>
                <a:cubicBezTo>
                  <a:pt x="82" y="96"/>
                  <a:pt x="82" y="96"/>
                  <a:pt x="82" y="96"/>
                </a:cubicBezTo>
                <a:cubicBezTo>
                  <a:pt x="90" y="96"/>
                  <a:pt x="96" y="90"/>
                  <a:pt x="96" y="82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6"/>
                  <a:pt x="90" y="0"/>
                  <a:pt x="82" y="0"/>
                </a:cubicBezTo>
                <a:close/>
                <a:moveTo>
                  <a:pt x="76" y="62"/>
                </a:moveTo>
                <a:cubicBezTo>
                  <a:pt x="76" y="63"/>
                  <a:pt x="76" y="63"/>
                  <a:pt x="75" y="64"/>
                </a:cubicBezTo>
                <a:cubicBezTo>
                  <a:pt x="74" y="64"/>
                  <a:pt x="74" y="64"/>
                  <a:pt x="73" y="64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66"/>
                  <a:pt x="60" y="66"/>
                  <a:pt x="60" y="66"/>
                </a:cubicBezTo>
                <a:cubicBezTo>
                  <a:pt x="60" y="67"/>
                  <a:pt x="59" y="68"/>
                  <a:pt x="58" y="68"/>
                </a:cubicBezTo>
                <a:cubicBezTo>
                  <a:pt x="22" y="68"/>
                  <a:pt x="22" y="68"/>
                  <a:pt x="22" y="68"/>
                </a:cubicBezTo>
                <a:cubicBezTo>
                  <a:pt x="21" y="68"/>
                  <a:pt x="20" y="67"/>
                  <a:pt x="20" y="66"/>
                </a:cubicBezTo>
                <a:cubicBezTo>
                  <a:pt x="20" y="30"/>
                  <a:pt x="20" y="30"/>
                  <a:pt x="20" y="30"/>
                </a:cubicBezTo>
                <a:cubicBezTo>
                  <a:pt x="20" y="29"/>
                  <a:pt x="21" y="28"/>
                  <a:pt x="22" y="28"/>
                </a:cubicBezTo>
                <a:cubicBezTo>
                  <a:pt x="58" y="28"/>
                  <a:pt x="58" y="28"/>
                  <a:pt x="58" y="28"/>
                </a:cubicBezTo>
                <a:cubicBezTo>
                  <a:pt x="59" y="28"/>
                  <a:pt x="60" y="29"/>
                  <a:pt x="60" y="30"/>
                </a:cubicBezTo>
                <a:cubicBezTo>
                  <a:pt x="60" y="40"/>
                  <a:pt x="60" y="40"/>
                  <a:pt x="60" y="40"/>
                </a:cubicBezTo>
                <a:cubicBezTo>
                  <a:pt x="73" y="32"/>
                  <a:pt x="73" y="32"/>
                  <a:pt x="73" y="32"/>
                </a:cubicBezTo>
                <a:cubicBezTo>
                  <a:pt x="74" y="32"/>
                  <a:pt x="74" y="32"/>
                  <a:pt x="75" y="32"/>
                </a:cubicBezTo>
                <a:cubicBezTo>
                  <a:pt x="76" y="33"/>
                  <a:pt x="76" y="33"/>
                  <a:pt x="76" y="34"/>
                </a:cubicBezTo>
                <a:lnTo>
                  <a:pt x="76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07" name="Group 106"/>
          <p:cNvGrpSpPr/>
          <p:nvPr/>
        </p:nvGrpSpPr>
        <p:grpSpPr>
          <a:xfrm>
            <a:off x="8437874" y="4916383"/>
            <a:ext cx="272283" cy="295733"/>
            <a:chOff x="3421063" y="2887663"/>
            <a:chExt cx="331788" cy="360363"/>
          </a:xfrm>
          <a:solidFill>
            <a:schemeClr val="bg1"/>
          </a:solidFill>
        </p:grpSpPr>
        <p:sp>
          <p:nvSpPr>
            <p:cNvPr id="108" name="Freeform 211"/>
            <p:cNvSpPr>
              <a:spLocks noEditPoints="1"/>
            </p:cNvSpPr>
            <p:nvPr/>
          </p:nvSpPr>
          <p:spPr bwMode="auto">
            <a:xfrm>
              <a:off x="3586163" y="3082926"/>
              <a:ext cx="166688" cy="165100"/>
            </a:xfrm>
            <a:custGeom>
              <a:avLst/>
              <a:gdLst>
                <a:gd name="T0" fmla="*/ 43 w 44"/>
                <a:gd name="T1" fmla="*/ 40 h 44"/>
                <a:gd name="T2" fmla="*/ 31 w 44"/>
                <a:gd name="T3" fmla="*/ 28 h 44"/>
                <a:gd name="T4" fmla="*/ 34 w 44"/>
                <a:gd name="T5" fmla="*/ 17 h 44"/>
                <a:gd name="T6" fmla="*/ 17 w 44"/>
                <a:gd name="T7" fmla="*/ 0 h 44"/>
                <a:gd name="T8" fmla="*/ 0 w 44"/>
                <a:gd name="T9" fmla="*/ 17 h 44"/>
                <a:gd name="T10" fmla="*/ 17 w 44"/>
                <a:gd name="T11" fmla="*/ 34 h 44"/>
                <a:gd name="T12" fmla="*/ 28 w 44"/>
                <a:gd name="T13" fmla="*/ 30 h 44"/>
                <a:gd name="T14" fmla="*/ 41 w 44"/>
                <a:gd name="T15" fmla="*/ 43 h 44"/>
                <a:gd name="T16" fmla="*/ 42 w 44"/>
                <a:gd name="T17" fmla="*/ 44 h 44"/>
                <a:gd name="T18" fmla="*/ 43 w 44"/>
                <a:gd name="T19" fmla="*/ 43 h 44"/>
                <a:gd name="T20" fmla="*/ 43 w 44"/>
                <a:gd name="T21" fmla="*/ 40 h 44"/>
                <a:gd name="T22" fmla="*/ 4 w 44"/>
                <a:gd name="T23" fmla="*/ 17 h 44"/>
                <a:gd name="T24" fmla="*/ 17 w 44"/>
                <a:gd name="T25" fmla="*/ 4 h 44"/>
                <a:gd name="T26" fmla="*/ 30 w 44"/>
                <a:gd name="T27" fmla="*/ 17 h 44"/>
                <a:gd name="T28" fmla="*/ 17 w 44"/>
                <a:gd name="T29" fmla="*/ 30 h 44"/>
                <a:gd name="T30" fmla="*/ 4 w 44"/>
                <a:gd name="T31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4">
                  <a:moveTo>
                    <a:pt x="43" y="40"/>
                  </a:moveTo>
                  <a:cubicBezTo>
                    <a:pt x="31" y="28"/>
                    <a:pt x="31" y="28"/>
                    <a:pt x="31" y="28"/>
                  </a:cubicBezTo>
                  <a:cubicBezTo>
                    <a:pt x="33" y="25"/>
                    <a:pt x="34" y="21"/>
                    <a:pt x="34" y="17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4"/>
                    <a:pt x="17" y="34"/>
                  </a:cubicBezTo>
                  <a:cubicBezTo>
                    <a:pt x="21" y="34"/>
                    <a:pt x="25" y="33"/>
                    <a:pt x="28" y="30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4"/>
                    <a:pt x="41" y="44"/>
                    <a:pt x="42" y="44"/>
                  </a:cubicBezTo>
                  <a:cubicBezTo>
                    <a:pt x="43" y="44"/>
                    <a:pt x="43" y="44"/>
                    <a:pt x="43" y="43"/>
                  </a:cubicBezTo>
                  <a:cubicBezTo>
                    <a:pt x="44" y="42"/>
                    <a:pt x="44" y="41"/>
                    <a:pt x="43" y="40"/>
                  </a:cubicBezTo>
                  <a:close/>
                  <a:moveTo>
                    <a:pt x="4" y="17"/>
                  </a:moveTo>
                  <a:cubicBezTo>
                    <a:pt x="4" y="10"/>
                    <a:pt x="10" y="4"/>
                    <a:pt x="17" y="4"/>
                  </a:cubicBezTo>
                  <a:cubicBezTo>
                    <a:pt x="25" y="4"/>
                    <a:pt x="30" y="10"/>
                    <a:pt x="30" y="17"/>
                  </a:cubicBezTo>
                  <a:cubicBezTo>
                    <a:pt x="30" y="24"/>
                    <a:pt x="25" y="30"/>
                    <a:pt x="17" y="30"/>
                  </a:cubicBezTo>
                  <a:cubicBezTo>
                    <a:pt x="10" y="30"/>
                    <a:pt x="4" y="24"/>
                    <a:pt x="4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12"/>
            <p:cNvSpPr>
              <a:spLocks/>
            </p:cNvSpPr>
            <p:nvPr/>
          </p:nvSpPr>
          <p:spPr bwMode="auto">
            <a:xfrm>
              <a:off x="3451225" y="2917826"/>
              <a:ext cx="255588" cy="14288"/>
            </a:xfrm>
            <a:custGeom>
              <a:avLst/>
              <a:gdLst>
                <a:gd name="T0" fmla="*/ 2 w 68"/>
                <a:gd name="T1" fmla="*/ 0 h 4"/>
                <a:gd name="T2" fmla="*/ 0 w 68"/>
                <a:gd name="T3" fmla="*/ 2 h 4"/>
                <a:gd name="T4" fmla="*/ 2 w 68"/>
                <a:gd name="T5" fmla="*/ 4 h 4"/>
                <a:gd name="T6" fmla="*/ 66 w 68"/>
                <a:gd name="T7" fmla="*/ 4 h 4"/>
                <a:gd name="T8" fmla="*/ 68 w 68"/>
                <a:gd name="T9" fmla="*/ 2 h 4"/>
                <a:gd name="T10" fmla="*/ 66 w 68"/>
                <a:gd name="T11" fmla="*/ 0 h 4"/>
                <a:gd name="T12" fmla="*/ 2 w 6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7" y="4"/>
                    <a:pt x="68" y="3"/>
                    <a:pt x="68" y="2"/>
                  </a:cubicBezTo>
                  <a:cubicBezTo>
                    <a:pt x="68" y="1"/>
                    <a:pt x="67" y="0"/>
                    <a:pt x="66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213"/>
            <p:cNvSpPr>
              <a:spLocks/>
            </p:cNvSpPr>
            <p:nvPr/>
          </p:nvSpPr>
          <p:spPr bwMode="auto">
            <a:xfrm>
              <a:off x="3722688" y="3184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214"/>
            <p:cNvSpPr>
              <a:spLocks/>
            </p:cNvSpPr>
            <p:nvPr/>
          </p:nvSpPr>
          <p:spPr bwMode="auto">
            <a:xfrm>
              <a:off x="3421063" y="2887663"/>
              <a:ext cx="301625" cy="360363"/>
            </a:xfrm>
            <a:custGeom>
              <a:avLst/>
              <a:gdLst>
                <a:gd name="T0" fmla="*/ 71 w 80"/>
                <a:gd name="T1" fmla="*/ 88 h 96"/>
                <a:gd name="T2" fmla="*/ 61 w 80"/>
                <a:gd name="T3" fmla="*/ 90 h 96"/>
                <a:gd name="T4" fmla="*/ 40 w 80"/>
                <a:gd name="T5" fmla="*/ 69 h 96"/>
                <a:gd name="T6" fmla="*/ 61 w 80"/>
                <a:gd name="T7" fmla="*/ 48 h 96"/>
                <a:gd name="T8" fmla="*/ 80 w 80"/>
                <a:gd name="T9" fmla="*/ 59 h 96"/>
                <a:gd name="T10" fmla="*/ 80 w 80"/>
                <a:gd name="T11" fmla="*/ 18 h 96"/>
                <a:gd name="T12" fmla="*/ 78 w 80"/>
                <a:gd name="T13" fmla="*/ 16 h 96"/>
                <a:gd name="T14" fmla="*/ 10 w 80"/>
                <a:gd name="T15" fmla="*/ 16 h 96"/>
                <a:gd name="T16" fmla="*/ 4 w 80"/>
                <a:gd name="T17" fmla="*/ 10 h 96"/>
                <a:gd name="T18" fmla="*/ 10 w 80"/>
                <a:gd name="T19" fmla="*/ 4 h 96"/>
                <a:gd name="T20" fmla="*/ 78 w 80"/>
                <a:gd name="T21" fmla="*/ 4 h 96"/>
                <a:gd name="T22" fmla="*/ 80 w 80"/>
                <a:gd name="T23" fmla="*/ 2 h 96"/>
                <a:gd name="T24" fmla="*/ 78 w 80"/>
                <a:gd name="T25" fmla="*/ 0 h 96"/>
                <a:gd name="T26" fmla="*/ 10 w 80"/>
                <a:gd name="T27" fmla="*/ 0 h 96"/>
                <a:gd name="T28" fmla="*/ 0 w 80"/>
                <a:gd name="T29" fmla="*/ 10 h 96"/>
                <a:gd name="T30" fmla="*/ 0 w 80"/>
                <a:gd name="T31" fmla="*/ 86 h 96"/>
                <a:gd name="T32" fmla="*/ 10 w 80"/>
                <a:gd name="T33" fmla="*/ 96 h 96"/>
                <a:gd name="T34" fmla="*/ 78 w 80"/>
                <a:gd name="T35" fmla="*/ 96 h 96"/>
                <a:gd name="T36" fmla="*/ 79 w 80"/>
                <a:gd name="T37" fmla="*/ 96 h 96"/>
                <a:gd name="T38" fmla="*/ 71 w 80"/>
                <a:gd name="T39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96">
                  <a:moveTo>
                    <a:pt x="71" y="88"/>
                  </a:moveTo>
                  <a:cubicBezTo>
                    <a:pt x="68" y="89"/>
                    <a:pt x="65" y="90"/>
                    <a:pt x="61" y="90"/>
                  </a:cubicBezTo>
                  <a:cubicBezTo>
                    <a:pt x="50" y="90"/>
                    <a:pt x="40" y="81"/>
                    <a:pt x="40" y="69"/>
                  </a:cubicBezTo>
                  <a:cubicBezTo>
                    <a:pt x="40" y="57"/>
                    <a:pt x="50" y="48"/>
                    <a:pt x="61" y="48"/>
                  </a:cubicBezTo>
                  <a:cubicBezTo>
                    <a:pt x="69" y="48"/>
                    <a:pt x="76" y="53"/>
                    <a:pt x="80" y="5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7"/>
                    <a:pt x="79" y="16"/>
                    <a:pt x="78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9" y="4"/>
                    <a:pt x="80" y="3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2"/>
                    <a:pt x="4" y="96"/>
                    <a:pt x="10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9" y="96"/>
                    <a:pt x="79" y="96"/>
                  </a:cubicBezTo>
                  <a:lnTo>
                    <a:pt x="7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2" name="TextBox 25"/>
          <p:cNvSpPr txBox="1"/>
          <p:nvPr/>
        </p:nvSpPr>
        <p:spPr>
          <a:xfrm>
            <a:off x="839787" y="1720546"/>
            <a:ext cx="3501328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 Various versions have evolved.</a:t>
            </a:r>
          </a:p>
        </p:txBody>
      </p:sp>
    </p:spTree>
    <p:extLst>
      <p:ext uri="{BB962C8B-B14F-4D97-AF65-F5344CB8AC3E}">
        <p14:creationId xmlns:p14="http://schemas.microsoft.com/office/powerpoint/2010/main" val="31206284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y-GB" sz="2800" dirty="0">
                <a:solidFill>
                  <a:srgbClr val="0C344C"/>
                </a:solidFill>
                <a:latin typeface="+mj-lt"/>
              </a:rPr>
              <a:t>Profile Slide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096000" y="0"/>
            <a:ext cx="6096000" cy="6238875"/>
            <a:chOff x="6096000" y="0"/>
            <a:chExt cx="6096000" cy="623887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33" r="26508" b="9028"/>
            <a:stretch/>
          </p:blipFill>
          <p:spPr>
            <a:xfrm flipH="1">
              <a:off x="6096000" y="0"/>
              <a:ext cx="6096000" cy="6238875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096000" y="0"/>
              <a:ext cx="4038600" cy="6238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TextBox 25"/>
          <p:cNvSpPr txBox="1"/>
          <p:nvPr/>
        </p:nvSpPr>
        <p:spPr>
          <a:xfrm>
            <a:off x="849215" y="1171543"/>
            <a:ext cx="616118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sp>
        <p:nvSpPr>
          <p:cNvPr id="51" name="Rectangle 50"/>
          <p:cNvSpPr/>
          <p:nvPr/>
        </p:nvSpPr>
        <p:spPr>
          <a:xfrm>
            <a:off x="835729" y="4480380"/>
            <a:ext cx="45719" cy="225425"/>
          </a:xfrm>
          <a:prstGeom prst="rect">
            <a:avLst/>
          </a:prstGeom>
          <a:gradFill>
            <a:gsLst>
              <a:gs pos="0">
                <a:srgbClr val="0C344C"/>
              </a:gs>
              <a:gs pos="100000">
                <a:srgbClr val="D80F79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920816" y="1980955"/>
            <a:ext cx="1166638" cy="734542"/>
            <a:chOff x="920816" y="2053524"/>
            <a:chExt cx="1294484" cy="815037"/>
          </a:xfrm>
        </p:grpSpPr>
        <p:sp>
          <p:nvSpPr>
            <p:cNvPr id="13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920816" y="3148090"/>
            <a:ext cx="1166638" cy="734542"/>
            <a:chOff x="920816" y="2053524"/>
            <a:chExt cx="1294484" cy="815037"/>
          </a:xfrm>
        </p:grpSpPr>
        <p:sp>
          <p:nvSpPr>
            <p:cNvPr id="17" name="Rectangle: Rounded Corners 1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Rectangle: Rounded Corners 1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0" name="TextBox 25"/>
          <p:cNvSpPr txBox="1"/>
          <p:nvPr/>
        </p:nvSpPr>
        <p:spPr>
          <a:xfrm>
            <a:off x="2603500" y="2352085"/>
            <a:ext cx="3911600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There are many variations of passages of Lorem Ipsum available, but the majority have suffered alteration in some form</a:t>
            </a:r>
          </a:p>
        </p:txBody>
      </p:sp>
      <p:sp>
        <p:nvSpPr>
          <p:cNvPr id="21" name="TextBox 25"/>
          <p:cNvSpPr txBox="1"/>
          <p:nvPr/>
        </p:nvSpPr>
        <p:spPr>
          <a:xfrm>
            <a:off x="2603500" y="2021202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24" name="TextBox 25"/>
          <p:cNvSpPr txBox="1"/>
          <p:nvPr/>
        </p:nvSpPr>
        <p:spPr>
          <a:xfrm>
            <a:off x="2603500" y="3519220"/>
            <a:ext cx="3911600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There are many variations of passages of Lorem Ipsum available, but the majority have suffered alteration in some form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2603500" y="3188337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1376096" y="2194578"/>
            <a:ext cx="256080" cy="307296"/>
            <a:chOff x="3421063" y="2524125"/>
            <a:chExt cx="301625" cy="361950"/>
          </a:xfrm>
          <a:solidFill>
            <a:schemeClr val="bg1"/>
          </a:solidFill>
        </p:grpSpPr>
        <p:sp>
          <p:nvSpPr>
            <p:cNvPr id="40" name="Freeform 24"/>
            <p:cNvSpPr>
              <a:spLocks noEditPoints="1"/>
            </p:cNvSpPr>
            <p:nvPr/>
          </p:nvSpPr>
          <p:spPr bwMode="auto">
            <a:xfrm>
              <a:off x="3421063" y="2584450"/>
              <a:ext cx="301625" cy="301625"/>
            </a:xfrm>
            <a:custGeom>
              <a:avLst/>
              <a:gdLst>
                <a:gd name="T0" fmla="*/ 70 w 80"/>
                <a:gd name="T1" fmla="*/ 13 h 80"/>
                <a:gd name="T2" fmla="*/ 74 w 80"/>
                <a:gd name="T3" fmla="*/ 9 h 80"/>
                <a:gd name="T4" fmla="*/ 75 w 80"/>
                <a:gd name="T5" fmla="*/ 9 h 80"/>
                <a:gd name="T6" fmla="*/ 76 w 80"/>
                <a:gd name="T7" fmla="*/ 10 h 80"/>
                <a:gd name="T8" fmla="*/ 77 w 80"/>
                <a:gd name="T9" fmla="*/ 9 h 80"/>
                <a:gd name="T10" fmla="*/ 77 w 80"/>
                <a:gd name="T11" fmla="*/ 7 h 80"/>
                <a:gd name="T12" fmla="*/ 73 w 80"/>
                <a:gd name="T13" fmla="*/ 3 h 80"/>
                <a:gd name="T14" fmla="*/ 71 w 80"/>
                <a:gd name="T15" fmla="*/ 3 h 80"/>
                <a:gd name="T16" fmla="*/ 71 w 80"/>
                <a:gd name="T17" fmla="*/ 5 h 80"/>
                <a:gd name="T18" fmla="*/ 71 w 80"/>
                <a:gd name="T19" fmla="*/ 6 h 80"/>
                <a:gd name="T20" fmla="*/ 67 w 80"/>
                <a:gd name="T21" fmla="*/ 10 h 80"/>
                <a:gd name="T22" fmla="*/ 40 w 80"/>
                <a:gd name="T23" fmla="*/ 0 h 80"/>
                <a:gd name="T24" fmla="*/ 0 w 80"/>
                <a:gd name="T25" fmla="*/ 40 h 80"/>
                <a:gd name="T26" fmla="*/ 40 w 80"/>
                <a:gd name="T27" fmla="*/ 80 h 80"/>
                <a:gd name="T28" fmla="*/ 80 w 80"/>
                <a:gd name="T29" fmla="*/ 40 h 80"/>
                <a:gd name="T30" fmla="*/ 70 w 80"/>
                <a:gd name="T31" fmla="*/ 13 h 80"/>
                <a:gd name="T32" fmla="*/ 41 w 80"/>
                <a:gd name="T33" fmla="*/ 41 h 80"/>
                <a:gd name="T34" fmla="*/ 40 w 80"/>
                <a:gd name="T35" fmla="*/ 42 h 80"/>
                <a:gd name="T36" fmla="*/ 39 w 80"/>
                <a:gd name="T37" fmla="*/ 41 h 80"/>
                <a:gd name="T38" fmla="*/ 21 w 80"/>
                <a:gd name="T39" fmla="*/ 23 h 80"/>
                <a:gd name="T40" fmla="*/ 21 w 80"/>
                <a:gd name="T41" fmla="*/ 21 h 80"/>
                <a:gd name="T42" fmla="*/ 23 w 80"/>
                <a:gd name="T43" fmla="*/ 21 h 80"/>
                <a:gd name="T44" fmla="*/ 41 w 80"/>
                <a:gd name="T45" fmla="*/ 39 h 80"/>
                <a:gd name="T46" fmla="*/ 41 w 80"/>
                <a:gd name="T47" fmla="*/ 4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0" h="80">
                  <a:moveTo>
                    <a:pt x="70" y="13"/>
                  </a:moveTo>
                  <a:cubicBezTo>
                    <a:pt x="74" y="9"/>
                    <a:pt x="74" y="9"/>
                    <a:pt x="74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10"/>
                    <a:pt x="75" y="10"/>
                    <a:pt x="76" y="10"/>
                  </a:cubicBezTo>
                  <a:cubicBezTo>
                    <a:pt x="77" y="10"/>
                    <a:pt x="77" y="10"/>
                    <a:pt x="77" y="9"/>
                  </a:cubicBezTo>
                  <a:cubicBezTo>
                    <a:pt x="78" y="9"/>
                    <a:pt x="78" y="7"/>
                    <a:pt x="77" y="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2"/>
                    <a:pt x="71" y="2"/>
                    <a:pt x="71" y="3"/>
                  </a:cubicBezTo>
                  <a:cubicBezTo>
                    <a:pt x="70" y="3"/>
                    <a:pt x="70" y="5"/>
                    <a:pt x="71" y="5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0" y="4"/>
                    <a:pt x="5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80" y="62"/>
                    <a:pt x="80" y="40"/>
                  </a:cubicBezTo>
                  <a:cubicBezTo>
                    <a:pt x="80" y="30"/>
                    <a:pt x="76" y="20"/>
                    <a:pt x="70" y="13"/>
                  </a:cubicBezTo>
                  <a:close/>
                  <a:moveTo>
                    <a:pt x="41" y="41"/>
                  </a:moveTo>
                  <a:cubicBezTo>
                    <a:pt x="41" y="42"/>
                    <a:pt x="41" y="42"/>
                    <a:pt x="40" y="42"/>
                  </a:cubicBezTo>
                  <a:cubicBezTo>
                    <a:pt x="39" y="42"/>
                    <a:pt x="39" y="42"/>
                    <a:pt x="39" y="41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0" y="21"/>
                    <a:pt x="21" y="21"/>
                  </a:cubicBezTo>
                  <a:cubicBezTo>
                    <a:pt x="21" y="20"/>
                    <a:pt x="23" y="20"/>
                    <a:pt x="23" y="2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3519488" y="2524125"/>
              <a:ext cx="104775" cy="52388"/>
            </a:xfrm>
            <a:custGeom>
              <a:avLst/>
              <a:gdLst>
                <a:gd name="T0" fmla="*/ 2 w 28"/>
                <a:gd name="T1" fmla="*/ 4 h 14"/>
                <a:gd name="T2" fmla="*/ 8 w 28"/>
                <a:gd name="T3" fmla="*/ 4 h 14"/>
                <a:gd name="T4" fmla="*/ 8 w 28"/>
                <a:gd name="T5" fmla="*/ 12 h 14"/>
                <a:gd name="T6" fmla="*/ 10 w 28"/>
                <a:gd name="T7" fmla="*/ 14 h 14"/>
                <a:gd name="T8" fmla="*/ 18 w 28"/>
                <a:gd name="T9" fmla="*/ 14 h 14"/>
                <a:gd name="T10" fmla="*/ 20 w 28"/>
                <a:gd name="T11" fmla="*/ 12 h 14"/>
                <a:gd name="T12" fmla="*/ 20 w 28"/>
                <a:gd name="T13" fmla="*/ 4 h 14"/>
                <a:gd name="T14" fmla="*/ 26 w 28"/>
                <a:gd name="T15" fmla="*/ 4 h 14"/>
                <a:gd name="T16" fmla="*/ 28 w 28"/>
                <a:gd name="T17" fmla="*/ 2 h 14"/>
                <a:gd name="T18" fmla="*/ 26 w 28"/>
                <a:gd name="T19" fmla="*/ 0 h 14"/>
                <a:gd name="T20" fmla="*/ 18 w 28"/>
                <a:gd name="T21" fmla="*/ 0 h 14"/>
                <a:gd name="T22" fmla="*/ 10 w 28"/>
                <a:gd name="T23" fmla="*/ 0 h 14"/>
                <a:gd name="T24" fmla="*/ 2 w 28"/>
                <a:gd name="T25" fmla="*/ 0 h 14"/>
                <a:gd name="T26" fmla="*/ 0 w 28"/>
                <a:gd name="T27" fmla="*/ 2 h 14"/>
                <a:gd name="T28" fmla="*/ 2 w 28"/>
                <a:gd name="T2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4">
                  <a:moveTo>
                    <a:pt x="2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3"/>
                    <a:pt x="9" y="14"/>
                    <a:pt x="10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20" y="13"/>
                    <a:pt x="20" y="12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355385" y="3365955"/>
            <a:ext cx="297502" cy="298812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30" name="Freeform 311"/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1" name="Freeform 312"/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2" name="Freeform 313"/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3" name="Freeform 314"/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4" name="Freeform 315"/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5" name="Freeform 316"/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6" name="Freeform 317"/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7" name="Freeform 318"/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8" name="Freeform 319"/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39" name="Freeform 320"/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43" name="TextBox 25"/>
          <p:cNvSpPr txBox="1"/>
          <p:nvPr/>
        </p:nvSpPr>
        <p:spPr>
          <a:xfrm>
            <a:off x="984734" y="4438805"/>
            <a:ext cx="5530365" cy="113107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There are many variations of passages of Lorem Ipsum available, but the majority have suffered alteration in some form. The point of using Lorem Ipsum is that it has a more-or-less normal distribution of letters, as opposed to using 'Content here.</a:t>
            </a:r>
          </a:p>
          <a:p>
            <a:endParaRPr lang="en-US" sz="1050" dirty="0">
              <a:solidFill>
                <a:schemeClr val="tx1">
                  <a:lumMod val="85000"/>
                  <a:lumOff val="15000"/>
                </a:schemeClr>
              </a:solidFill>
              <a:cs typeface="Calibri Light" panose="020F0302020204030204" pitchFamily="34" charset="0"/>
            </a:endParaRPr>
          </a:p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It is a long established fact that a reader will be distracted by the readable content of a page when looking at its layout. The point of using Lorem Ipsum is that it has a more-or-less normal distribution of letters, as opposed to using 'Content here, content here', making it look like readable English.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839788" y="4438805"/>
            <a:ext cx="0" cy="1161961"/>
          </a:xfrm>
          <a:prstGeom prst="line">
            <a:avLst/>
          </a:prstGeom>
          <a:ln w="9525">
            <a:solidFill>
              <a:srgbClr val="BFBE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79908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>
                <a:solidFill>
                  <a:srgbClr val="0C344C"/>
                </a:solidFill>
                <a:latin typeface="+mj-lt"/>
              </a:rPr>
              <a:t>Process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6" name="TextBox 25"/>
          <p:cNvSpPr txBox="1"/>
          <p:nvPr/>
        </p:nvSpPr>
        <p:spPr>
          <a:xfrm>
            <a:off x="849215" y="1171543"/>
            <a:ext cx="616118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588" y="2754174"/>
            <a:ext cx="12198252" cy="1991577"/>
            <a:chOff x="1588" y="2550974"/>
            <a:chExt cx="12198252" cy="1991577"/>
          </a:xfrm>
          <a:solidFill>
            <a:schemeClr val="bg1">
              <a:lumMod val="85000"/>
            </a:schemeClr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1588" y="2550974"/>
              <a:ext cx="10804403" cy="210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0805991" y="2550974"/>
              <a:ext cx="546222" cy="1099402"/>
            </a:xfrm>
            <a:custGeom>
              <a:avLst/>
              <a:gdLst>
                <a:gd name="T0" fmla="*/ 266 w 266"/>
                <a:gd name="T1" fmla="*/ 266 h 532"/>
                <a:gd name="T2" fmla="*/ 0 w 266"/>
                <a:gd name="T3" fmla="*/ 532 h 532"/>
                <a:gd name="T4" fmla="*/ 0 w 266"/>
                <a:gd name="T5" fmla="*/ 430 h 532"/>
                <a:gd name="T6" fmla="*/ 164 w 266"/>
                <a:gd name="T7" fmla="*/ 266 h 532"/>
                <a:gd name="T8" fmla="*/ 0 w 266"/>
                <a:gd name="T9" fmla="*/ 102 h 532"/>
                <a:gd name="T10" fmla="*/ 0 w 266"/>
                <a:gd name="T11" fmla="*/ 0 h 532"/>
                <a:gd name="T12" fmla="*/ 266 w 266"/>
                <a:gd name="T13" fmla="*/ 26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532">
                  <a:moveTo>
                    <a:pt x="266" y="266"/>
                  </a:moveTo>
                  <a:cubicBezTo>
                    <a:pt x="266" y="413"/>
                    <a:pt x="147" y="532"/>
                    <a:pt x="0" y="532"/>
                  </a:cubicBezTo>
                  <a:cubicBezTo>
                    <a:pt x="0" y="430"/>
                    <a:pt x="0" y="430"/>
                    <a:pt x="0" y="430"/>
                  </a:cubicBezTo>
                  <a:cubicBezTo>
                    <a:pt x="91" y="430"/>
                    <a:pt x="164" y="357"/>
                    <a:pt x="164" y="266"/>
                  </a:cubicBezTo>
                  <a:cubicBezTo>
                    <a:pt x="164" y="176"/>
                    <a:pt x="91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7" y="0"/>
                    <a:pt x="266" y="119"/>
                    <a:pt x="266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 flipH="1" flipV="1">
              <a:off x="1395437" y="4332064"/>
              <a:ext cx="10804403" cy="210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 flipH="1" flipV="1">
              <a:off x="849215" y="3443149"/>
              <a:ext cx="546222" cy="1099402"/>
            </a:xfrm>
            <a:custGeom>
              <a:avLst/>
              <a:gdLst>
                <a:gd name="T0" fmla="*/ 266 w 266"/>
                <a:gd name="T1" fmla="*/ 266 h 532"/>
                <a:gd name="T2" fmla="*/ 0 w 266"/>
                <a:gd name="T3" fmla="*/ 532 h 532"/>
                <a:gd name="T4" fmla="*/ 0 w 266"/>
                <a:gd name="T5" fmla="*/ 430 h 532"/>
                <a:gd name="T6" fmla="*/ 164 w 266"/>
                <a:gd name="T7" fmla="*/ 266 h 532"/>
                <a:gd name="T8" fmla="*/ 0 w 266"/>
                <a:gd name="T9" fmla="*/ 102 h 532"/>
                <a:gd name="T10" fmla="*/ 0 w 266"/>
                <a:gd name="T11" fmla="*/ 0 h 532"/>
                <a:gd name="T12" fmla="*/ 266 w 266"/>
                <a:gd name="T13" fmla="*/ 26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532">
                  <a:moveTo>
                    <a:pt x="266" y="266"/>
                  </a:moveTo>
                  <a:cubicBezTo>
                    <a:pt x="266" y="413"/>
                    <a:pt x="147" y="532"/>
                    <a:pt x="0" y="532"/>
                  </a:cubicBezTo>
                  <a:cubicBezTo>
                    <a:pt x="0" y="430"/>
                    <a:pt x="0" y="430"/>
                    <a:pt x="0" y="430"/>
                  </a:cubicBezTo>
                  <a:cubicBezTo>
                    <a:pt x="91" y="430"/>
                    <a:pt x="164" y="357"/>
                    <a:pt x="164" y="266"/>
                  </a:cubicBezTo>
                  <a:cubicBezTo>
                    <a:pt x="164" y="176"/>
                    <a:pt x="91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7" y="0"/>
                    <a:pt x="266" y="119"/>
                    <a:pt x="266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1395437" y="3441806"/>
              <a:ext cx="9410554" cy="2104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5652906" y="2577467"/>
            <a:ext cx="895615" cy="563900"/>
            <a:chOff x="920816" y="2053524"/>
            <a:chExt cx="1294484" cy="815037"/>
          </a:xfrm>
        </p:grpSpPr>
        <p:sp>
          <p:nvSpPr>
            <p:cNvPr id="47" name="Rectangle: Rounded Corners 7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8" name="Rectangle: Rounded Corners 7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: Rounded Corners 7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5652906" y="4358449"/>
            <a:ext cx="895615" cy="563900"/>
            <a:chOff x="920816" y="2053524"/>
            <a:chExt cx="1294484" cy="815037"/>
          </a:xfrm>
        </p:grpSpPr>
        <p:sp>
          <p:nvSpPr>
            <p:cNvPr id="59" name="Rectangle: Rounded Corners 7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60" name="Rectangle: Rounded Corners 7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: Rounded Corners 7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5959376" y="2717457"/>
            <a:ext cx="282674" cy="283920"/>
            <a:chOff x="8440738" y="2535238"/>
            <a:chExt cx="360362" cy="361950"/>
          </a:xfrm>
          <a:solidFill>
            <a:schemeClr val="bg1"/>
          </a:solidFill>
        </p:grpSpPr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8440738" y="2655888"/>
              <a:ext cx="239713" cy="241300"/>
            </a:xfrm>
            <a:custGeom>
              <a:avLst/>
              <a:gdLst>
                <a:gd name="T0" fmla="*/ 32 w 64"/>
                <a:gd name="T1" fmla="*/ 0 h 64"/>
                <a:gd name="T2" fmla="*/ 32 w 64"/>
                <a:gd name="T3" fmla="*/ 0 h 64"/>
                <a:gd name="T4" fmla="*/ 0 w 64"/>
                <a:gd name="T5" fmla="*/ 32 h 64"/>
                <a:gd name="T6" fmla="*/ 32 w 64"/>
                <a:gd name="T7" fmla="*/ 64 h 64"/>
                <a:gd name="T8" fmla="*/ 64 w 64"/>
                <a:gd name="T9" fmla="*/ 32 h 64"/>
                <a:gd name="T10" fmla="*/ 64 w 64"/>
                <a:gd name="T11" fmla="*/ 32 h 64"/>
                <a:gd name="T12" fmla="*/ 32 w 64"/>
                <a:gd name="T13" fmla="*/ 0 h 64"/>
                <a:gd name="T14" fmla="*/ 32 w 64"/>
                <a:gd name="T15" fmla="*/ 30 h 64"/>
                <a:gd name="T16" fmla="*/ 40 w 64"/>
                <a:gd name="T17" fmla="*/ 38 h 64"/>
                <a:gd name="T18" fmla="*/ 34 w 64"/>
                <a:gd name="T19" fmla="*/ 46 h 64"/>
                <a:gd name="T20" fmla="*/ 34 w 64"/>
                <a:gd name="T21" fmla="*/ 48 h 64"/>
                <a:gd name="T22" fmla="*/ 32 w 64"/>
                <a:gd name="T23" fmla="*/ 50 h 64"/>
                <a:gd name="T24" fmla="*/ 30 w 64"/>
                <a:gd name="T25" fmla="*/ 48 h 64"/>
                <a:gd name="T26" fmla="*/ 30 w 64"/>
                <a:gd name="T27" fmla="*/ 46 h 64"/>
                <a:gd name="T28" fmla="*/ 24 w 64"/>
                <a:gd name="T29" fmla="*/ 38 h 64"/>
                <a:gd name="T30" fmla="*/ 26 w 64"/>
                <a:gd name="T31" fmla="*/ 36 h 64"/>
                <a:gd name="T32" fmla="*/ 28 w 64"/>
                <a:gd name="T33" fmla="*/ 38 h 64"/>
                <a:gd name="T34" fmla="*/ 32 w 64"/>
                <a:gd name="T35" fmla="*/ 42 h 64"/>
                <a:gd name="T36" fmla="*/ 36 w 64"/>
                <a:gd name="T37" fmla="*/ 38 h 64"/>
                <a:gd name="T38" fmla="*/ 32 w 64"/>
                <a:gd name="T39" fmla="*/ 34 h 64"/>
                <a:gd name="T40" fmla="*/ 24 w 64"/>
                <a:gd name="T41" fmla="*/ 26 h 64"/>
                <a:gd name="T42" fmla="*/ 30 w 64"/>
                <a:gd name="T43" fmla="*/ 18 h 64"/>
                <a:gd name="T44" fmla="*/ 30 w 64"/>
                <a:gd name="T45" fmla="*/ 16 h 64"/>
                <a:gd name="T46" fmla="*/ 32 w 64"/>
                <a:gd name="T47" fmla="*/ 14 h 64"/>
                <a:gd name="T48" fmla="*/ 34 w 64"/>
                <a:gd name="T49" fmla="*/ 16 h 64"/>
                <a:gd name="T50" fmla="*/ 34 w 64"/>
                <a:gd name="T51" fmla="*/ 18 h 64"/>
                <a:gd name="T52" fmla="*/ 40 w 64"/>
                <a:gd name="T53" fmla="*/ 26 h 64"/>
                <a:gd name="T54" fmla="*/ 38 w 64"/>
                <a:gd name="T55" fmla="*/ 28 h 64"/>
                <a:gd name="T56" fmla="*/ 36 w 64"/>
                <a:gd name="T57" fmla="*/ 26 h 64"/>
                <a:gd name="T58" fmla="*/ 32 w 64"/>
                <a:gd name="T59" fmla="*/ 22 h 64"/>
                <a:gd name="T60" fmla="*/ 28 w 64"/>
                <a:gd name="T61" fmla="*/ 26 h 64"/>
                <a:gd name="T62" fmla="*/ 32 w 64"/>
                <a:gd name="T6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50" y="64"/>
                    <a:pt x="64" y="50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47" y="31"/>
                    <a:pt x="33" y="17"/>
                    <a:pt x="32" y="0"/>
                  </a:cubicBezTo>
                  <a:close/>
                  <a:moveTo>
                    <a:pt x="32" y="30"/>
                  </a:moveTo>
                  <a:cubicBezTo>
                    <a:pt x="36" y="30"/>
                    <a:pt x="40" y="34"/>
                    <a:pt x="40" y="38"/>
                  </a:cubicBezTo>
                  <a:cubicBezTo>
                    <a:pt x="40" y="42"/>
                    <a:pt x="37" y="45"/>
                    <a:pt x="34" y="46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9"/>
                    <a:pt x="33" y="50"/>
                    <a:pt x="32" y="50"/>
                  </a:cubicBezTo>
                  <a:cubicBezTo>
                    <a:pt x="31" y="50"/>
                    <a:pt x="30" y="49"/>
                    <a:pt x="30" y="48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27" y="45"/>
                    <a:pt x="24" y="42"/>
                    <a:pt x="24" y="38"/>
                  </a:cubicBezTo>
                  <a:cubicBezTo>
                    <a:pt x="24" y="37"/>
                    <a:pt x="25" y="36"/>
                    <a:pt x="26" y="36"/>
                  </a:cubicBezTo>
                  <a:cubicBezTo>
                    <a:pt x="27" y="36"/>
                    <a:pt x="28" y="37"/>
                    <a:pt x="28" y="38"/>
                  </a:cubicBezTo>
                  <a:cubicBezTo>
                    <a:pt x="28" y="40"/>
                    <a:pt x="30" y="42"/>
                    <a:pt x="32" y="42"/>
                  </a:cubicBezTo>
                  <a:cubicBezTo>
                    <a:pt x="34" y="42"/>
                    <a:pt x="36" y="40"/>
                    <a:pt x="36" y="38"/>
                  </a:cubicBezTo>
                  <a:cubicBezTo>
                    <a:pt x="36" y="36"/>
                    <a:pt x="34" y="34"/>
                    <a:pt x="32" y="34"/>
                  </a:cubicBezTo>
                  <a:cubicBezTo>
                    <a:pt x="28" y="34"/>
                    <a:pt x="24" y="30"/>
                    <a:pt x="24" y="26"/>
                  </a:cubicBezTo>
                  <a:cubicBezTo>
                    <a:pt x="24" y="22"/>
                    <a:pt x="27" y="19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5"/>
                    <a:pt x="31" y="14"/>
                    <a:pt x="32" y="14"/>
                  </a:cubicBezTo>
                  <a:cubicBezTo>
                    <a:pt x="33" y="14"/>
                    <a:pt x="34" y="15"/>
                    <a:pt x="34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7" y="19"/>
                    <a:pt x="40" y="22"/>
                    <a:pt x="40" y="26"/>
                  </a:cubicBezTo>
                  <a:cubicBezTo>
                    <a:pt x="40" y="27"/>
                    <a:pt x="39" y="28"/>
                    <a:pt x="38" y="28"/>
                  </a:cubicBezTo>
                  <a:cubicBezTo>
                    <a:pt x="37" y="28"/>
                    <a:pt x="36" y="27"/>
                    <a:pt x="36" y="26"/>
                  </a:cubicBezTo>
                  <a:cubicBezTo>
                    <a:pt x="36" y="24"/>
                    <a:pt x="34" y="22"/>
                    <a:pt x="32" y="22"/>
                  </a:cubicBezTo>
                  <a:cubicBezTo>
                    <a:pt x="30" y="22"/>
                    <a:pt x="28" y="24"/>
                    <a:pt x="28" y="26"/>
                  </a:cubicBezTo>
                  <a:cubicBezTo>
                    <a:pt x="28" y="28"/>
                    <a:pt x="30" y="30"/>
                    <a:pt x="3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8575675" y="2535238"/>
              <a:ext cx="225425" cy="227013"/>
            </a:xfrm>
            <a:custGeom>
              <a:avLst/>
              <a:gdLst>
                <a:gd name="T0" fmla="*/ 30 w 60"/>
                <a:gd name="T1" fmla="*/ 0 h 60"/>
                <a:gd name="T2" fmla="*/ 0 w 60"/>
                <a:gd name="T3" fmla="*/ 30 h 60"/>
                <a:gd name="T4" fmla="*/ 30 w 60"/>
                <a:gd name="T5" fmla="*/ 60 h 60"/>
                <a:gd name="T6" fmla="*/ 60 w 60"/>
                <a:gd name="T7" fmla="*/ 30 h 60"/>
                <a:gd name="T8" fmla="*/ 30 w 60"/>
                <a:gd name="T9" fmla="*/ 0 h 60"/>
                <a:gd name="T10" fmla="*/ 30 w 60"/>
                <a:gd name="T11" fmla="*/ 28 h 60"/>
                <a:gd name="T12" fmla="*/ 38 w 60"/>
                <a:gd name="T13" fmla="*/ 36 h 60"/>
                <a:gd name="T14" fmla="*/ 32 w 60"/>
                <a:gd name="T15" fmla="*/ 43 h 60"/>
                <a:gd name="T16" fmla="*/ 32 w 60"/>
                <a:gd name="T17" fmla="*/ 45 h 60"/>
                <a:gd name="T18" fmla="*/ 30 w 60"/>
                <a:gd name="T19" fmla="*/ 47 h 60"/>
                <a:gd name="T20" fmla="*/ 28 w 60"/>
                <a:gd name="T21" fmla="*/ 45 h 60"/>
                <a:gd name="T22" fmla="*/ 28 w 60"/>
                <a:gd name="T23" fmla="*/ 43 h 60"/>
                <a:gd name="T24" fmla="*/ 22 w 60"/>
                <a:gd name="T25" fmla="*/ 36 h 60"/>
                <a:gd name="T26" fmla="*/ 24 w 60"/>
                <a:gd name="T27" fmla="*/ 34 h 60"/>
                <a:gd name="T28" fmla="*/ 26 w 60"/>
                <a:gd name="T29" fmla="*/ 36 h 60"/>
                <a:gd name="T30" fmla="*/ 30 w 60"/>
                <a:gd name="T31" fmla="*/ 39 h 60"/>
                <a:gd name="T32" fmla="*/ 34 w 60"/>
                <a:gd name="T33" fmla="*/ 36 h 60"/>
                <a:gd name="T34" fmla="*/ 30 w 60"/>
                <a:gd name="T35" fmla="*/ 32 h 60"/>
                <a:gd name="T36" fmla="*/ 22 w 60"/>
                <a:gd name="T37" fmla="*/ 24 h 60"/>
                <a:gd name="T38" fmla="*/ 28 w 60"/>
                <a:gd name="T39" fmla="*/ 17 h 60"/>
                <a:gd name="T40" fmla="*/ 28 w 60"/>
                <a:gd name="T41" fmla="*/ 15 h 60"/>
                <a:gd name="T42" fmla="*/ 30 w 60"/>
                <a:gd name="T43" fmla="*/ 13 h 60"/>
                <a:gd name="T44" fmla="*/ 32 w 60"/>
                <a:gd name="T45" fmla="*/ 15 h 60"/>
                <a:gd name="T46" fmla="*/ 32 w 60"/>
                <a:gd name="T47" fmla="*/ 17 h 60"/>
                <a:gd name="T48" fmla="*/ 38 w 60"/>
                <a:gd name="T49" fmla="*/ 24 h 60"/>
                <a:gd name="T50" fmla="*/ 36 w 60"/>
                <a:gd name="T51" fmla="*/ 26 h 60"/>
                <a:gd name="T52" fmla="*/ 34 w 60"/>
                <a:gd name="T53" fmla="*/ 24 h 60"/>
                <a:gd name="T54" fmla="*/ 30 w 60"/>
                <a:gd name="T55" fmla="*/ 21 h 60"/>
                <a:gd name="T56" fmla="*/ 26 w 60"/>
                <a:gd name="T57" fmla="*/ 24 h 60"/>
                <a:gd name="T58" fmla="*/ 30 w 60"/>
                <a:gd name="T59" fmla="*/ 2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cubicBezTo>
                    <a:pt x="13" y="0"/>
                    <a:pt x="0" y="13"/>
                    <a:pt x="0" y="30"/>
                  </a:cubicBezTo>
                  <a:cubicBezTo>
                    <a:pt x="0" y="47"/>
                    <a:pt x="13" y="60"/>
                    <a:pt x="30" y="60"/>
                  </a:cubicBezTo>
                  <a:cubicBezTo>
                    <a:pt x="47" y="60"/>
                    <a:pt x="60" y="47"/>
                    <a:pt x="60" y="30"/>
                  </a:cubicBezTo>
                  <a:cubicBezTo>
                    <a:pt x="60" y="13"/>
                    <a:pt x="47" y="0"/>
                    <a:pt x="30" y="0"/>
                  </a:cubicBezTo>
                  <a:close/>
                  <a:moveTo>
                    <a:pt x="30" y="28"/>
                  </a:moveTo>
                  <a:cubicBezTo>
                    <a:pt x="34" y="28"/>
                    <a:pt x="38" y="31"/>
                    <a:pt x="38" y="36"/>
                  </a:cubicBezTo>
                  <a:cubicBezTo>
                    <a:pt x="38" y="39"/>
                    <a:pt x="35" y="42"/>
                    <a:pt x="32" y="43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46"/>
                    <a:pt x="31" y="47"/>
                    <a:pt x="30" y="47"/>
                  </a:cubicBezTo>
                  <a:cubicBezTo>
                    <a:pt x="29" y="47"/>
                    <a:pt x="28" y="46"/>
                    <a:pt x="28" y="45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5" y="42"/>
                    <a:pt x="22" y="39"/>
                    <a:pt x="22" y="36"/>
                  </a:cubicBezTo>
                  <a:cubicBezTo>
                    <a:pt x="22" y="34"/>
                    <a:pt x="23" y="34"/>
                    <a:pt x="24" y="34"/>
                  </a:cubicBezTo>
                  <a:cubicBezTo>
                    <a:pt x="26" y="34"/>
                    <a:pt x="26" y="34"/>
                    <a:pt x="26" y="36"/>
                  </a:cubicBezTo>
                  <a:cubicBezTo>
                    <a:pt x="26" y="38"/>
                    <a:pt x="28" y="39"/>
                    <a:pt x="30" y="39"/>
                  </a:cubicBezTo>
                  <a:cubicBezTo>
                    <a:pt x="32" y="39"/>
                    <a:pt x="34" y="38"/>
                    <a:pt x="34" y="36"/>
                  </a:cubicBezTo>
                  <a:cubicBezTo>
                    <a:pt x="34" y="34"/>
                    <a:pt x="32" y="32"/>
                    <a:pt x="30" y="32"/>
                  </a:cubicBezTo>
                  <a:cubicBezTo>
                    <a:pt x="26" y="32"/>
                    <a:pt x="22" y="29"/>
                    <a:pt x="22" y="24"/>
                  </a:cubicBezTo>
                  <a:cubicBezTo>
                    <a:pt x="22" y="21"/>
                    <a:pt x="25" y="18"/>
                    <a:pt x="28" y="17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4"/>
                    <a:pt x="29" y="13"/>
                    <a:pt x="30" y="13"/>
                  </a:cubicBezTo>
                  <a:cubicBezTo>
                    <a:pt x="31" y="13"/>
                    <a:pt x="32" y="14"/>
                    <a:pt x="32" y="15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5" y="18"/>
                    <a:pt x="38" y="21"/>
                    <a:pt x="38" y="24"/>
                  </a:cubicBezTo>
                  <a:cubicBezTo>
                    <a:pt x="38" y="26"/>
                    <a:pt x="37" y="26"/>
                    <a:pt x="36" y="26"/>
                  </a:cubicBezTo>
                  <a:cubicBezTo>
                    <a:pt x="34" y="26"/>
                    <a:pt x="34" y="26"/>
                    <a:pt x="34" y="24"/>
                  </a:cubicBezTo>
                  <a:cubicBezTo>
                    <a:pt x="34" y="22"/>
                    <a:pt x="32" y="21"/>
                    <a:pt x="30" y="21"/>
                  </a:cubicBezTo>
                  <a:cubicBezTo>
                    <a:pt x="28" y="21"/>
                    <a:pt x="26" y="22"/>
                    <a:pt x="26" y="24"/>
                  </a:cubicBezTo>
                  <a:cubicBezTo>
                    <a:pt x="26" y="26"/>
                    <a:pt x="28" y="28"/>
                    <a:pt x="3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539283" y="4358450"/>
            <a:ext cx="895615" cy="563900"/>
            <a:chOff x="920816" y="2053525"/>
            <a:chExt cx="1294485" cy="815037"/>
          </a:xfrm>
        </p:grpSpPr>
        <p:sp>
          <p:nvSpPr>
            <p:cNvPr id="51" name="Rectangle: Rounded Corners 76"/>
            <p:cNvSpPr/>
            <p:nvPr/>
          </p:nvSpPr>
          <p:spPr>
            <a:xfrm rot="18900000">
              <a:off x="920816" y="2233115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2" name="Rectangle: Rounded Corners 77"/>
            <p:cNvSpPr/>
            <p:nvPr/>
          </p:nvSpPr>
          <p:spPr>
            <a:xfrm rot="18900000">
              <a:off x="1759445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: Rounded Corners 75"/>
            <p:cNvSpPr/>
            <p:nvPr/>
          </p:nvSpPr>
          <p:spPr>
            <a:xfrm rot="2700000">
              <a:off x="1160540" y="2053524"/>
              <a:ext cx="815037" cy="815039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8757103" y="4358450"/>
            <a:ext cx="895615" cy="563900"/>
            <a:chOff x="920816" y="2053525"/>
            <a:chExt cx="1294485" cy="815037"/>
          </a:xfrm>
        </p:grpSpPr>
        <p:sp>
          <p:nvSpPr>
            <p:cNvPr id="55" name="Rectangle: Rounded Corners 76"/>
            <p:cNvSpPr/>
            <p:nvPr/>
          </p:nvSpPr>
          <p:spPr>
            <a:xfrm rot="18900000">
              <a:off x="920816" y="2233115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6" name="Rectangle: Rounded Corners 77"/>
            <p:cNvSpPr/>
            <p:nvPr/>
          </p:nvSpPr>
          <p:spPr>
            <a:xfrm rot="18900000">
              <a:off x="1759445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: Rounded Corners 75"/>
            <p:cNvSpPr/>
            <p:nvPr/>
          </p:nvSpPr>
          <p:spPr>
            <a:xfrm rot="2700000">
              <a:off x="1160540" y="2053524"/>
              <a:ext cx="815037" cy="815039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9069786" y="4498439"/>
            <a:ext cx="270237" cy="283920"/>
            <a:chOff x="6276956" y="723900"/>
            <a:chExt cx="344507" cy="361950"/>
          </a:xfrm>
          <a:solidFill>
            <a:schemeClr val="bg1"/>
          </a:solidFill>
        </p:grpSpPr>
        <p:sp>
          <p:nvSpPr>
            <p:cNvPr id="68" name="Freeform 71"/>
            <p:cNvSpPr>
              <a:spLocks/>
            </p:cNvSpPr>
            <p:nvPr/>
          </p:nvSpPr>
          <p:spPr bwMode="auto">
            <a:xfrm>
              <a:off x="6527800" y="723900"/>
              <a:ext cx="93663" cy="153988"/>
            </a:xfrm>
            <a:custGeom>
              <a:avLst/>
              <a:gdLst>
                <a:gd name="T0" fmla="*/ 25 w 25"/>
                <a:gd name="T1" fmla="*/ 1 h 41"/>
                <a:gd name="T2" fmla="*/ 23 w 25"/>
                <a:gd name="T3" fmla="*/ 0 h 41"/>
                <a:gd name="T4" fmla="*/ 16 w 25"/>
                <a:gd name="T5" fmla="*/ 0 h 41"/>
                <a:gd name="T6" fmla="*/ 0 w 25"/>
                <a:gd name="T7" fmla="*/ 35 h 41"/>
                <a:gd name="T8" fmla="*/ 7 w 25"/>
                <a:gd name="T9" fmla="*/ 41 h 41"/>
                <a:gd name="T10" fmla="*/ 7 w 25"/>
                <a:gd name="T11" fmla="*/ 41 h 41"/>
                <a:gd name="T12" fmla="*/ 25 w 25"/>
                <a:gd name="T13" fmla="*/ 3 h 41"/>
                <a:gd name="T14" fmla="*/ 25 w 25"/>
                <a:gd name="T15" fmla="*/ 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1">
                  <a:moveTo>
                    <a:pt x="25" y="1"/>
                  </a:moveTo>
                  <a:cubicBezTo>
                    <a:pt x="25" y="0"/>
                    <a:pt x="24" y="0"/>
                    <a:pt x="2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5" y="39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2"/>
                    <a:pt x="25" y="2"/>
                    <a:pt x="2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72"/>
            <p:cNvSpPr>
              <a:spLocks/>
            </p:cNvSpPr>
            <p:nvPr/>
          </p:nvSpPr>
          <p:spPr bwMode="auto">
            <a:xfrm>
              <a:off x="6483341" y="723900"/>
              <a:ext cx="90488" cy="120650"/>
            </a:xfrm>
            <a:custGeom>
              <a:avLst/>
              <a:gdLst>
                <a:gd name="T0" fmla="*/ 24 w 24"/>
                <a:gd name="T1" fmla="*/ 0 h 32"/>
                <a:gd name="T2" fmla="*/ 15 w 24"/>
                <a:gd name="T3" fmla="*/ 0 h 32"/>
                <a:gd name="T4" fmla="*/ 14 w 24"/>
                <a:gd name="T5" fmla="*/ 1 h 32"/>
                <a:gd name="T6" fmla="*/ 0 w 24"/>
                <a:gd name="T7" fmla="*/ 29 h 32"/>
                <a:gd name="T8" fmla="*/ 9 w 24"/>
                <a:gd name="T9" fmla="*/ 32 h 32"/>
                <a:gd name="T10" fmla="*/ 24 w 24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2">
                  <a:moveTo>
                    <a:pt x="24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3" y="30"/>
                    <a:pt x="6" y="31"/>
                    <a:pt x="9" y="32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73"/>
            <p:cNvSpPr>
              <a:spLocks/>
            </p:cNvSpPr>
            <p:nvPr/>
          </p:nvSpPr>
          <p:spPr bwMode="auto">
            <a:xfrm>
              <a:off x="6276956" y="723900"/>
              <a:ext cx="93663" cy="153988"/>
            </a:xfrm>
            <a:custGeom>
              <a:avLst/>
              <a:gdLst>
                <a:gd name="T0" fmla="*/ 19 w 25"/>
                <a:gd name="T1" fmla="*/ 41 h 41"/>
                <a:gd name="T2" fmla="*/ 25 w 25"/>
                <a:gd name="T3" fmla="*/ 35 h 41"/>
                <a:gd name="T4" fmla="*/ 9 w 25"/>
                <a:gd name="T5" fmla="*/ 0 h 41"/>
                <a:gd name="T6" fmla="*/ 2 w 25"/>
                <a:gd name="T7" fmla="*/ 0 h 41"/>
                <a:gd name="T8" fmla="*/ 0 w 25"/>
                <a:gd name="T9" fmla="*/ 1 h 41"/>
                <a:gd name="T10" fmla="*/ 0 w 25"/>
                <a:gd name="T11" fmla="*/ 3 h 41"/>
                <a:gd name="T12" fmla="*/ 18 w 25"/>
                <a:gd name="T13" fmla="*/ 41 h 41"/>
                <a:gd name="T14" fmla="*/ 19 w 2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1">
                  <a:moveTo>
                    <a:pt x="19" y="41"/>
                  </a:moveTo>
                  <a:cubicBezTo>
                    <a:pt x="21" y="39"/>
                    <a:pt x="23" y="37"/>
                    <a:pt x="25" y="3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Freeform 74"/>
            <p:cNvSpPr>
              <a:spLocks/>
            </p:cNvSpPr>
            <p:nvPr/>
          </p:nvSpPr>
          <p:spPr bwMode="auto">
            <a:xfrm>
              <a:off x="6324593" y="723900"/>
              <a:ext cx="90488" cy="123826"/>
            </a:xfrm>
            <a:custGeom>
              <a:avLst/>
              <a:gdLst>
                <a:gd name="T0" fmla="*/ 24 w 24"/>
                <a:gd name="T1" fmla="*/ 29 h 33"/>
                <a:gd name="T2" fmla="*/ 11 w 24"/>
                <a:gd name="T3" fmla="*/ 1 h 33"/>
                <a:gd name="T4" fmla="*/ 9 w 24"/>
                <a:gd name="T5" fmla="*/ 0 h 33"/>
                <a:gd name="T6" fmla="*/ 0 w 24"/>
                <a:gd name="T7" fmla="*/ 0 h 33"/>
                <a:gd name="T8" fmla="*/ 16 w 24"/>
                <a:gd name="T9" fmla="*/ 33 h 33"/>
                <a:gd name="T10" fmla="*/ 24 w 24"/>
                <a:gd name="T11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3">
                  <a:moveTo>
                    <a:pt x="24" y="29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8" y="31"/>
                    <a:pt x="21" y="30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75"/>
            <p:cNvSpPr>
              <a:spLocks noEditPoints="1"/>
            </p:cNvSpPr>
            <p:nvPr/>
          </p:nvSpPr>
          <p:spPr bwMode="auto">
            <a:xfrm>
              <a:off x="6329363" y="844550"/>
              <a:ext cx="239713" cy="241300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52 w 64"/>
                <a:gd name="T11" fmla="*/ 28 h 64"/>
                <a:gd name="T12" fmla="*/ 43 w 64"/>
                <a:gd name="T13" fmla="*/ 35 h 64"/>
                <a:gd name="T14" fmla="*/ 46 w 64"/>
                <a:gd name="T15" fmla="*/ 47 h 64"/>
                <a:gd name="T16" fmla="*/ 46 w 64"/>
                <a:gd name="T17" fmla="*/ 50 h 64"/>
                <a:gd name="T18" fmla="*/ 44 w 64"/>
                <a:gd name="T19" fmla="*/ 50 h 64"/>
                <a:gd name="T20" fmla="*/ 43 w 64"/>
                <a:gd name="T21" fmla="*/ 50 h 64"/>
                <a:gd name="T22" fmla="*/ 32 w 64"/>
                <a:gd name="T23" fmla="*/ 43 h 64"/>
                <a:gd name="T24" fmla="*/ 21 w 64"/>
                <a:gd name="T25" fmla="*/ 50 h 64"/>
                <a:gd name="T26" fmla="*/ 19 w 64"/>
                <a:gd name="T27" fmla="*/ 50 h 64"/>
                <a:gd name="T28" fmla="*/ 18 w 64"/>
                <a:gd name="T29" fmla="*/ 47 h 64"/>
                <a:gd name="T30" fmla="*/ 22 w 64"/>
                <a:gd name="T31" fmla="*/ 35 h 64"/>
                <a:gd name="T32" fmla="*/ 13 w 64"/>
                <a:gd name="T33" fmla="*/ 28 h 64"/>
                <a:gd name="T34" fmla="*/ 12 w 64"/>
                <a:gd name="T35" fmla="*/ 25 h 64"/>
                <a:gd name="T36" fmla="*/ 14 w 64"/>
                <a:gd name="T37" fmla="*/ 24 h 64"/>
                <a:gd name="T38" fmla="*/ 25 w 64"/>
                <a:gd name="T39" fmla="*/ 24 h 64"/>
                <a:gd name="T40" fmla="*/ 31 w 64"/>
                <a:gd name="T41" fmla="*/ 13 h 64"/>
                <a:gd name="T42" fmla="*/ 34 w 64"/>
                <a:gd name="T43" fmla="*/ 13 h 64"/>
                <a:gd name="T44" fmla="*/ 40 w 64"/>
                <a:gd name="T45" fmla="*/ 24 h 64"/>
                <a:gd name="T46" fmla="*/ 50 w 64"/>
                <a:gd name="T47" fmla="*/ 24 h 64"/>
                <a:gd name="T48" fmla="*/ 52 w 64"/>
                <a:gd name="T49" fmla="*/ 25 h 64"/>
                <a:gd name="T50" fmla="*/ 52 w 64"/>
                <a:gd name="T51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4"/>
                    <a:pt x="32" y="64"/>
                  </a:cubicBezTo>
                  <a:cubicBezTo>
                    <a:pt x="50" y="64"/>
                    <a:pt x="64" y="50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lose/>
                  <a:moveTo>
                    <a:pt x="52" y="2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8"/>
                    <a:pt x="46" y="49"/>
                    <a:pt x="46" y="50"/>
                  </a:cubicBezTo>
                  <a:cubicBezTo>
                    <a:pt x="45" y="50"/>
                    <a:pt x="45" y="50"/>
                    <a:pt x="44" y="50"/>
                  </a:cubicBezTo>
                  <a:cubicBezTo>
                    <a:pt x="44" y="50"/>
                    <a:pt x="44" y="50"/>
                    <a:pt x="43" y="50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0" y="50"/>
                    <a:pt x="19" y="50"/>
                  </a:cubicBezTo>
                  <a:cubicBezTo>
                    <a:pt x="18" y="49"/>
                    <a:pt x="18" y="48"/>
                    <a:pt x="18" y="4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2" y="27"/>
                    <a:pt x="12" y="26"/>
                    <a:pt x="12" y="25"/>
                  </a:cubicBezTo>
                  <a:cubicBezTo>
                    <a:pt x="13" y="25"/>
                    <a:pt x="13" y="24"/>
                    <a:pt x="14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3" y="12"/>
                    <a:pt x="34" y="13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1" y="24"/>
                    <a:pt x="52" y="25"/>
                    <a:pt x="52" y="25"/>
                  </a:cubicBezTo>
                  <a:cubicBezTo>
                    <a:pt x="52" y="26"/>
                    <a:pt x="52" y="27"/>
                    <a:pt x="5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2839235" y="4480410"/>
            <a:ext cx="295698" cy="282667"/>
            <a:chOff x="4833965" y="3983021"/>
            <a:chExt cx="360363" cy="344477"/>
          </a:xfrm>
          <a:solidFill>
            <a:schemeClr val="bg1"/>
          </a:solidFill>
        </p:grpSpPr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4833965" y="4179858"/>
              <a:ext cx="74614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auto">
            <a:xfrm>
              <a:off x="4916513" y="4194149"/>
              <a:ext cx="277815" cy="133349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5037158" y="3983021"/>
              <a:ext cx="104775" cy="106363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4968875" y="4089402"/>
              <a:ext cx="104775" cy="1047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5929645" y="4493340"/>
            <a:ext cx="342136" cy="294118"/>
            <a:chOff x="5554663" y="2179638"/>
            <a:chExt cx="361950" cy="311151"/>
          </a:xfrm>
          <a:solidFill>
            <a:schemeClr val="bg1"/>
          </a:solidFill>
        </p:grpSpPr>
        <p:sp>
          <p:nvSpPr>
            <p:cNvPr id="82" name="Freeform 81"/>
            <p:cNvSpPr>
              <a:spLocks/>
            </p:cNvSpPr>
            <p:nvPr/>
          </p:nvSpPr>
          <p:spPr bwMode="auto">
            <a:xfrm>
              <a:off x="5630863" y="2298701"/>
              <a:ext cx="165100" cy="174625"/>
            </a:xfrm>
            <a:custGeom>
              <a:avLst/>
              <a:gdLst>
                <a:gd name="T0" fmla="*/ 42 w 44"/>
                <a:gd name="T1" fmla="*/ 0 h 46"/>
                <a:gd name="T2" fmla="*/ 21 w 44"/>
                <a:gd name="T3" fmla="*/ 0 h 46"/>
                <a:gd name="T4" fmla="*/ 0 w 44"/>
                <a:gd name="T5" fmla="*/ 12 h 46"/>
                <a:gd name="T6" fmla="*/ 0 w 44"/>
                <a:gd name="T7" fmla="*/ 12 h 46"/>
                <a:gd name="T8" fmla="*/ 0 w 44"/>
                <a:gd name="T9" fmla="*/ 44 h 46"/>
                <a:gd name="T10" fmla="*/ 1 w 44"/>
                <a:gd name="T11" fmla="*/ 45 h 46"/>
                <a:gd name="T12" fmla="*/ 2 w 44"/>
                <a:gd name="T13" fmla="*/ 46 h 46"/>
                <a:gd name="T14" fmla="*/ 9 w 44"/>
                <a:gd name="T15" fmla="*/ 46 h 46"/>
                <a:gd name="T16" fmla="*/ 9 w 44"/>
                <a:gd name="T17" fmla="*/ 44 h 46"/>
                <a:gd name="T18" fmla="*/ 18 w 44"/>
                <a:gd name="T19" fmla="*/ 35 h 46"/>
                <a:gd name="T20" fmla="*/ 27 w 44"/>
                <a:gd name="T21" fmla="*/ 44 h 46"/>
                <a:gd name="T22" fmla="*/ 27 w 44"/>
                <a:gd name="T23" fmla="*/ 46 h 46"/>
                <a:gd name="T24" fmla="*/ 42 w 44"/>
                <a:gd name="T25" fmla="*/ 46 h 46"/>
                <a:gd name="T26" fmla="*/ 44 w 44"/>
                <a:gd name="T27" fmla="*/ 44 h 46"/>
                <a:gd name="T28" fmla="*/ 44 w 44"/>
                <a:gd name="T29" fmla="*/ 2 h 46"/>
                <a:gd name="T30" fmla="*/ 42 w 44"/>
                <a:gd name="T3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6">
                  <a:moveTo>
                    <a:pt x="4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6" y="7"/>
                    <a:pt x="9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5"/>
                    <a:pt x="1" y="45"/>
                  </a:cubicBezTo>
                  <a:cubicBezTo>
                    <a:pt x="1" y="46"/>
                    <a:pt x="1" y="46"/>
                    <a:pt x="2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9" y="45"/>
                    <a:pt x="9" y="44"/>
                  </a:cubicBezTo>
                  <a:cubicBezTo>
                    <a:pt x="9" y="39"/>
                    <a:pt x="13" y="35"/>
                    <a:pt x="18" y="35"/>
                  </a:cubicBezTo>
                  <a:cubicBezTo>
                    <a:pt x="23" y="35"/>
                    <a:pt x="27" y="39"/>
                    <a:pt x="27" y="44"/>
                  </a:cubicBezTo>
                  <a:cubicBezTo>
                    <a:pt x="27" y="45"/>
                    <a:pt x="27" y="45"/>
                    <a:pt x="27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3" y="46"/>
                    <a:pt x="44" y="45"/>
                    <a:pt x="44" y="44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Oval 82"/>
            <p:cNvSpPr>
              <a:spLocks noChangeArrowheads="1"/>
            </p:cNvSpPr>
            <p:nvPr/>
          </p:nvSpPr>
          <p:spPr bwMode="auto">
            <a:xfrm>
              <a:off x="5821363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Oval 83"/>
            <p:cNvSpPr>
              <a:spLocks noChangeArrowheads="1"/>
            </p:cNvSpPr>
            <p:nvPr/>
          </p:nvSpPr>
          <p:spPr bwMode="auto">
            <a:xfrm>
              <a:off x="5672138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5554663" y="2179638"/>
              <a:ext cx="150813" cy="149225"/>
            </a:xfrm>
            <a:custGeom>
              <a:avLst/>
              <a:gdLst>
                <a:gd name="T0" fmla="*/ 20 w 40"/>
                <a:gd name="T1" fmla="*/ 40 h 40"/>
                <a:gd name="T2" fmla="*/ 40 w 40"/>
                <a:gd name="T3" fmla="*/ 20 h 40"/>
                <a:gd name="T4" fmla="*/ 20 w 40"/>
                <a:gd name="T5" fmla="*/ 0 h 40"/>
                <a:gd name="T6" fmla="*/ 0 w 40"/>
                <a:gd name="T7" fmla="*/ 20 h 40"/>
                <a:gd name="T8" fmla="*/ 20 w 40"/>
                <a:gd name="T9" fmla="*/ 40 h 40"/>
                <a:gd name="T10" fmla="*/ 16 w 40"/>
                <a:gd name="T11" fmla="*/ 10 h 40"/>
                <a:gd name="T12" fmla="*/ 18 w 40"/>
                <a:gd name="T13" fmla="*/ 8 h 40"/>
                <a:gd name="T14" fmla="*/ 20 w 40"/>
                <a:gd name="T15" fmla="*/ 10 h 40"/>
                <a:gd name="T16" fmla="*/ 20 w 40"/>
                <a:gd name="T17" fmla="*/ 20 h 40"/>
                <a:gd name="T18" fmla="*/ 26 w 40"/>
                <a:gd name="T19" fmla="*/ 20 h 40"/>
                <a:gd name="T20" fmla="*/ 28 w 40"/>
                <a:gd name="T21" fmla="*/ 22 h 40"/>
                <a:gd name="T22" fmla="*/ 26 w 40"/>
                <a:gd name="T23" fmla="*/ 24 h 40"/>
                <a:gd name="T24" fmla="*/ 18 w 40"/>
                <a:gd name="T25" fmla="*/ 24 h 40"/>
                <a:gd name="T26" fmla="*/ 16 w 40"/>
                <a:gd name="T27" fmla="*/ 22 h 40"/>
                <a:gd name="T28" fmla="*/ 16 w 40"/>
                <a:gd name="T2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  <a:moveTo>
                    <a:pt x="16" y="10"/>
                  </a:move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8" y="21"/>
                    <a:pt x="28" y="22"/>
                  </a:cubicBezTo>
                  <a:cubicBezTo>
                    <a:pt x="28" y="23"/>
                    <a:pt x="27" y="24"/>
                    <a:pt x="26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lnTo>
                    <a:pt x="1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5554663" y="2371726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2 w 16"/>
                <a:gd name="T5" fmla="*/ 0 h 4"/>
                <a:gd name="T6" fmla="*/ 0 w 16"/>
                <a:gd name="T7" fmla="*/ 2 h 4"/>
                <a:gd name="T8" fmla="*/ 2 w 16"/>
                <a:gd name="T9" fmla="*/ 4 h 4"/>
                <a:gd name="T10" fmla="*/ 14 w 16"/>
                <a:gd name="T11" fmla="*/ 4 h 4"/>
                <a:gd name="T12" fmla="*/ 14 w 16"/>
                <a:gd name="T13" fmla="*/ 4 h 4"/>
                <a:gd name="T14" fmla="*/ 16 w 16"/>
                <a:gd name="T15" fmla="*/ 2 h 4"/>
                <a:gd name="T16" fmla="*/ 14 w 16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5578475" y="2401888"/>
              <a:ext cx="36513" cy="14288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5592763" y="2430463"/>
              <a:ext cx="22225" cy="15875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88"/>
            <p:cNvSpPr>
              <a:spLocks noEditPoints="1"/>
            </p:cNvSpPr>
            <p:nvPr/>
          </p:nvSpPr>
          <p:spPr bwMode="auto">
            <a:xfrm>
              <a:off x="5803900" y="2344738"/>
              <a:ext cx="112713" cy="128588"/>
            </a:xfrm>
            <a:custGeom>
              <a:avLst/>
              <a:gdLst>
                <a:gd name="T0" fmla="*/ 30 w 30"/>
                <a:gd name="T1" fmla="*/ 18 h 34"/>
                <a:gd name="T2" fmla="*/ 30 w 30"/>
                <a:gd name="T3" fmla="*/ 17 h 34"/>
                <a:gd name="T4" fmla="*/ 30 w 30"/>
                <a:gd name="T5" fmla="*/ 17 h 34"/>
                <a:gd name="T6" fmla="*/ 30 w 30"/>
                <a:gd name="T7" fmla="*/ 17 h 34"/>
                <a:gd name="T8" fmla="*/ 20 w 30"/>
                <a:gd name="T9" fmla="*/ 1 h 34"/>
                <a:gd name="T10" fmla="*/ 18 w 30"/>
                <a:gd name="T11" fmla="*/ 0 h 34"/>
                <a:gd name="T12" fmla="*/ 2 w 30"/>
                <a:gd name="T13" fmla="*/ 0 h 34"/>
                <a:gd name="T14" fmla="*/ 0 w 30"/>
                <a:gd name="T15" fmla="*/ 2 h 34"/>
                <a:gd name="T16" fmla="*/ 0 w 30"/>
                <a:gd name="T17" fmla="*/ 18 h 34"/>
                <a:gd name="T18" fmla="*/ 0 w 30"/>
                <a:gd name="T19" fmla="*/ 32 h 34"/>
                <a:gd name="T20" fmla="*/ 2 w 30"/>
                <a:gd name="T21" fmla="*/ 34 h 34"/>
                <a:gd name="T22" fmla="*/ 3 w 30"/>
                <a:gd name="T23" fmla="*/ 34 h 34"/>
                <a:gd name="T24" fmla="*/ 3 w 30"/>
                <a:gd name="T25" fmla="*/ 32 h 34"/>
                <a:gd name="T26" fmla="*/ 12 w 30"/>
                <a:gd name="T27" fmla="*/ 23 h 34"/>
                <a:gd name="T28" fmla="*/ 21 w 30"/>
                <a:gd name="T29" fmla="*/ 32 h 34"/>
                <a:gd name="T30" fmla="*/ 21 w 30"/>
                <a:gd name="T31" fmla="*/ 34 h 34"/>
                <a:gd name="T32" fmla="*/ 28 w 30"/>
                <a:gd name="T33" fmla="*/ 34 h 34"/>
                <a:gd name="T34" fmla="*/ 30 w 30"/>
                <a:gd name="T35" fmla="*/ 32 h 34"/>
                <a:gd name="T36" fmla="*/ 30 w 30"/>
                <a:gd name="T37" fmla="*/ 18 h 34"/>
                <a:gd name="T38" fmla="*/ 30 w 30"/>
                <a:gd name="T39" fmla="*/ 18 h 34"/>
                <a:gd name="T40" fmla="*/ 4 w 30"/>
                <a:gd name="T41" fmla="*/ 16 h 34"/>
                <a:gd name="T42" fmla="*/ 4 w 30"/>
                <a:gd name="T43" fmla="*/ 4 h 34"/>
                <a:gd name="T44" fmla="*/ 17 w 30"/>
                <a:gd name="T45" fmla="*/ 4 h 34"/>
                <a:gd name="T46" fmla="*/ 24 w 30"/>
                <a:gd name="T47" fmla="*/ 16 h 34"/>
                <a:gd name="T48" fmla="*/ 4 w 30"/>
                <a:gd name="T49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4">
                  <a:moveTo>
                    <a:pt x="30" y="18"/>
                  </a:moveTo>
                  <a:cubicBezTo>
                    <a:pt x="30" y="18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27"/>
                    <a:pt x="7" y="23"/>
                    <a:pt x="12" y="23"/>
                  </a:cubicBezTo>
                  <a:cubicBezTo>
                    <a:pt x="17" y="23"/>
                    <a:pt x="21" y="27"/>
                    <a:pt x="21" y="32"/>
                  </a:cubicBezTo>
                  <a:cubicBezTo>
                    <a:pt x="21" y="33"/>
                    <a:pt x="21" y="33"/>
                    <a:pt x="21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30" y="33"/>
                    <a:pt x="30" y="3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lose/>
                  <a:moveTo>
                    <a:pt x="4" y="16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4" y="16"/>
                    <a:pt x="24" y="16"/>
                    <a:pt x="24" y="16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539283" y="2577467"/>
            <a:ext cx="895615" cy="563900"/>
            <a:chOff x="920816" y="2053524"/>
            <a:chExt cx="1294484" cy="815037"/>
          </a:xfrm>
        </p:grpSpPr>
        <p:sp>
          <p:nvSpPr>
            <p:cNvPr id="18" name="Rectangle: Rounded Corners 7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Rectangle: Rounded Corners 7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7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757103" y="2577467"/>
            <a:ext cx="895615" cy="563900"/>
            <a:chOff x="920816" y="2053524"/>
            <a:chExt cx="1294484" cy="815037"/>
          </a:xfrm>
        </p:grpSpPr>
        <p:sp>
          <p:nvSpPr>
            <p:cNvPr id="43" name="Rectangle: Rounded Corners 76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4" name="Rectangle: Rounded Corners 77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solidFill>
              <a:srgbClr val="BFB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: Rounded Corners 75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2873746" y="2720571"/>
            <a:ext cx="282676" cy="277694"/>
            <a:chOff x="9161463" y="4692650"/>
            <a:chExt cx="360363" cy="354013"/>
          </a:xfrm>
          <a:solidFill>
            <a:schemeClr val="bg1"/>
          </a:solidFill>
        </p:grpSpPr>
        <p:sp>
          <p:nvSpPr>
            <p:cNvPr id="63" name="Freeform 156"/>
            <p:cNvSpPr>
              <a:spLocks noEditPoints="1"/>
            </p:cNvSpPr>
            <p:nvPr/>
          </p:nvSpPr>
          <p:spPr bwMode="auto">
            <a:xfrm>
              <a:off x="9161463" y="4692650"/>
              <a:ext cx="255588" cy="330200"/>
            </a:xfrm>
            <a:custGeom>
              <a:avLst/>
              <a:gdLst>
                <a:gd name="T0" fmla="*/ 48 w 68"/>
                <a:gd name="T1" fmla="*/ 76 h 88"/>
                <a:gd name="T2" fmla="*/ 48 w 68"/>
                <a:gd name="T3" fmla="*/ 76 h 88"/>
                <a:gd name="T4" fmla="*/ 49 w 68"/>
                <a:gd name="T5" fmla="*/ 76 h 88"/>
                <a:gd name="T6" fmla="*/ 50 w 68"/>
                <a:gd name="T7" fmla="*/ 74 h 88"/>
                <a:gd name="T8" fmla="*/ 68 w 68"/>
                <a:gd name="T9" fmla="*/ 56 h 88"/>
                <a:gd name="T10" fmla="*/ 68 w 68"/>
                <a:gd name="T11" fmla="*/ 22 h 88"/>
                <a:gd name="T12" fmla="*/ 67 w 68"/>
                <a:gd name="T13" fmla="*/ 21 h 88"/>
                <a:gd name="T14" fmla="*/ 47 w 68"/>
                <a:gd name="T15" fmla="*/ 1 h 88"/>
                <a:gd name="T16" fmla="*/ 46 w 68"/>
                <a:gd name="T17" fmla="*/ 0 h 88"/>
                <a:gd name="T18" fmla="*/ 2 w 68"/>
                <a:gd name="T19" fmla="*/ 0 h 88"/>
                <a:gd name="T20" fmla="*/ 0 w 68"/>
                <a:gd name="T21" fmla="*/ 2 h 88"/>
                <a:gd name="T22" fmla="*/ 0 w 68"/>
                <a:gd name="T23" fmla="*/ 86 h 88"/>
                <a:gd name="T24" fmla="*/ 2 w 68"/>
                <a:gd name="T25" fmla="*/ 88 h 88"/>
                <a:gd name="T26" fmla="*/ 45 w 68"/>
                <a:gd name="T27" fmla="*/ 88 h 88"/>
                <a:gd name="T28" fmla="*/ 48 w 68"/>
                <a:gd name="T29" fmla="*/ 76 h 88"/>
                <a:gd name="T30" fmla="*/ 46 w 68"/>
                <a:gd name="T31" fmla="*/ 2 h 88"/>
                <a:gd name="T32" fmla="*/ 66 w 68"/>
                <a:gd name="T33" fmla="*/ 22 h 88"/>
                <a:gd name="T34" fmla="*/ 46 w 68"/>
                <a:gd name="T35" fmla="*/ 22 h 88"/>
                <a:gd name="T36" fmla="*/ 46 w 68"/>
                <a:gd name="T37" fmla="*/ 2 h 88"/>
                <a:gd name="T38" fmla="*/ 14 w 68"/>
                <a:gd name="T39" fmla="*/ 24 h 88"/>
                <a:gd name="T40" fmla="*/ 32 w 68"/>
                <a:gd name="T41" fmla="*/ 24 h 88"/>
                <a:gd name="T42" fmla="*/ 34 w 68"/>
                <a:gd name="T43" fmla="*/ 26 h 88"/>
                <a:gd name="T44" fmla="*/ 32 w 68"/>
                <a:gd name="T45" fmla="*/ 28 h 88"/>
                <a:gd name="T46" fmla="*/ 14 w 68"/>
                <a:gd name="T47" fmla="*/ 28 h 88"/>
                <a:gd name="T48" fmla="*/ 12 w 68"/>
                <a:gd name="T49" fmla="*/ 26 h 88"/>
                <a:gd name="T50" fmla="*/ 14 w 68"/>
                <a:gd name="T51" fmla="*/ 24 h 88"/>
                <a:gd name="T52" fmla="*/ 14 w 68"/>
                <a:gd name="T53" fmla="*/ 36 h 88"/>
                <a:gd name="T54" fmla="*/ 46 w 68"/>
                <a:gd name="T55" fmla="*/ 36 h 88"/>
                <a:gd name="T56" fmla="*/ 48 w 68"/>
                <a:gd name="T57" fmla="*/ 38 h 88"/>
                <a:gd name="T58" fmla="*/ 46 w 68"/>
                <a:gd name="T59" fmla="*/ 40 h 88"/>
                <a:gd name="T60" fmla="*/ 14 w 68"/>
                <a:gd name="T61" fmla="*/ 40 h 88"/>
                <a:gd name="T62" fmla="*/ 12 w 68"/>
                <a:gd name="T63" fmla="*/ 38 h 88"/>
                <a:gd name="T64" fmla="*/ 14 w 68"/>
                <a:gd name="T65" fmla="*/ 36 h 88"/>
                <a:gd name="T66" fmla="*/ 34 w 68"/>
                <a:gd name="T67" fmla="*/ 64 h 88"/>
                <a:gd name="T68" fmla="*/ 14 w 68"/>
                <a:gd name="T69" fmla="*/ 64 h 88"/>
                <a:gd name="T70" fmla="*/ 12 w 68"/>
                <a:gd name="T71" fmla="*/ 62 h 88"/>
                <a:gd name="T72" fmla="*/ 14 w 68"/>
                <a:gd name="T73" fmla="*/ 60 h 88"/>
                <a:gd name="T74" fmla="*/ 34 w 68"/>
                <a:gd name="T75" fmla="*/ 60 h 88"/>
                <a:gd name="T76" fmla="*/ 36 w 68"/>
                <a:gd name="T77" fmla="*/ 62 h 88"/>
                <a:gd name="T78" fmla="*/ 34 w 68"/>
                <a:gd name="T79" fmla="*/ 64 h 88"/>
                <a:gd name="T80" fmla="*/ 38 w 68"/>
                <a:gd name="T81" fmla="*/ 52 h 88"/>
                <a:gd name="T82" fmla="*/ 14 w 68"/>
                <a:gd name="T83" fmla="*/ 52 h 88"/>
                <a:gd name="T84" fmla="*/ 12 w 68"/>
                <a:gd name="T85" fmla="*/ 50 h 88"/>
                <a:gd name="T86" fmla="*/ 14 w 68"/>
                <a:gd name="T87" fmla="*/ 48 h 88"/>
                <a:gd name="T88" fmla="*/ 38 w 68"/>
                <a:gd name="T89" fmla="*/ 48 h 88"/>
                <a:gd name="T90" fmla="*/ 40 w 68"/>
                <a:gd name="T91" fmla="*/ 50 h 88"/>
                <a:gd name="T92" fmla="*/ 38 w 68"/>
                <a:gd name="T93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88">
                  <a:moveTo>
                    <a:pt x="48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9" y="76"/>
                    <a:pt x="49" y="76"/>
                  </a:cubicBezTo>
                  <a:cubicBezTo>
                    <a:pt x="49" y="75"/>
                    <a:pt x="49" y="74"/>
                    <a:pt x="50" y="74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45" y="88"/>
                    <a:pt x="45" y="88"/>
                    <a:pt x="45" y="88"/>
                  </a:cubicBezTo>
                  <a:lnTo>
                    <a:pt x="48" y="76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57"/>
            <p:cNvSpPr>
              <a:spLocks/>
            </p:cNvSpPr>
            <p:nvPr/>
          </p:nvSpPr>
          <p:spPr bwMode="auto">
            <a:xfrm>
              <a:off x="9364663" y="4903788"/>
              <a:ext cx="119063" cy="119063"/>
            </a:xfrm>
            <a:custGeom>
              <a:avLst/>
              <a:gdLst>
                <a:gd name="T0" fmla="*/ 45 w 75"/>
                <a:gd name="T1" fmla="*/ 0 h 75"/>
                <a:gd name="T2" fmla="*/ 0 w 75"/>
                <a:gd name="T3" fmla="*/ 45 h 75"/>
                <a:gd name="T4" fmla="*/ 30 w 75"/>
                <a:gd name="T5" fmla="*/ 75 h 75"/>
                <a:gd name="T6" fmla="*/ 75 w 75"/>
                <a:gd name="T7" fmla="*/ 30 h 75"/>
                <a:gd name="T8" fmla="*/ 45 w 75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45" y="0"/>
                  </a:moveTo>
                  <a:lnTo>
                    <a:pt x="0" y="45"/>
                  </a:lnTo>
                  <a:lnTo>
                    <a:pt x="30" y="75"/>
                  </a:lnTo>
                  <a:lnTo>
                    <a:pt x="75" y="3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58"/>
            <p:cNvSpPr>
              <a:spLocks/>
            </p:cNvSpPr>
            <p:nvPr/>
          </p:nvSpPr>
          <p:spPr bwMode="auto">
            <a:xfrm>
              <a:off x="9340850" y="4989513"/>
              <a:ext cx="57150" cy="57150"/>
            </a:xfrm>
            <a:custGeom>
              <a:avLst/>
              <a:gdLst>
                <a:gd name="T0" fmla="*/ 4 w 15"/>
                <a:gd name="T1" fmla="*/ 0 h 15"/>
                <a:gd name="T2" fmla="*/ 0 w 15"/>
                <a:gd name="T3" fmla="*/ 12 h 15"/>
                <a:gd name="T4" fmla="*/ 1 w 15"/>
                <a:gd name="T5" fmla="*/ 14 h 15"/>
                <a:gd name="T6" fmla="*/ 2 w 15"/>
                <a:gd name="T7" fmla="*/ 15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4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59"/>
            <p:cNvSpPr>
              <a:spLocks/>
            </p:cNvSpPr>
            <p:nvPr/>
          </p:nvSpPr>
          <p:spPr bwMode="auto">
            <a:xfrm>
              <a:off x="9447213" y="486568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19 w 20"/>
                <a:gd name="T13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0" name="Freeform 89"/>
          <p:cNvSpPr>
            <a:spLocks noEditPoints="1"/>
          </p:cNvSpPr>
          <p:nvPr/>
        </p:nvSpPr>
        <p:spPr bwMode="auto">
          <a:xfrm>
            <a:off x="9111577" y="2734241"/>
            <a:ext cx="186666" cy="250352"/>
          </a:xfrm>
          <a:custGeom>
            <a:avLst/>
            <a:gdLst>
              <a:gd name="T0" fmla="*/ 70 w 72"/>
              <a:gd name="T1" fmla="*/ 92 h 96"/>
              <a:gd name="T2" fmla="*/ 64 w 72"/>
              <a:gd name="T3" fmla="*/ 92 h 96"/>
              <a:gd name="T4" fmla="*/ 64 w 72"/>
              <a:gd name="T5" fmla="*/ 78 h 96"/>
              <a:gd name="T6" fmla="*/ 64 w 72"/>
              <a:gd name="T7" fmla="*/ 74 h 96"/>
              <a:gd name="T8" fmla="*/ 46 w 72"/>
              <a:gd name="T9" fmla="*/ 48 h 96"/>
              <a:gd name="T10" fmla="*/ 64 w 72"/>
              <a:gd name="T11" fmla="*/ 22 h 96"/>
              <a:gd name="T12" fmla="*/ 64 w 72"/>
              <a:gd name="T13" fmla="*/ 4 h 96"/>
              <a:gd name="T14" fmla="*/ 70 w 72"/>
              <a:gd name="T15" fmla="*/ 4 h 96"/>
              <a:gd name="T16" fmla="*/ 72 w 72"/>
              <a:gd name="T17" fmla="*/ 2 h 96"/>
              <a:gd name="T18" fmla="*/ 70 w 72"/>
              <a:gd name="T19" fmla="*/ 0 h 96"/>
              <a:gd name="T20" fmla="*/ 62 w 72"/>
              <a:gd name="T21" fmla="*/ 0 h 96"/>
              <a:gd name="T22" fmla="*/ 10 w 72"/>
              <a:gd name="T23" fmla="*/ 0 h 96"/>
              <a:gd name="T24" fmla="*/ 2 w 72"/>
              <a:gd name="T25" fmla="*/ 0 h 96"/>
              <a:gd name="T26" fmla="*/ 0 w 72"/>
              <a:gd name="T27" fmla="*/ 2 h 96"/>
              <a:gd name="T28" fmla="*/ 2 w 72"/>
              <a:gd name="T29" fmla="*/ 4 h 96"/>
              <a:gd name="T30" fmla="*/ 8 w 72"/>
              <a:gd name="T31" fmla="*/ 4 h 96"/>
              <a:gd name="T32" fmla="*/ 8 w 72"/>
              <a:gd name="T33" fmla="*/ 22 h 96"/>
              <a:gd name="T34" fmla="*/ 26 w 72"/>
              <a:gd name="T35" fmla="*/ 48 h 96"/>
              <a:gd name="T36" fmla="*/ 8 w 72"/>
              <a:gd name="T37" fmla="*/ 74 h 96"/>
              <a:gd name="T38" fmla="*/ 8 w 72"/>
              <a:gd name="T39" fmla="*/ 78 h 96"/>
              <a:gd name="T40" fmla="*/ 8 w 72"/>
              <a:gd name="T41" fmla="*/ 92 h 96"/>
              <a:gd name="T42" fmla="*/ 2 w 72"/>
              <a:gd name="T43" fmla="*/ 92 h 96"/>
              <a:gd name="T44" fmla="*/ 0 w 72"/>
              <a:gd name="T45" fmla="*/ 94 h 96"/>
              <a:gd name="T46" fmla="*/ 2 w 72"/>
              <a:gd name="T47" fmla="*/ 96 h 96"/>
              <a:gd name="T48" fmla="*/ 10 w 72"/>
              <a:gd name="T49" fmla="*/ 96 h 96"/>
              <a:gd name="T50" fmla="*/ 62 w 72"/>
              <a:gd name="T51" fmla="*/ 96 h 96"/>
              <a:gd name="T52" fmla="*/ 70 w 72"/>
              <a:gd name="T53" fmla="*/ 96 h 96"/>
              <a:gd name="T54" fmla="*/ 72 w 72"/>
              <a:gd name="T55" fmla="*/ 94 h 96"/>
              <a:gd name="T56" fmla="*/ 70 w 72"/>
              <a:gd name="T57" fmla="*/ 92 h 96"/>
              <a:gd name="T58" fmla="*/ 17 w 72"/>
              <a:gd name="T59" fmla="*/ 36 h 96"/>
              <a:gd name="T60" fmla="*/ 12 w 72"/>
              <a:gd name="T61" fmla="*/ 22 h 96"/>
              <a:gd name="T62" fmla="*/ 12 w 72"/>
              <a:gd name="T63" fmla="*/ 4 h 96"/>
              <a:gd name="T64" fmla="*/ 60 w 72"/>
              <a:gd name="T65" fmla="*/ 4 h 96"/>
              <a:gd name="T66" fmla="*/ 60 w 72"/>
              <a:gd name="T67" fmla="*/ 22 h 96"/>
              <a:gd name="T68" fmla="*/ 55 w 72"/>
              <a:gd name="T69" fmla="*/ 36 h 96"/>
              <a:gd name="T70" fmla="*/ 17 w 72"/>
              <a:gd name="T71" fmla="*/ 36 h 96"/>
              <a:gd name="T72" fmla="*/ 60 w 72"/>
              <a:gd name="T73" fmla="*/ 76 h 96"/>
              <a:gd name="T74" fmla="*/ 49 w 72"/>
              <a:gd name="T75" fmla="*/ 76 h 96"/>
              <a:gd name="T76" fmla="*/ 37 w 72"/>
              <a:gd name="T77" fmla="*/ 65 h 96"/>
              <a:gd name="T78" fmla="*/ 35 w 72"/>
              <a:gd name="T79" fmla="*/ 65 h 96"/>
              <a:gd name="T80" fmla="*/ 23 w 72"/>
              <a:gd name="T81" fmla="*/ 76 h 96"/>
              <a:gd name="T82" fmla="*/ 12 w 72"/>
              <a:gd name="T83" fmla="*/ 76 h 96"/>
              <a:gd name="T84" fmla="*/ 12 w 72"/>
              <a:gd name="T85" fmla="*/ 74 h 96"/>
              <a:gd name="T86" fmla="*/ 36 w 72"/>
              <a:gd name="T87" fmla="*/ 50 h 96"/>
              <a:gd name="T88" fmla="*/ 60 w 72"/>
              <a:gd name="T89" fmla="*/ 74 h 96"/>
              <a:gd name="T90" fmla="*/ 60 w 72"/>
              <a:gd name="T91" fmla="*/ 7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" h="96">
                <a:moveTo>
                  <a:pt x="70" y="92"/>
                </a:moveTo>
                <a:cubicBezTo>
                  <a:pt x="64" y="92"/>
                  <a:pt x="64" y="92"/>
                  <a:pt x="64" y="92"/>
                </a:cubicBezTo>
                <a:cubicBezTo>
                  <a:pt x="64" y="78"/>
                  <a:pt x="64" y="78"/>
                  <a:pt x="64" y="78"/>
                </a:cubicBezTo>
                <a:cubicBezTo>
                  <a:pt x="64" y="74"/>
                  <a:pt x="64" y="74"/>
                  <a:pt x="64" y="74"/>
                </a:cubicBezTo>
                <a:cubicBezTo>
                  <a:pt x="64" y="62"/>
                  <a:pt x="57" y="52"/>
                  <a:pt x="46" y="48"/>
                </a:cubicBezTo>
                <a:cubicBezTo>
                  <a:pt x="56" y="44"/>
                  <a:pt x="64" y="35"/>
                  <a:pt x="64" y="22"/>
                </a:cubicBezTo>
                <a:cubicBezTo>
                  <a:pt x="64" y="4"/>
                  <a:pt x="64" y="4"/>
                  <a:pt x="64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71" y="4"/>
                  <a:pt x="72" y="3"/>
                  <a:pt x="72" y="2"/>
                </a:cubicBezTo>
                <a:cubicBezTo>
                  <a:pt x="72" y="1"/>
                  <a:pt x="71" y="0"/>
                  <a:pt x="70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35"/>
                  <a:pt x="16" y="44"/>
                  <a:pt x="26" y="48"/>
                </a:cubicBezTo>
                <a:cubicBezTo>
                  <a:pt x="15" y="52"/>
                  <a:pt x="8" y="62"/>
                  <a:pt x="8" y="74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92"/>
                  <a:pt x="8" y="92"/>
                  <a:pt x="8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1" y="92"/>
                  <a:pt x="0" y="93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0" y="96"/>
                  <a:pt x="10" y="96"/>
                  <a:pt x="10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93"/>
                  <a:pt x="71" y="92"/>
                  <a:pt x="70" y="92"/>
                </a:cubicBezTo>
                <a:close/>
                <a:moveTo>
                  <a:pt x="17" y="36"/>
                </a:moveTo>
                <a:cubicBezTo>
                  <a:pt x="14" y="32"/>
                  <a:pt x="12" y="27"/>
                  <a:pt x="12" y="22"/>
                </a:cubicBezTo>
                <a:cubicBezTo>
                  <a:pt x="12" y="4"/>
                  <a:pt x="12" y="4"/>
                  <a:pt x="12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7"/>
                  <a:pt x="58" y="32"/>
                  <a:pt x="55" y="36"/>
                </a:cubicBezTo>
                <a:lnTo>
                  <a:pt x="17" y="36"/>
                </a:lnTo>
                <a:close/>
                <a:moveTo>
                  <a:pt x="60" y="76"/>
                </a:moveTo>
                <a:cubicBezTo>
                  <a:pt x="49" y="76"/>
                  <a:pt x="49" y="76"/>
                  <a:pt x="49" y="76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4"/>
                  <a:pt x="35" y="64"/>
                  <a:pt x="35" y="65"/>
                </a:cubicBezTo>
                <a:cubicBezTo>
                  <a:pt x="23" y="76"/>
                  <a:pt x="23" y="76"/>
                  <a:pt x="23" y="76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61"/>
                  <a:pt x="23" y="50"/>
                  <a:pt x="36" y="50"/>
                </a:cubicBezTo>
                <a:cubicBezTo>
                  <a:pt x="49" y="50"/>
                  <a:pt x="60" y="61"/>
                  <a:pt x="60" y="74"/>
                </a:cubicBezTo>
                <a:lnTo>
                  <a:pt x="6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3" name="Group 92"/>
          <p:cNvGrpSpPr/>
          <p:nvPr/>
        </p:nvGrpSpPr>
        <p:grpSpPr>
          <a:xfrm>
            <a:off x="1851761" y="1825781"/>
            <a:ext cx="2270658" cy="542271"/>
            <a:chOff x="8382865" y="2626395"/>
            <a:chExt cx="2335317" cy="542271"/>
          </a:xfrm>
        </p:grpSpPr>
        <p:sp>
          <p:nvSpPr>
            <p:cNvPr id="94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95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4960671" y="1825781"/>
            <a:ext cx="2270658" cy="542271"/>
            <a:chOff x="8382865" y="2626395"/>
            <a:chExt cx="2335317" cy="542271"/>
          </a:xfrm>
        </p:grpSpPr>
        <p:sp>
          <p:nvSpPr>
            <p:cNvPr id="97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98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8069581" y="1825781"/>
            <a:ext cx="2270658" cy="542271"/>
            <a:chOff x="8382865" y="2626395"/>
            <a:chExt cx="2335317" cy="542271"/>
          </a:xfrm>
        </p:grpSpPr>
        <p:sp>
          <p:nvSpPr>
            <p:cNvPr id="100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101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1851761" y="5127674"/>
            <a:ext cx="2270658" cy="542271"/>
            <a:chOff x="8382865" y="2626395"/>
            <a:chExt cx="2335317" cy="542271"/>
          </a:xfrm>
        </p:grpSpPr>
        <p:sp>
          <p:nvSpPr>
            <p:cNvPr id="103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104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4960671" y="5127674"/>
            <a:ext cx="2270658" cy="542271"/>
            <a:chOff x="8382865" y="2626395"/>
            <a:chExt cx="2335317" cy="542271"/>
          </a:xfrm>
        </p:grpSpPr>
        <p:sp>
          <p:nvSpPr>
            <p:cNvPr id="106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107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8069581" y="5127674"/>
            <a:ext cx="2270658" cy="542271"/>
            <a:chOff x="8382865" y="2626395"/>
            <a:chExt cx="2335317" cy="542271"/>
          </a:xfrm>
        </p:grpSpPr>
        <p:sp>
          <p:nvSpPr>
            <p:cNvPr id="109" name="TextBox 25"/>
            <p:cNvSpPr txBox="1"/>
            <p:nvPr/>
          </p:nvSpPr>
          <p:spPr>
            <a:xfrm>
              <a:off x="8382865" y="2860889"/>
              <a:ext cx="233531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.</a:t>
              </a:r>
            </a:p>
          </p:txBody>
        </p:sp>
        <p:sp>
          <p:nvSpPr>
            <p:cNvPr id="110" name="TextBox 25"/>
            <p:cNvSpPr txBox="1"/>
            <p:nvPr/>
          </p:nvSpPr>
          <p:spPr>
            <a:xfrm>
              <a:off x="8865596" y="2626395"/>
              <a:ext cx="136985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</a:t>
              </a:r>
            </a:p>
          </p:txBody>
        </p:sp>
      </p:grpSp>
      <p:sp>
        <p:nvSpPr>
          <p:cNvPr id="117" name="Freeform 2788"/>
          <p:cNvSpPr>
            <a:spLocks/>
          </p:cNvSpPr>
          <p:nvPr/>
        </p:nvSpPr>
        <p:spPr bwMode="auto">
          <a:xfrm rot="13500000">
            <a:off x="5904375" y="3562584"/>
            <a:ext cx="383250" cy="381122"/>
          </a:xfrm>
          <a:custGeom>
            <a:avLst/>
            <a:gdLst>
              <a:gd name="T0" fmla="*/ 675 w 719"/>
              <a:gd name="T1" fmla="*/ 8 h 714"/>
              <a:gd name="T2" fmla="*/ 640 w 719"/>
              <a:gd name="T3" fmla="*/ 0 h 714"/>
              <a:gd name="T4" fmla="*/ 603 w 719"/>
              <a:gd name="T5" fmla="*/ 3 h 714"/>
              <a:gd name="T6" fmla="*/ 574 w 719"/>
              <a:gd name="T7" fmla="*/ 16 h 714"/>
              <a:gd name="T8" fmla="*/ 420 w 719"/>
              <a:gd name="T9" fmla="*/ 114 h 714"/>
              <a:gd name="T10" fmla="*/ 320 w 719"/>
              <a:gd name="T11" fmla="*/ 112 h 714"/>
              <a:gd name="T12" fmla="*/ 220 w 719"/>
              <a:gd name="T13" fmla="*/ 111 h 714"/>
              <a:gd name="T14" fmla="*/ 96 w 719"/>
              <a:gd name="T15" fmla="*/ 113 h 714"/>
              <a:gd name="T16" fmla="*/ 43 w 719"/>
              <a:gd name="T17" fmla="*/ 124 h 714"/>
              <a:gd name="T18" fmla="*/ 11 w 719"/>
              <a:gd name="T19" fmla="*/ 150 h 714"/>
              <a:gd name="T20" fmla="*/ 0 w 719"/>
              <a:gd name="T21" fmla="*/ 198 h 714"/>
              <a:gd name="T22" fmla="*/ 8 w 719"/>
              <a:gd name="T23" fmla="*/ 233 h 714"/>
              <a:gd name="T24" fmla="*/ 31 w 719"/>
              <a:gd name="T25" fmla="*/ 256 h 714"/>
              <a:gd name="T26" fmla="*/ 84 w 719"/>
              <a:gd name="T27" fmla="*/ 271 h 714"/>
              <a:gd name="T28" fmla="*/ 205 w 719"/>
              <a:gd name="T29" fmla="*/ 278 h 714"/>
              <a:gd name="T30" fmla="*/ 308 w 719"/>
              <a:gd name="T31" fmla="*/ 280 h 714"/>
              <a:gd name="T32" fmla="*/ 58 w 719"/>
              <a:gd name="T33" fmla="*/ 428 h 714"/>
              <a:gd name="T34" fmla="*/ 31 w 719"/>
              <a:gd name="T35" fmla="*/ 438 h 714"/>
              <a:gd name="T36" fmla="*/ 12 w 719"/>
              <a:gd name="T37" fmla="*/ 457 h 714"/>
              <a:gd name="T38" fmla="*/ 2 w 719"/>
              <a:gd name="T39" fmla="*/ 484 h 714"/>
              <a:gd name="T40" fmla="*/ 3 w 719"/>
              <a:gd name="T41" fmla="*/ 517 h 714"/>
              <a:gd name="T42" fmla="*/ 19 w 719"/>
              <a:gd name="T43" fmla="*/ 547 h 714"/>
              <a:gd name="T44" fmla="*/ 48 w 719"/>
              <a:gd name="T45" fmla="*/ 566 h 714"/>
              <a:gd name="T46" fmla="*/ 102 w 719"/>
              <a:gd name="T47" fmla="*/ 585 h 714"/>
              <a:gd name="T48" fmla="*/ 129 w 719"/>
              <a:gd name="T49" fmla="*/ 611 h 714"/>
              <a:gd name="T50" fmla="*/ 148 w 719"/>
              <a:gd name="T51" fmla="*/ 666 h 714"/>
              <a:gd name="T52" fmla="*/ 168 w 719"/>
              <a:gd name="T53" fmla="*/ 694 h 714"/>
              <a:gd name="T54" fmla="*/ 197 w 719"/>
              <a:gd name="T55" fmla="*/ 711 h 714"/>
              <a:gd name="T56" fmla="*/ 232 w 719"/>
              <a:gd name="T57" fmla="*/ 712 h 714"/>
              <a:gd name="T58" fmla="*/ 257 w 719"/>
              <a:gd name="T59" fmla="*/ 698 h 714"/>
              <a:gd name="T60" fmla="*/ 276 w 719"/>
              <a:gd name="T61" fmla="*/ 674 h 714"/>
              <a:gd name="T62" fmla="*/ 287 w 719"/>
              <a:gd name="T63" fmla="*/ 645 h 714"/>
              <a:gd name="T64" fmla="*/ 434 w 719"/>
              <a:gd name="T65" fmla="*/ 406 h 714"/>
              <a:gd name="T66" fmla="*/ 437 w 719"/>
              <a:gd name="T67" fmla="*/ 509 h 714"/>
              <a:gd name="T68" fmla="*/ 443 w 719"/>
              <a:gd name="T69" fmla="*/ 630 h 714"/>
              <a:gd name="T70" fmla="*/ 459 w 719"/>
              <a:gd name="T71" fmla="*/ 683 h 714"/>
              <a:gd name="T72" fmla="*/ 481 w 719"/>
              <a:gd name="T73" fmla="*/ 706 h 714"/>
              <a:gd name="T74" fmla="*/ 517 w 719"/>
              <a:gd name="T75" fmla="*/ 714 h 714"/>
              <a:gd name="T76" fmla="*/ 552 w 719"/>
              <a:gd name="T77" fmla="*/ 709 h 714"/>
              <a:gd name="T78" fmla="*/ 576 w 719"/>
              <a:gd name="T79" fmla="*/ 695 h 714"/>
              <a:gd name="T80" fmla="*/ 594 w 719"/>
              <a:gd name="T81" fmla="*/ 662 h 714"/>
              <a:gd name="T82" fmla="*/ 602 w 719"/>
              <a:gd name="T83" fmla="*/ 612 h 714"/>
              <a:gd name="T84" fmla="*/ 603 w 719"/>
              <a:gd name="T85" fmla="*/ 439 h 714"/>
              <a:gd name="T86" fmla="*/ 601 w 719"/>
              <a:gd name="T87" fmla="*/ 349 h 714"/>
              <a:gd name="T88" fmla="*/ 600 w 719"/>
              <a:gd name="T89" fmla="*/ 240 h 714"/>
              <a:gd name="T90" fmla="*/ 709 w 719"/>
              <a:gd name="T91" fmla="*/ 125 h 714"/>
              <a:gd name="T92" fmla="*/ 718 w 719"/>
              <a:gd name="T93" fmla="*/ 93 h 714"/>
              <a:gd name="T94" fmla="*/ 715 w 719"/>
              <a:gd name="T95" fmla="*/ 59 h 714"/>
              <a:gd name="T96" fmla="*/ 699 w 719"/>
              <a:gd name="T97" fmla="*/ 29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9" h="714">
                <a:moveTo>
                  <a:pt x="693" y="21"/>
                </a:moveTo>
                <a:lnTo>
                  <a:pt x="688" y="16"/>
                </a:lnTo>
                <a:lnTo>
                  <a:pt x="682" y="12"/>
                </a:lnTo>
                <a:lnTo>
                  <a:pt x="675" y="8"/>
                </a:lnTo>
                <a:lnTo>
                  <a:pt x="666" y="5"/>
                </a:lnTo>
                <a:lnTo>
                  <a:pt x="658" y="3"/>
                </a:lnTo>
                <a:lnTo>
                  <a:pt x="649" y="1"/>
                </a:lnTo>
                <a:lnTo>
                  <a:pt x="640" y="0"/>
                </a:lnTo>
                <a:lnTo>
                  <a:pt x="631" y="0"/>
                </a:lnTo>
                <a:lnTo>
                  <a:pt x="621" y="0"/>
                </a:lnTo>
                <a:lnTo>
                  <a:pt x="612" y="1"/>
                </a:lnTo>
                <a:lnTo>
                  <a:pt x="603" y="3"/>
                </a:lnTo>
                <a:lnTo>
                  <a:pt x="595" y="5"/>
                </a:lnTo>
                <a:lnTo>
                  <a:pt x="587" y="8"/>
                </a:lnTo>
                <a:lnTo>
                  <a:pt x="580" y="12"/>
                </a:lnTo>
                <a:lnTo>
                  <a:pt x="574" y="16"/>
                </a:lnTo>
                <a:lnTo>
                  <a:pt x="568" y="21"/>
                </a:lnTo>
                <a:lnTo>
                  <a:pt x="475" y="114"/>
                </a:lnTo>
                <a:lnTo>
                  <a:pt x="447" y="114"/>
                </a:lnTo>
                <a:lnTo>
                  <a:pt x="420" y="114"/>
                </a:lnTo>
                <a:lnTo>
                  <a:pt x="393" y="113"/>
                </a:lnTo>
                <a:lnTo>
                  <a:pt x="368" y="113"/>
                </a:lnTo>
                <a:lnTo>
                  <a:pt x="343" y="113"/>
                </a:lnTo>
                <a:lnTo>
                  <a:pt x="320" y="112"/>
                </a:lnTo>
                <a:lnTo>
                  <a:pt x="298" y="112"/>
                </a:lnTo>
                <a:lnTo>
                  <a:pt x="277" y="111"/>
                </a:lnTo>
                <a:lnTo>
                  <a:pt x="248" y="111"/>
                </a:lnTo>
                <a:lnTo>
                  <a:pt x="220" y="111"/>
                </a:lnTo>
                <a:lnTo>
                  <a:pt x="195" y="110"/>
                </a:lnTo>
                <a:lnTo>
                  <a:pt x="173" y="110"/>
                </a:lnTo>
                <a:lnTo>
                  <a:pt x="131" y="111"/>
                </a:lnTo>
                <a:lnTo>
                  <a:pt x="96" y="113"/>
                </a:lnTo>
                <a:lnTo>
                  <a:pt x="80" y="115"/>
                </a:lnTo>
                <a:lnTo>
                  <a:pt x="66" y="117"/>
                </a:lnTo>
                <a:lnTo>
                  <a:pt x="54" y="120"/>
                </a:lnTo>
                <a:lnTo>
                  <a:pt x="43" y="124"/>
                </a:lnTo>
                <a:lnTo>
                  <a:pt x="32" y="129"/>
                </a:lnTo>
                <a:lnTo>
                  <a:pt x="24" y="135"/>
                </a:lnTo>
                <a:lnTo>
                  <a:pt x="16" y="142"/>
                </a:lnTo>
                <a:lnTo>
                  <a:pt x="11" y="150"/>
                </a:lnTo>
                <a:lnTo>
                  <a:pt x="6" y="161"/>
                </a:lnTo>
                <a:lnTo>
                  <a:pt x="3" y="171"/>
                </a:lnTo>
                <a:lnTo>
                  <a:pt x="1" y="184"/>
                </a:lnTo>
                <a:lnTo>
                  <a:pt x="0" y="198"/>
                </a:lnTo>
                <a:lnTo>
                  <a:pt x="1" y="211"/>
                </a:lnTo>
                <a:lnTo>
                  <a:pt x="4" y="223"/>
                </a:lnTo>
                <a:lnTo>
                  <a:pt x="6" y="228"/>
                </a:lnTo>
                <a:lnTo>
                  <a:pt x="8" y="233"/>
                </a:lnTo>
                <a:lnTo>
                  <a:pt x="11" y="238"/>
                </a:lnTo>
                <a:lnTo>
                  <a:pt x="14" y="242"/>
                </a:lnTo>
                <a:lnTo>
                  <a:pt x="22" y="249"/>
                </a:lnTo>
                <a:lnTo>
                  <a:pt x="31" y="256"/>
                </a:lnTo>
                <a:lnTo>
                  <a:pt x="43" y="261"/>
                </a:lnTo>
                <a:lnTo>
                  <a:pt x="55" y="265"/>
                </a:lnTo>
                <a:lnTo>
                  <a:pt x="69" y="269"/>
                </a:lnTo>
                <a:lnTo>
                  <a:pt x="84" y="271"/>
                </a:lnTo>
                <a:lnTo>
                  <a:pt x="101" y="273"/>
                </a:lnTo>
                <a:lnTo>
                  <a:pt x="120" y="275"/>
                </a:lnTo>
                <a:lnTo>
                  <a:pt x="159" y="277"/>
                </a:lnTo>
                <a:lnTo>
                  <a:pt x="205" y="278"/>
                </a:lnTo>
                <a:lnTo>
                  <a:pt x="229" y="278"/>
                </a:lnTo>
                <a:lnTo>
                  <a:pt x="254" y="278"/>
                </a:lnTo>
                <a:lnTo>
                  <a:pt x="280" y="279"/>
                </a:lnTo>
                <a:lnTo>
                  <a:pt x="308" y="280"/>
                </a:lnTo>
                <a:lnTo>
                  <a:pt x="151" y="426"/>
                </a:lnTo>
                <a:lnTo>
                  <a:pt x="72" y="426"/>
                </a:lnTo>
                <a:lnTo>
                  <a:pt x="65" y="426"/>
                </a:lnTo>
                <a:lnTo>
                  <a:pt x="58" y="428"/>
                </a:lnTo>
                <a:lnTo>
                  <a:pt x="51" y="429"/>
                </a:lnTo>
                <a:lnTo>
                  <a:pt x="44" y="432"/>
                </a:lnTo>
                <a:lnTo>
                  <a:pt x="37" y="435"/>
                </a:lnTo>
                <a:lnTo>
                  <a:pt x="31" y="438"/>
                </a:lnTo>
                <a:lnTo>
                  <a:pt x="26" y="442"/>
                </a:lnTo>
                <a:lnTo>
                  <a:pt x="21" y="447"/>
                </a:lnTo>
                <a:lnTo>
                  <a:pt x="16" y="452"/>
                </a:lnTo>
                <a:lnTo>
                  <a:pt x="12" y="457"/>
                </a:lnTo>
                <a:lnTo>
                  <a:pt x="9" y="463"/>
                </a:lnTo>
                <a:lnTo>
                  <a:pt x="6" y="470"/>
                </a:lnTo>
                <a:lnTo>
                  <a:pt x="3" y="477"/>
                </a:lnTo>
                <a:lnTo>
                  <a:pt x="2" y="484"/>
                </a:lnTo>
                <a:lnTo>
                  <a:pt x="1" y="491"/>
                </a:lnTo>
                <a:lnTo>
                  <a:pt x="0" y="498"/>
                </a:lnTo>
                <a:lnTo>
                  <a:pt x="1" y="508"/>
                </a:lnTo>
                <a:lnTo>
                  <a:pt x="3" y="517"/>
                </a:lnTo>
                <a:lnTo>
                  <a:pt x="5" y="525"/>
                </a:lnTo>
                <a:lnTo>
                  <a:pt x="9" y="533"/>
                </a:lnTo>
                <a:lnTo>
                  <a:pt x="14" y="541"/>
                </a:lnTo>
                <a:lnTo>
                  <a:pt x="19" y="547"/>
                </a:lnTo>
                <a:lnTo>
                  <a:pt x="25" y="552"/>
                </a:lnTo>
                <a:lnTo>
                  <a:pt x="32" y="557"/>
                </a:lnTo>
                <a:lnTo>
                  <a:pt x="40" y="562"/>
                </a:lnTo>
                <a:lnTo>
                  <a:pt x="48" y="566"/>
                </a:lnTo>
                <a:lnTo>
                  <a:pt x="57" y="570"/>
                </a:lnTo>
                <a:lnTo>
                  <a:pt x="66" y="573"/>
                </a:lnTo>
                <a:lnTo>
                  <a:pt x="84" y="579"/>
                </a:lnTo>
                <a:lnTo>
                  <a:pt x="102" y="585"/>
                </a:lnTo>
                <a:lnTo>
                  <a:pt x="113" y="589"/>
                </a:lnTo>
                <a:lnTo>
                  <a:pt x="123" y="591"/>
                </a:lnTo>
                <a:lnTo>
                  <a:pt x="126" y="602"/>
                </a:lnTo>
                <a:lnTo>
                  <a:pt x="129" y="611"/>
                </a:lnTo>
                <a:lnTo>
                  <a:pt x="134" y="629"/>
                </a:lnTo>
                <a:lnTo>
                  <a:pt x="140" y="647"/>
                </a:lnTo>
                <a:lnTo>
                  <a:pt x="144" y="656"/>
                </a:lnTo>
                <a:lnTo>
                  <a:pt x="148" y="666"/>
                </a:lnTo>
                <a:lnTo>
                  <a:pt x="152" y="674"/>
                </a:lnTo>
                <a:lnTo>
                  <a:pt x="157" y="681"/>
                </a:lnTo>
                <a:lnTo>
                  <a:pt x="162" y="688"/>
                </a:lnTo>
                <a:lnTo>
                  <a:pt x="168" y="694"/>
                </a:lnTo>
                <a:lnTo>
                  <a:pt x="174" y="700"/>
                </a:lnTo>
                <a:lnTo>
                  <a:pt x="181" y="705"/>
                </a:lnTo>
                <a:lnTo>
                  <a:pt x="189" y="709"/>
                </a:lnTo>
                <a:lnTo>
                  <a:pt x="197" y="711"/>
                </a:lnTo>
                <a:lnTo>
                  <a:pt x="206" y="713"/>
                </a:lnTo>
                <a:lnTo>
                  <a:pt x="216" y="714"/>
                </a:lnTo>
                <a:lnTo>
                  <a:pt x="224" y="713"/>
                </a:lnTo>
                <a:lnTo>
                  <a:pt x="232" y="712"/>
                </a:lnTo>
                <a:lnTo>
                  <a:pt x="239" y="709"/>
                </a:lnTo>
                <a:lnTo>
                  <a:pt x="245" y="706"/>
                </a:lnTo>
                <a:lnTo>
                  <a:pt x="251" y="702"/>
                </a:lnTo>
                <a:lnTo>
                  <a:pt x="257" y="698"/>
                </a:lnTo>
                <a:lnTo>
                  <a:pt x="263" y="693"/>
                </a:lnTo>
                <a:lnTo>
                  <a:pt x="268" y="687"/>
                </a:lnTo>
                <a:lnTo>
                  <a:pt x="272" y="681"/>
                </a:lnTo>
                <a:lnTo>
                  <a:pt x="276" y="674"/>
                </a:lnTo>
                <a:lnTo>
                  <a:pt x="280" y="668"/>
                </a:lnTo>
                <a:lnTo>
                  <a:pt x="283" y="659"/>
                </a:lnTo>
                <a:lnTo>
                  <a:pt x="285" y="652"/>
                </a:lnTo>
                <a:lnTo>
                  <a:pt x="287" y="645"/>
                </a:lnTo>
                <a:lnTo>
                  <a:pt x="288" y="637"/>
                </a:lnTo>
                <a:lnTo>
                  <a:pt x="288" y="630"/>
                </a:lnTo>
                <a:lnTo>
                  <a:pt x="288" y="563"/>
                </a:lnTo>
                <a:lnTo>
                  <a:pt x="434" y="406"/>
                </a:lnTo>
                <a:lnTo>
                  <a:pt x="435" y="434"/>
                </a:lnTo>
                <a:lnTo>
                  <a:pt x="436" y="460"/>
                </a:lnTo>
                <a:lnTo>
                  <a:pt x="437" y="486"/>
                </a:lnTo>
                <a:lnTo>
                  <a:pt x="437" y="509"/>
                </a:lnTo>
                <a:lnTo>
                  <a:pt x="438" y="555"/>
                </a:lnTo>
                <a:lnTo>
                  <a:pt x="440" y="595"/>
                </a:lnTo>
                <a:lnTo>
                  <a:pt x="441" y="614"/>
                </a:lnTo>
                <a:lnTo>
                  <a:pt x="443" y="630"/>
                </a:lnTo>
                <a:lnTo>
                  <a:pt x="446" y="645"/>
                </a:lnTo>
                <a:lnTo>
                  <a:pt x="449" y="659"/>
                </a:lnTo>
                <a:lnTo>
                  <a:pt x="453" y="672"/>
                </a:lnTo>
                <a:lnTo>
                  <a:pt x="459" y="683"/>
                </a:lnTo>
                <a:lnTo>
                  <a:pt x="465" y="692"/>
                </a:lnTo>
                <a:lnTo>
                  <a:pt x="472" y="700"/>
                </a:lnTo>
                <a:lnTo>
                  <a:pt x="476" y="703"/>
                </a:lnTo>
                <a:lnTo>
                  <a:pt x="481" y="706"/>
                </a:lnTo>
                <a:lnTo>
                  <a:pt x="487" y="708"/>
                </a:lnTo>
                <a:lnTo>
                  <a:pt x="492" y="710"/>
                </a:lnTo>
                <a:lnTo>
                  <a:pt x="503" y="713"/>
                </a:lnTo>
                <a:lnTo>
                  <a:pt x="517" y="714"/>
                </a:lnTo>
                <a:lnTo>
                  <a:pt x="526" y="713"/>
                </a:lnTo>
                <a:lnTo>
                  <a:pt x="535" y="713"/>
                </a:lnTo>
                <a:lnTo>
                  <a:pt x="543" y="711"/>
                </a:lnTo>
                <a:lnTo>
                  <a:pt x="552" y="709"/>
                </a:lnTo>
                <a:lnTo>
                  <a:pt x="559" y="707"/>
                </a:lnTo>
                <a:lnTo>
                  <a:pt x="565" y="703"/>
                </a:lnTo>
                <a:lnTo>
                  <a:pt x="571" y="699"/>
                </a:lnTo>
                <a:lnTo>
                  <a:pt x="576" y="695"/>
                </a:lnTo>
                <a:lnTo>
                  <a:pt x="581" y="688"/>
                </a:lnTo>
                <a:lnTo>
                  <a:pt x="586" y="681"/>
                </a:lnTo>
                <a:lnTo>
                  <a:pt x="590" y="673"/>
                </a:lnTo>
                <a:lnTo>
                  <a:pt x="594" y="662"/>
                </a:lnTo>
                <a:lnTo>
                  <a:pt x="597" y="652"/>
                </a:lnTo>
                <a:lnTo>
                  <a:pt x="599" y="640"/>
                </a:lnTo>
                <a:lnTo>
                  <a:pt x="601" y="627"/>
                </a:lnTo>
                <a:lnTo>
                  <a:pt x="602" y="612"/>
                </a:lnTo>
                <a:lnTo>
                  <a:pt x="604" y="578"/>
                </a:lnTo>
                <a:lnTo>
                  <a:pt x="604" y="539"/>
                </a:lnTo>
                <a:lnTo>
                  <a:pt x="604" y="493"/>
                </a:lnTo>
                <a:lnTo>
                  <a:pt x="603" y="439"/>
                </a:lnTo>
                <a:lnTo>
                  <a:pt x="602" y="419"/>
                </a:lnTo>
                <a:lnTo>
                  <a:pt x="602" y="396"/>
                </a:lnTo>
                <a:lnTo>
                  <a:pt x="601" y="373"/>
                </a:lnTo>
                <a:lnTo>
                  <a:pt x="601" y="349"/>
                </a:lnTo>
                <a:lnTo>
                  <a:pt x="601" y="323"/>
                </a:lnTo>
                <a:lnTo>
                  <a:pt x="600" y="297"/>
                </a:lnTo>
                <a:lnTo>
                  <a:pt x="600" y="268"/>
                </a:lnTo>
                <a:lnTo>
                  <a:pt x="600" y="240"/>
                </a:lnTo>
                <a:lnTo>
                  <a:pt x="693" y="146"/>
                </a:lnTo>
                <a:lnTo>
                  <a:pt x="699" y="139"/>
                </a:lnTo>
                <a:lnTo>
                  <a:pt x="705" y="132"/>
                </a:lnTo>
                <a:lnTo>
                  <a:pt x="709" y="125"/>
                </a:lnTo>
                <a:lnTo>
                  <a:pt x="712" y="117"/>
                </a:lnTo>
                <a:lnTo>
                  <a:pt x="715" y="109"/>
                </a:lnTo>
                <a:lnTo>
                  <a:pt x="717" y="101"/>
                </a:lnTo>
                <a:lnTo>
                  <a:pt x="718" y="93"/>
                </a:lnTo>
                <a:lnTo>
                  <a:pt x="719" y="84"/>
                </a:lnTo>
                <a:lnTo>
                  <a:pt x="718" y="75"/>
                </a:lnTo>
                <a:lnTo>
                  <a:pt x="717" y="67"/>
                </a:lnTo>
                <a:lnTo>
                  <a:pt x="715" y="59"/>
                </a:lnTo>
                <a:lnTo>
                  <a:pt x="712" y="51"/>
                </a:lnTo>
                <a:lnTo>
                  <a:pt x="709" y="43"/>
                </a:lnTo>
                <a:lnTo>
                  <a:pt x="705" y="36"/>
                </a:lnTo>
                <a:lnTo>
                  <a:pt x="699" y="29"/>
                </a:lnTo>
                <a:lnTo>
                  <a:pt x="693" y="21"/>
                </a:lnTo>
                <a:close/>
              </a:path>
            </a:pathLst>
          </a:custGeom>
          <a:solidFill>
            <a:srgbClr val="0C344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520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3" t="51" r="7817" b="207"/>
          <a:stretch/>
        </p:blipFill>
        <p:spPr>
          <a:xfrm flipH="1">
            <a:off x="5258552" y="3175"/>
            <a:ext cx="6933449" cy="6237968"/>
          </a:xfrm>
          <a:custGeom>
            <a:avLst/>
            <a:gdLst>
              <a:gd name="connsiteX0" fmla="*/ 3569978 w 6933449"/>
              <a:gd name="connsiteY0" fmla="*/ 0 h 6237968"/>
              <a:gd name="connsiteX1" fmla="*/ 0 w 6933449"/>
              <a:gd name="connsiteY1" fmla="*/ 0 h 6237968"/>
              <a:gd name="connsiteX2" fmla="*/ 0 w 6933449"/>
              <a:gd name="connsiteY2" fmla="*/ 6237968 h 6237968"/>
              <a:gd name="connsiteX3" fmla="*/ 6933449 w 6933449"/>
              <a:gd name="connsiteY3" fmla="*/ 6237968 h 6237968"/>
              <a:gd name="connsiteX4" fmla="*/ 2133916 w 6933449"/>
              <a:gd name="connsiteY4" fmla="*/ 1437249 h 6237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449" h="6237968">
                <a:moveTo>
                  <a:pt x="3569978" y="0"/>
                </a:moveTo>
                <a:lnTo>
                  <a:pt x="0" y="0"/>
                </a:lnTo>
                <a:lnTo>
                  <a:pt x="0" y="6237968"/>
                </a:lnTo>
                <a:lnTo>
                  <a:pt x="6933449" y="6237968"/>
                </a:lnTo>
                <a:lnTo>
                  <a:pt x="2133916" y="1437249"/>
                </a:lnTo>
                <a:close/>
              </a:path>
            </a:pathLst>
          </a:custGeom>
        </p:spPr>
      </p:pic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rgbClr val="0C344C"/>
                </a:solidFill>
                <a:latin typeface="+mj-lt"/>
              </a:rPr>
              <a:t>Right Image Slide</a:t>
            </a:r>
          </a:p>
        </p:txBody>
      </p:sp>
      <p:sp>
        <p:nvSpPr>
          <p:cNvPr id="15" name="Freeform 9"/>
          <p:cNvSpPr>
            <a:spLocks/>
          </p:cNvSpPr>
          <p:nvPr/>
        </p:nvSpPr>
        <p:spPr bwMode="auto">
          <a:xfrm>
            <a:off x="5258551" y="3175"/>
            <a:ext cx="6933449" cy="6237968"/>
          </a:xfrm>
          <a:custGeom>
            <a:avLst/>
            <a:gdLst>
              <a:gd name="T0" fmla="*/ 2834 w 5842"/>
              <a:gd name="T1" fmla="*/ 0 h 5256"/>
              <a:gd name="T2" fmla="*/ 4044 w 5842"/>
              <a:gd name="T3" fmla="*/ 1211 h 5256"/>
              <a:gd name="T4" fmla="*/ 0 w 5842"/>
              <a:gd name="T5" fmla="*/ 5256 h 5256"/>
              <a:gd name="T6" fmla="*/ 5842 w 5842"/>
              <a:gd name="T7" fmla="*/ 5256 h 5256"/>
              <a:gd name="T8" fmla="*/ 5842 w 5842"/>
              <a:gd name="T9" fmla="*/ 0 h 5256"/>
              <a:gd name="T10" fmla="*/ 2834 w 5842"/>
              <a:gd name="T11" fmla="*/ 0 h 5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42" h="5256">
                <a:moveTo>
                  <a:pt x="2834" y="0"/>
                </a:moveTo>
                <a:lnTo>
                  <a:pt x="4044" y="1211"/>
                </a:lnTo>
                <a:lnTo>
                  <a:pt x="0" y="5256"/>
                </a:lnTo>
                <a:lnTo>
                  <a:pt x="5842" y="5256"/>
                </a:lnTo>
                <a:lnTo>
                  <a:pt x="5842" y="0"/>
                </a:lnTo>
                <a:lnTo>
                  <a:pt x="2834" y="0"/>
                </a:lnTo>
                <a:close/>
              </a:path>
            </a:pathLst>
          </a:custGeom>
          <a:gradFill flip="none" rotWithShape="1">
            <a:gsLst>
              <a:gs pos="0">
                <a:srgbClr val="0C344C">
                  <a:alpha val="90000"/>
                </a:srgbClr>
              </a:gs>
              <a:gs pos="100000">
                <a:srgbClr val="0C344C">
                  <a:alpha val="38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4950431" y="2470758"/>
            <a:ext cx="3260119" cy="1276725"/>
            <a:chOff x="6515099" y="1612228"/>
            <a:chExt cx="5230310" cy="1276725"/>
          </a:xfrm>
        </p:grpSpPr>
        <p:sp>
          <p:nvSpPr>
            <p:cNvPr id="19" name="TextBox 25"/>
            <p:cNvSpPr txBox="1"/>
            <p:nvPr/>
          </p:nvSpPr>
          <p:spPr>
            <a:xfrm>
              <a:off x="6515099" y="1612228"/>
              <a:ext cx="5230310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 has been the industry's standard dummy text ever since 1500s.</a:t>
              </a:r>
            </a:p>
          </p:txBody>
        </p:sp>
        <p:sp>
          <p:nvSpPr>
            <p:cNvPr id="20" name="TextBox 25"/>
            <p:cNvSpPr txBox="1"/>
            <p:nvPr/>
          </p:nvSpPr>
          <p:spPr>
            <a:xfrm>
              <a:off x="6515099" y="2388779"/>
              <a:ext cx="4557935" cy="50017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.</a:t>
              </a:r>
            </a:p>
          </p:txBody>
        </p:sp>
      </p:grpSp>
      <p:graphicFrame>
        <p:nvGraphicFramePr>
          <p:cNvPr id="37" name="Chart 36"/>
          <p:cNvGraphicFramePr/>
          <p:nvPr/>
        </p:nvGraphicFramePr>
        <p:xfrm>
          <a:off x="1030289" y="1554822"/>
          <a:ext cx="3439916" cy="2293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1" name="Freeform 13"/>
          <p:cNvSpPr>
            <a:spLocks/>
          </p:cNvSpPr>
          <p:nvPr/>
        </p:nvSpPr>
        <p:spPr bwMode="auto">
          <a:xfrm>
            <a:off x="839788" y="1741892"/>
            <a:ext cx="718375" cy="574492"/>
          </a:xfrm>
          <a:custGeom>
            <a:avLst/>
            <a:gdLst>
              <a:gd name="T0" fmla="*/ 874 w 874"/>
              <a:gd name="T1" fmla="*/ 501 h 698"/>
              <a:gd name="T2" fmla="*/ 722 w 874"/>
              <a:gd name="T3" fmla="*/ 349 h 698"/>
              <a:gd name="T4" fmla="*/ 403 w 874"/>
              <a:gd name="T5" fmla="*/ 31 h 698"/>
              <a:gd name="T6" fmla="*/ 293 w 874"/>
              <a:gd name="T7" fmla="*/ 31 h 698"/>
              <a:gd name="T8" fmla="*/ 30 w 874"/>
              <a:gd name="T9" fmla="*/ 294 h 698"/>
              <a:gd name="T10" fmla="*/ 30 w 874"/>
              <a:gd name="T11" fmla="*/ 404 h 698"/>
              <a:gd name="T12" fmla="*/ 293 w 874"/>
              <a:gd name="T13" fmla="*/ 667 h 698"/>
              <a:gd name="T14" fmla="*/ 403 w 874"/>
              <a:gd name="T15" fmla="*/ 667 h 698"/>
              <a:gd name="T16" fmla="*/ 607 w 874"/>
              <a:gd name="T17" fmla="*/ 464 h 698"/>
              <a:gd name="T18" fmla="*/ 874 w 874"/>
              <a:gd name="T19" fmla="*/ 501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4" h="698">
                <a:moveTo>
                  <a:pt x="874" y="501"/>
                </a:moveTo>
                <a:cubicBezTo>
                  <a:pt x="722" y="349"/>
                  <a:pt x="722" y="349"/>
                  <a:pt x="722" y="349"/>
                </a:cubicBezTo>
                <a:cubicBezTo>
                  <a:pt x="403" y="31"/>
                  <a:pt x="403" y="31"/>
                  <a:pt x="403" y="31"/>
                </a:cubicBezTo>
                <a:cubicBezTo>
                  <a:pt x="373" y="0"/>
                  <a:pt x="324" y="0"/>
                  <a:pt x="293" y="31"/>
                </a:cubicBezTo>
                <a:cubicBezTo>
                  <a:pt x="30" y="294"/>
                  <a:pt x="30" y="294"/>
                  <a:pt x="30" y="294"/>
                </a:cubicBezTo>
                <a:cubicBezTo>
                  <a:pt x="0" y="325"/>
                  <a:pt x="0" y="374"/>
                  <a:pt x="30" y="404"/>
                </a:cubicBezTo>
                <a:cubicBezTo>
                  <a:pt x="293" y="667"/>
                  <a:pt x="293" y="667"/>
                  <a:pt x="293" y="667"/>
                </a:cubicBezTo>
                <a:cubicBezTo>
                  <a:pt x="324" y="698"/>
                  <a:pt x="373" y="698"/>
                  <a:pt x="403" y="667"/>
                </a:cubicBezTo>
                <a:cubicBezTo>
                  <a:pt x="607" y="464"/>
                  <a:pt x="607" y="464"/>
                  <a:pt x="607" y="464"/>
                </a:cubicBezTo>
                <a:lnTo>
                  <a:pt x="874" y="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3"/>
          <p:cNvSpPr>
            <a:spLocks/>
          </p:cNvSpPr>
          <p:nvPr/>
        </p:nvSpPr>
        <p:spPr bwMode="auto">
          <a:xfrm flipV="1">
            <a:off x="839788" y="3028807"/>
            <a:ext cx="718375" cy="574492"/>
          </a:xfrm>
          <a:custGeom>
            <a:avLst/>
            <a:gdLst>
              <a:gd name="T0" fmla="*/ 874 w 874"/>
              <a:gd name="T1" fmla="*/ 501 h 698"/>
              <a:gd name="T2" fmla="*/ 722 w 874"/>
              <a:gd name="T3" fmla="*/ 349 h 698"/>
              <a:gd name="T4" fmla="*/ 403 w 874"/>
              <a:gd name="T5" fmla="*/ 31 h 698"/>
              <a:gd name="T6" fmla="*/ 293 w 874"/>
              <a:gd name="T7" fmla="*/ 31 h 698"/>
              <a:gd name="T8" fmla="*/ 30 w 874"/>
              <a:gd name="T9" fmla="*/ 294 h 698"/>
              <a:gd name="T10" fmla="*/ 30 w 874"/>
              <a:gd name="T11" fmla="*/ 404 h 698"/>
              <a:gd name="T12" fmla="*/ 293 w 874"/>
              <a:gd name="T13" fmla="*/ 667 h 698"/>
              <a:gd name="T14" fmla="*/ 403 w 874"/>
              <a:gd name="T15" fmla="*/ 667 h 698"/>
              <a:gd name="T16" fmla="*/ 607 w 874"/>
              <a:gd name="T17" fmla="*/ 464 h 698"/>
              <a:gd name="T18" fmla="*/ 874 w 874"/>
              <a:gd name="T19" fmla="*/ 501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4" h="698">
                <a:moveTo>
                  <a:pt x="874" y="501"/>
                </a:moveTo>
                <a:cubicBezTo>
                  <a:pt x="722" y="349"/>
                  <a:pt x="722" y="349"/>
                  <a:pt x="722" y="349"/>
                </a:cubicBezTo>
                <a:cubicBezTo>
                  <a:pt x="403" y="31"/>
                  <a:pt x="403" y="31"/>
                  <a:pt x="403" y="31"/>
                </a:cubicBezTo>
                <a:cubicBezTo>
                  <a:pt x="373" y="0"/>
                  <a:pt x="324" y="0"/>
                  <a:pt x="293" y="31"/>
                </a:cubicBezTo>
                <a:cubicBezTo>
                  <a:pt x="30" y="294"/>
                  <a:pt x="30" y="294"/>
                  <a:pt x="30" y="294"/>
                </a:cubicBezTo>
                <a:cubicBezTo>
                  <a:pt x="0" y="325"/>
                  <a:pt x="0" y="374"/>
                  <a:pt x="30" y="404"/>
                </a:cubicBezTo>
                <a:cubicBezTo>
                  <a:pt x="293" y="667"/>
                  <a:pt x="293" y="667"/>
                  <a:pt x="293" y="667"/>
                </a:cubicBezTo>
                <a:cubicBezTo>
                  <a:pt x="324" y="698"/>
                  <a:pt x="373" y="698"/>
                  <a:pt x="403" y="667"/>
                </a:cubicBezTo>
                <a:cubicBezTo>
                  <a:pt x="607" y="464"/>
                  <a:pt x="607" y="464"/>
                  <a:pt x="607" y="464"/>
                </a:cubicBezTo>
                <a:lnTo>
                  <a:pt x="874" y="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13"/>
          <p:cNvSpPr>
            <a:spLocks/>
          </p:cNvSpPr>
          <p:nvPr/>
        </p:nvSpPr>
        <p:spPr bwMode="auto">
          <a:xfrm flipH="1">
            <a:off x="3931994" y="1741892"/>
            <a:ext cx="718375" cy="574492"/>
          </a:xfrm>
          <a:custGeom>
            <a:avLst/>
            <a:gdLst>
              <a:gd name="T0" fmla="*/ 874 w 874"/>
              <a:gd name="T1" fmla="*/ 501 h 698"/>
              <a:gd name="T2" fmla="*/ 722 w 874"/>
              <a:gd name="T3" fmla="*/ 349 h 698"/>
              <a:gd name="T4" fmla="*/ 403 w 874"/>
              <a:gd name="T5" fmla="*/ 31 h 698"/>
              <a:gd name="T6" fmla="*/ 293 w 874"/>
              <a:gd name="T7" fmla="*/ 31 h 698"/>
              <a:gd name="T8" fmla="*/ 30 w 874"/>
              <a:gd name="T9" fmla="*/ 294 h 698"/>
              <a:gd name="T10" fmla="*/ 30 w 874"/>
              <a:gd name="T11" fmla="*/ 404 h 698"/>
              <a:gd name="T12" fmla="*/ 293 w 874"/>
              <a:gd name="T13" fmla="*/ 667 h 698"/>
              <a:gd name="T14" fmla="*/ 403 w 874"/>
              <a:gd name="T15" fmla="*/ 667 h 698"/>
              <a:gd name="T16" fmla="*/ 607 w 874"/>
              <a:gd name="T17" fmla="*/ 464 h 698"/>
              <a:gd name="T18" fmla="*/ 874 w 874"/>
              <a:gd name="T19" fmla="*/ 501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4" h="698">
                <a:moveTo>
                  <a:pt x="874" y="501"/>
                </a:moveTo>
                <a:cubicBezTo>
                  <a:pt x="722" y="349"/>
                  <a:pt x="722" y="349"/>
                  <a:pt x="722" y="349"/>
                </a:cubicBezTo>
                <a:cubicBezTo>
                  <a:pt x="403" y="31"/>
                  <a:pt x="403" y="31"/>
                  <a:pt x="403" y="31"/>
                </a:cubicBezTo>
                <a:cubicBezTo>
                  <a:pt x="373" y="0"/>
                  <a:pt x="324" y="0"/>
                  <a:pt x="293" y="31"/>
                </a:cubicBezTo>
                <a:cubicBezTo>
                  <a:pt x="30" y="294"/>
                  <a:pt x="30" y="294"/>
                  <a:pt x="30" y="294"/>
                </a:cubicBezTo>
                <a:cubicBezTo>
                  <a:pt x="0" y="325"/>
                  <a:pt x="0" y="374"/>
                  <a:pt x="30" y="404"/>
                </a:cubicBezTo>
                <a:cubicBezTo>
                  <a:pt x="293" y="667"/>
                  <a:pt x="293" y="667"/>
                  <a:pt x="293" y="667"/>
                </a:cubicBezTo>
                <a:cubicBezTo>
                  <a:pt x="324" y="698"/>
                  <a:pt x="373" y="698"/>
                  <a:pt x="403" y="667"/>
                </a:cubicBezTo>
                <a:cubicBezTo>
                  <a:pt x="607" y="464"/>
                  <a:pt x="607" y="464"/>
                  <a:pt x="607" y="464"/>
                </a:cubicBezTo>
                <a:lnTo>
                  <a:pt x="874" y="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977370" y="1949505"/>
            <a:ext cx="31418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y-GB" sz="1200" dirty="0">
                <a:solidFill>
                  <a:srgbClr val="0C344C"/>
                </a:solidFill>
                <a:latin typeface="+mj-lt"/>
              </a:rPr>
              <a:t>30%</a:t>
            </a:r>
            <a:endParaRPr lang="en-US" sz="12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977369" y="3236420"/>
            <a:ext cx="31419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y-GB" sz="1200" dirty="0">
                <a:solidFill>
                  <a:srgbClr val="0C344C"/>
                </a:solidFill>
                <a:latin typeface="+mj-lt"/>
              </a:rPr>
              <a:t>10%</a:t>
            </a:r>
            <a:endParaRPr lang="en-US" sz="12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208934" y="1949505"/>
            <a:ext cx="31419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y-GB" sz="1200" dirty="0">
                <a:solidFill>
                  <a:srgbClr val="D80F79"/>
                </a:solidFill>
                <a:latin typeface="+mj-lt"/>
              </a:rPr>
              <a:t>40%</a:t>
            </a:r>
            <a:endParaRPr lang="en-US" sz="1200" dirty="0">
              <a:solidFill>
                <a:srgbClr val="D80F79"/>
              </a:solidFill>
              <a:latin typeface="+mj-lt"/>
            </a:endParaRPr>
          </a:p>
        </p:txBody>
      </p:sp>
      <p:sp>
        <p:nvSpPr>
          <p:cNvPr id="50" name="Freeform 17"/>
          <p:cNvSpPr>
            <a:spLocks/>
          </p:cNvSpPr>
          <p:nvPr/>
        </p:nvSpPr>
        <p:spPr bwMode="auto">
          <a:xfrm>
            <a:off x="2506661" y="3637788"/>
            <a:ext cx="573093" cy="574492"/>
          </a:xfrm>
          <a:custGeom>
            <a:avLst/>
            <a:gdLst>
              <a:gd name="T0" fmla="*/ 657 w 691"/>
              <a:gd name="T1" fmla="*/ 408 h 692"/>
              <a:gd name="T2" fmla="*/ 407 w 691"/>
              <a:gd name="T3" fmla="*/ 658 h 692"/>
              <a:gd name="T4" fmla="*/ 284 w 691"/>
              <a:gd name="T5" fmla="*/ 658 h 692"/>
              <a:gd name="T6" fmla="*/ 34 w 691"/>
              <a:gd name="T7" fmla="*/ 408 h 692"/>
              <a:gd name="T8" fmla="*/ 34 w 691"/>
              <a:gd name="T9" fmla="*/ 284 h 692"/>
              <a:gd name="T10" fmla="*/ 284 w 691"/>
              <a:gd name="T11" fmla="*/ 35 h 692"/>
              <a:gd name="T12" fmla="*/ 407 w 691"/>
              <a:gd name="T13" fmla="*/ 35 h 692"/>
              <a:gd name="T14" fmla="*/ 657 w 691"/>
              <a:gd name="T15" fmla="*/ 284 h 692"/>
              <a:gd name="T16" fmla="*/ 657 w 691"/>
              <a:gd name="T17" fmla="*/ 408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1" h="692">
                <a:moveTo>
                  <a:pt x="657" y="408"/>
                </a:moveTo>
                <a:cubicBezTo>
                  <a:pt x="407" y="658"/>
                  <a:pt x="407" y="658"/>
                  <a:pt x="407" y="658"/>
                </a:cubicBezTo>
                <a:cubicBezTo>
                  <a:pt x="373" y="692"/>
                  <a:pt x="318" y="692"/>
                  <a:pt x="284" y="658"/>
                </a:cubicBezTo>
                <a:cubicBezTo>
                  <a:pt x="34" y="408"/>
                  <a:pt x="34" y="408"/>
                  <a:pt x="34" y="408"/>
                </a:cubicBezTo>
                <a:cubicBezTo>
                  <a:pt x="0" y="374"/>
                  <a:pt x="0" y="319"/>
                  <a:pt x="34" y="284"/>
                </a:cubicBezTo>
                <a:cubicBezTo>
                  <a:pt x="284" y="35"/>
                  <a:pt x="284" y="35"/>
                  <a:pt x="284" y="35"/>
                </a:cubicBezTo>
                <a:cubicBezTo>
                  <a:pt x="318" y="0"/>
                  <a:pt x="373" y="0"/>
                  <a:pt x="407" y="35"/>
                </a:cubicBezTo>
                <a:cubicBezTo>
                  <a:pt x="657" y="284"/>
                  <a:pt x="657" y="284"/>
                  <a:pt x="657" y="284"/>
                </a:cubicBezTo>
                <a:cubicBezTo>
                  <a:pt x="691" y="319"/>
                  <a:pt x="691" y="374"/>
                  <a:pt x="657" y="40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TextBox 50"/>
          <p:cNvSpPr txBox="1"/>
          <p:nvPr/>
        </p:nvSpPr>
        <p:spPr>
          <a:xfrm>
            <a:off x="2636112" y="3845401"/>
            <a:ext cx="31419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cy-GB" sz="1200" dirty="0">
                <a:solidFill>
                  <a:srgbClr val="0C344C"/>
                </a:solidFill>
                <a:latin typeface="+mj-lt"/>
              </a:rPr>
              <a:t>20%</a:t>
            </a:r>
            <a:endParaRPr lang="en-US" sz="1200" dirty="0">
              <a:solidFill>
                <a:srgbClr val="0C344C"/>
              </a:solidFill>
              <a:latin typeface="+mj-lt"/>
            </a:endParaRPr>
          </a:p>
        </p:txBody>
      </p:sp>
      <p:grpSp>
        <p:nvGrpSpPr>
          <p:cNvPr id="53" name="Group 20"/>
          <p:cNvGrpSpPr>
            <a:grpSpLocks noChangeAspect="1"/>
          </p:cNvGrpSpPr>
          <p:nvPr/>
        </p:nvGrpSpPr>
        <p:grpSpPr bwMode="auto">
          <a:xfrm>
            <a:off x="1897760" y="1882310"/>
            <a:ext cx="1704975" cy="990600"/>
            <a:chOff x="3560" y="1230"/>
            <a:chExt cx="1074" cy="624"/>
          </a:xfrm>
        </p:grpSpPr>
        <p:sp>
          <p:nvSpPr>
            <p:cNvPr id="56" name="Freeform 22"/>
            <p:cNvSpPr>
              <a:spLocks/>
            </p:cNvSpPr>
            <p:nvPr/>
          </p:nvSpPr>
          <p:spPr bwMode="auto">
            <a:xfrm>
              <a:off x="3560" y="1398"/>
              <a:ext cx="1074" cy="456"/>
            </a:xfrm>
            <a:custGeom>
              <a:avLst/>
              <a:gdLst>
                <a:gd name="T0" fmla="*/ 394 w 452"/>
                <a:gd name="T1" fmla="*/ 36 h 191"/>
                <a:gd name="T2" fmla="*/ 226 w 452"/>
                <a:gd name="T3" fmla="*/ 0 h 191"/>
                <a:gd name="T4" fmla="*/ 57 w 452"/>
                <a:gd name="T5" fmla="*/ 36 h 191"/>
                <a:gd name="T6" fmla="*/ 0 w 452"/>
                <a:gd name="T7" fmla="*/ 36 h 191"/>
                <a:gd name="T8" fmla="*/ 11 w 452"/>
                <a:gd name="T9" fmla="*/ 96 h 191"/>
                <a:gd name="T10" fmla="*/ 226 w 452"/>
                <a:gd name="T11" fmla="*/ 191 h 191"/>
                <a:gd name="T12" fmla="*/ 441 w 452"/>
                <a:gd name="T13" fmla="*/ 96 h 191"/>
                <a:gd name="T14" fmla="*/ 452 w 452"/>
                <a:gd name="T15" fmla="*/ 36 h 191"/>
                <a:gd name="T16" fmla="*/ 394 w 452"/>
                <a:gd name="T17" fmla="*/ 36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2" h="191">
                  <a:moveTo>
                    <a:pt x="394" y="36"/>
                  </a:moveTo>
                  <a:cubicBezTo>
                    <a:pt x="355" y="14"/>
                    <a:pt x="294" y="0"/>
                    <a:pt x="226" y="0"/>
                  </a:cubicBezTo>
                  <a:cubicBezTo>
                    <a:pt x="157" y="0"/>
                    <a:pt x="97" y="14"/>
                    <a:pt x="57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148"/>
                    <a:pt x="107" y="191"/>
                    <a:pt x="226" y="191"/>
                  </a:cubicBezTo>
                  <a:cubicBezTo>
                    <a:pt x="345" y="191"/>
                    <a:pt x="441" y="148"/>
                    <a:pt x="441" y="96"/>
                  </a:cubicBezTo>
                  <a:cubicBezTo>
                    <a:pt x="452" y="36"/>
                    <a:pt x="452" y="36"/>
                    <a:pt x="452" y="36"/>
                  </a:cubicBezTo>
                  <a:lnTo>
                    <a:pt x="394" y="3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21"/>
            <p:cNvSpPr>
              <a:spLocks noChangeArrowheads="1"/>
            </p:cNvSpPr>
            <p:nvPr/>
          </p:nvSpPr>
          <p:spPr bwMode="auto">
            <a:xfrm>
              <a:off x="3560" y="1230"/>
              <a:ext cx="1074" cy="52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579495" y="2120151"/>
            <a:ext cx="341504" cy="339618"/>
            <a:chOff x="7018338" y="4656138"/>
            <a:chExt cx="287337" cy="285750"/>
          </a:xfrm>
          <a:solidFill>
            <a:srgbClr val="0C344C"/>
          </a:solidFill>
          <a:effectLst/>
        </p:grpSpPr>
        <p:sp>
          <p:nvSpPr>
            <p:cNvPr id="58" name="Freeform 4604"/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605"/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606"/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4607"/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Rectangle: Rounded Corners 50"/>
          <p:cNvSpPr/>
          <p:nvPr/>
        </p:nvSpPr>
        <p:spPr>
          <a:xfrm rot="2700000">
            <a:off x="876065" y="4660570"/>
            <a:ext cx="175159" cy="175159"/>
          </a:xfrm>
          <a:prstGeom prst="roundRect">
            <a:avLst>
              <a:gd name="adj" fmla="val 9141"/>
            </a:avLst>
          </a:prstGeom>
          <a:solidFill>
            <a:srgbClr val="D80F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5" name="Straight Connector 64"/>
          <p:cNvCxnSpPr/>
          <p:nvPr/>
        </p:nvCxnSpPr>
        <p:spPr>
          <a:xfrm>
            <a:off x="839788" y="4432041"/>
            <a:ext cx="3810581" cy="0"/>
          </a:xfrm>
          <a:prstGeom prst="line">
            <a:avLst/>
          </a:prstGeom>
          <a:ln>
            <a:solidFill>
              <a:srgbClr val="BFBE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50"/>
          <p:cNvSpPr/>
          <p:nvPr/>
        </p:nvSpPr>
        <p:spPr>
          <a:xfrm rot="2700000">
            <a:off x="876065" y="5173205"/>
            <a:ext cx="175159" cy="175159"/>
          </a:xfrm>
          <a:prstGeom prst="roundRect">
            <a:avLst>
              <a:gd name="adj" fmla="val 9141"/>
            </a:avLst>
          </a:prstGeom>
          <a:solidFill>
            <a:srgbClr val="0C3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Rounded Corners 50"/>
          <p:cNvSpPr/>
          <p:nvPr/>
        </p:nvSpPr>
        <p:spPr>
          <a:xfrm rot="2700000">
            <a:off x="876066" y="4660569"/>
            <a:ext cx="175159" cy="175159"/>
          </a:xfrm>
          <a:prstGeom prst="roundRect">
            <a:avLst>
              <a:gd name="adj" fmla="val 9141"/>
            </a:avLst>
          </a:prstGeom>
          <a:solidFill>
            <a:srgbClr val="D80F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tangle: Rounded Corners 50"/>
          <p:cNvSpPr/>
          <p:nvPr/>
        </p:nvSpPr>
        <p:spPr>
          <a:xfrm rot="2700000">
            <a:off x="876066" y="5173204"/>
            <a:ext cx="175159" cy="175159"/>
          </a:xfrm>
          <a:prstGeom prst="roundRect">
            <a:avLst>
              <a:gd name="adj" fmla="val 9141"/>
            </a:avLst>
          </a:prstGeom>
          <a:solidFill>
            <a:srgbClr val="0C3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: Rounded Corners 50"/>
          <p:cNvSpPr/>
          <p:nvPr/>
        </p:nvSpPr>
        <p:spPr>
          <a:xfrm rot="2700000">
            <a:off x="2905941" y="4660568"/>
            <a:ext cx="175159" cy="175159"/>
          </a:xfrm>
          <a:prstGeom prst="roundRect">
            <a:avLst>
              <a:gd name="adj" fmla="val 9141"/>
            </a:avLst>
          </a:prstGeom>
          <a:solidFill>
            <a:srgbClr val="1962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: Rounded Corners 50"/>
          <p:cNvSpPr/>
          <p:nvPr/>
        </p:nvSpPr>
        <p:spPr>
          <a:xfrm rot="2700000">
            <a:off x="2905941" y="5173204"/>
            <a:ext cx="175159" cy="175159"/>
          </a:xfrm>
          <a:prstGeom prst="roundRect">
            <a:avLst>
              <a:gd name="adj" fmla="val 9141"/>
            </a:avLst>
          </a:prstGeom>
          <a:solidFill>
            <a:srgbClr val="6F8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TextBox 71"/>
          <p:cNvSpPr txBox="1"/>
          <p:nvPr/>
        </p:nvSpPr>
        <p:spPr>
          <a:xfrm>
            <a:off x="1201833" y="4655814"/>
            <a:ext cx="9281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y-GB" sz="1200" dirty="0">
                <a:solidFill>
                  <a:srgbClr val="D80F79"/>
                </a:solidFill>
                <a:latin typeface="+mj-lt"/>
              </a:rPr>
              <a:t>Lorem ipsum</a:t>
            </a:r>
            <a:endParaRPr lang="en-US" sz="1200" dirty="0">
              <a:solidFill>
                <a:srgbClr val="D80F79"/>
              </a:solidFill>
              <a:latin typeface="+mj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201833" y="5168450"/>
            <a:ext cx="9281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y-GB" sz="1200" dirty="0">
                <a:solidFill>
                  <a:srgbClr val="0C344C"/>
                </a:solidFill>
                <a:latin typeface="+mj-lt"/>
              </a:rPr>
              <a:t>Lorem ipsum</a:t>
            </a:r>
            <a:endParaRPr lang="en-US" sz="12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225924" y="4650643"/>
            <a:ext cx="9281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y-GB" sz="1200" dirty="0">
                <a:solidFill>
                  <a:srgbClr val="19627F"/>
                </a:solidFill>
                <a:latin typeface="+mj-lt"/>
              </a:rPr>
              <a:t>Lorem ipsum</a:t>
            </a:r>
            <a:endParaRPr lang="en-US" sz="1200" dirty="0">
              <a:solidFill>
                <a:srgbClr val="19627F"/>
              </a:solidFill>
              <a:latin typeface="+mj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225924" y="5168450"/>
            <a:ext cx="9281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y-GB" sz="1200" dirty="0">
                <a:solidFill>
                  <a:srgbClr val="6F878C"/>
                </a:solidFill>
                <a:latin typeface="+mj-lt"/>
              </a:rPr>
              <a:t>Lorem ipsum</a:t>
            </a:r>
            <a:endParaRPr lang="en-US" sz="1200" dirty="0">
              <a:solidFill>
                <a:srgbClr val="6F878C"/>
              </a:solidFill>
              <a:latin typeface="+mj-lt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4950430" y="1684996"/>
            <a:ext cx="578721" cy="620053"/>
            <a:chOff x="10464800" y="1382713"/>
            <a:chExt cx="266701" cy="285750"/>
          </a:xfrm>
          <a:solidFill>
            <a:srgbClr val="19627F"/>
          </a:solidFill>
          <a:effectLst/>
        </p:grpSpPr>
        <p:sp>
          <p:nvSpPr>
            <p:cNvPr id="77" name="Freeform 4133"/>
            <p:cNvSpPr>
              <a:spLocks noEditPoints="1"/>
            </p:cNvSpPr>
            <p:nvPr/>
          </p:nvSpPr>
          <p:spPr bwMode="auto">
            <a:xfrm>
              <a:off x="10464800" y="1487488"/>
              <a:ext cx="230188" cy="180975"/>
            </a:xfrm>
            <a:custGeom>
              <a:avLst/>
              <a:gdLst>
                <a:gd name="T0" fmla="*/ 210 w 721"/>
                <a:gd name="T1" fmla="*/ 420 h 570"/>
                <a:gd name="T2" fmla="*/ 511 w 721"/>
                <a:gd name="T3" fmla="*/ 150 h 570"/>
                <a:gd name="T4" fmla="*/ 706 w 721"/>
                <a:gd name="T5" fmla="*/ 0 h 570"/>
                <a:gd name="T6" fmla="*/ 556 w 721"/>
                <a:gd name="T7" fmla="*/ 60 h 570"/>
                <a:gd name="T8" fmla="*/ 554 w 721"/>
                <a:gd name="T9" fmla="*/ 72 h 570"/>
                <a:gd name="T10" fmla="*/ 547 w 721"/>
                <a:gd name="T11" fmla="*/ 80 h 570"/>
                <a:gd name="T12" fmla="*/ 538 w 721"/>
                <a:gd name="T13" fmla="*/ 88 h 570"/>
                <a:gd name="T14" fmla="*/ 526 w 721"/>
                <a:gd name="T15" fmla="*/ 90 h 570"/>
                <a:gd name="T16" fmla="*/ 514 w 721"/>
                <a:gd name="T17" fmla="*/ 87 h 570"/>
                <a:gd name="T18" fmla="*/ 505 w 721"/>
                <a:gd name="T19" fmla="*/ 80 h 570"/>
                <a:gd name="T20" fmla="*/ 498 w 721"/>
                <a:gd name="T21" fmla="*/ 72 h 570"/>
                <a:gd name="T22" fmla="*/ 496 w 721"/>
                <a:gd name="T23" fmla="*/ 60 h 570"/>
                <a:gd name="T24" fmla="*/ 225 w 721"/>
                <a:gd name="T25" fmla="*/ 0 h 570"/>
                <a:gd name="T26" fmla="*/ 225 w 721"/>
                <a:gd name="T27" fmla="*/ 65 h 570"/>
                <a:gd name="T28" fmla="*/ 221 w 721"/>
                <a:gd name="T29" fmla="*/ 76 h 570"/>
                <a:gd name="T30" fmla="*/ 212 w 721"/>
                <a:gd name="T31" fmla="*/ 85 h 570"/>
                <a:gd name="T32" fmla="*/ 201 w 721"/>
                <a:gd name="T33" fmla="*/ 89 h 570"/>
                <a:gd name="T34" fmla="*/ 189 w 721"/>
                <a:gd name="T35" fmla="*/ 89 h 570"/>
                <a:gd name="T36" fmla="*/ 179 w 721"/>
                <a:gd name="T37" fmla="*/ 85 h 570"/>
                <a:gd name="T38" fmla="*/ 170 w 721"/>
                <a:gd name="T39" fmla="*/ 76 h 570"/>
                <a:gd name="T40" fmla="*/ 166 w 721"/>
                <a:gd name="T41" fmla="*/ 65 h 570"/>
                <a:gd name="T42" fmla="*/ 165 w 721"/>
                <a:gd name="T43" fmla="*/ 0 h 570"/>
                <a:gd name="T44" fmla="*/ 11 w 721"/>
                <a:gd name="T45" fmla="*/ 0 h 570"/>
                <a:gd name="T46" fmla="*/ 6 w 721"/>
                <a:gd name="T47" fmla="*/ 2 h 570"/>
                <a:gd name="T48" fmla="*/ 3 w 721"/>
                <a:gd name="T49" fmla="*/ 6 h 570"/>
                <a:gd name="T50" fmla="*/ 0 w 721"/>
                <a:gd name="T51" fmla="*/ 12 h 570"/>
                <a:gd name="T52" fmla="*/ 0 w 721"/>
                <a:gd name="T53" fmla="*/ 555 h 570"/>
                <a:gd name="T54" fmla="*/ 1 w 721"/>
                <a:gd name="T55" fmla="*/ 562 h 570"/>
                <a:gd name="T56" fmla="*/ 4 w 721"/>
                <a:gd name="T57" fmla="*/ 566 h 570"/>
                <a:gd name="T58" fmla="*/ 9 w 721"/>
                <a:gd name="T59" fmla="*/ 569 h 570"/>
                <a:gd name="T60" fmla="*/ 15 w 721"/>
                <a:gd name="T61" fmla="*/ 570 h 570"/>
                <a:gd name="T62" fmla="*/ 709 w 721"/>
                <a:gd name="T63" fmla="*/ 570 h 570"/>
                <a:gd name="T64" fmla="*/ 715 w 721"/>
                <a:gd name="T65" fmla="*/ 568 h 570"/>
                <a:gd name="T66" fmla="*/ 719 w 721"/>
                <a:gd name="T67" fmla="*/ 564 h 570"/>
                <a:gd name="T68" fmla="*/ 721 w 721"/>
                <a:gd name="T69" fmla="*/ 559 h 570"/>
                <a:gd name="T70" fmla="*/ 721 w 721"/>
                <a:gd name="T71" fmla="*/ 15 h 570"/>
                <a:gd name="T72" fmla="*/ 720 w 721"/>
                <a:gd name="T73" fmla="*/ 9 h 570"/>
                <a:gd name="T74" fmla="*/ 717 w 721"/>
                <a:gd name="T75" fmla="*/ 4 h 570"/>
                <a:gd name="T76" fmla="*/ 713 w 721"/>
                <a:gd name="T77" fmla="*/ 1 h 570"/>
                <a:gd name="T78" fmla="*/ 706 w 721"/>
                <a:gd name="T79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1" h="570">
                  <a:moveTo>
                    <a:pt x="511" y="420"/>
                  </a:moveTo>
                  <a:lnTo>
                    <a:pt x="210" y="420"/>
                  </a:lnTo>
                  <a:lnTo>
                    <a:pt x="210" y="150"/>
                  </a:lnTo>
                  <a:lnTo>
                    <a:pt x="511" y="150"/>
                  </a:lnTo>
                  <a:lnTo>
                    <a:pt x="511" y="420"/>
                  </a:lnTo>
                  <a:close/>
                  <a:moveTo>
                    <a:pt x="706" y="0"/>
                  </a:moveTo>
                  <a:lnTo>
                    <a:pt x="556" y="0"/>
                  </a:lnTo>
                  <a:lnTo>
                    <a:pt x="556" y="60"/>
                  </a:lnTo>
                  <a:lnTo>
                    <a:pt x="555" y="65"/>
                  </a:lnTo>
                  <a:lnTo>
                    <a:pt x="554" y="72"/>
                  </a:lnTo>
                  <a:lnTo>
                    <a:pt x="551" y="76"/>
                  </a:lnTo>
                  <a:lnTo>
                    <a:pt x="547" y="80"/>
                  </a:lnTo>
                  <a:lnTo>
                    <a:pt x="543" y="85"/>
                  </a:lnTo>
                  <a:lnTo>
                    <a:pt x="538" y="88"/>
                  </a:lnTo>
                  <a:lnTo>
                    <a:pt x="532" y="89"/>
                  </a:lnTo>
                  <a:lnTo>
                    <a:pt x="526" y="90"/>
                  </a:lnTo>
                  <a:lnTo>
                    <a:pt x="520" y="89"/>
                  </a:lnTo>
                  <a:lnTo>
                    <a:pt x="514" y="87"/>
                  </a:lnTo>
                  <a:lnTo>
                    <a:pt x="509" y="85"/>
                  </a:lnTo>
                  <a:lnTo>
                    <a:pt x="505" y="80"/>
                  </a:lnTo>
                  <a:lnTo>
                    <a:pt x="501" y="76"/>
                  </a:lnTo>
                  <a:lnTo>
                    <a:pt x="498" y="72"/>
                  </a:lnTo>
                  <a:lnTo>
                    <a:pt x="496" y="65"/>
                  </a:lnTo>
                  <a:lnTo>
                    <a:pt x="496" y="60"/>
                  </a:lnTo>
                  <a:lnTo>
                    <a:pt x="496" y="0"/>
                  </a:lnTo>
                  <a:lnTo>
                    <a:pt x="225" y="0"/>
                  </a:lnTo>
                  <a:lnTo>
                    <a:pt x="226" y="60"/>
                  </a:lnTo>
                  <a:lnTo>
                    <a:pt x="225" y="65"/>
                  </a:lnTo>
                  <a:lnTo>
                    <a:pt x="223" y="72"/>
                  </a:lnTo>
                  <a:lnTo>
                    <a:pt x="221" y="76"/>
                  </a:lnTo>
                  <a:lnTo>
                    <a:pt x="216" y="80"/>
                  </a:lnTo>
                  <a:lnTo>
                    <a:pt x="212" y="85"/>
                  </a:lnTo>
                  <a:lnTo>
                    <a:pt x="207" y="88"/>
                  </a:lnTo>
                  <a:lnTo>
                    <a:pt x="201" y="89"/>
                  </a:lnTo>
                  <a:lnTo>
                    <a:pt x="195" y="90"/>
                  </a:lnTo>
                  <a:lnTo>
                    <a:pt x="189" y="89"/>
                  </a:lnTo>
                  <a:lnTo>
                    <a:pt x="184" y="87"/>
                  </a:lnTo>
                  <a:lnTo>
                    <a:pt x="179" y="85"/>
                  </a:lnTo>
                  <a:lnTo>
                    <a:pt x="174" y="80"/>
                  </a:lnTo>
                  <a:lnTo>
                    <a:pt x="170" y="76"/>
                  </a:lnTo>
                  <a:lnTo>
                    <a:pt x="168" y="72"/>
                  </a:lnTo>
                  <a:lnTo>
                    <a:pt x="166" y="65"/>
                  </a:lnTo>
                  <a:lnTo>
                    <a:pt x="165" y="6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55"/>
                  </a:lnTo>
                  <a:lnTo>
                    <a:pt x="1" y="559"/>
                  </a:lnTo>
                  <a:lnTo>
                    <a:pt x="1" y="562"/>
                  </a:lnTo>
                  <a:lnTo>
                    <a:pt x="3" y="564"/>
                  </a:lnTo>
                  <a:lnTo>
                    <a:pt x="4" y="566"/>
                  </a:lnTo>
                  <a:lnTo>
                    <a:pt x="6" y="568"/>
                  </a:lnTo>
                  <a:lnTo>
                    <a:pt x="9" y="569"/>
                  </a:lnTo>
                  <a:lnTo>
                    <a:pt x="11" y="570"/>
                  </a:lnTo>
                  <a:lnTo>
                    <a:pt x="15" y="570"/>
                  </a:lnTo>
                  <a:lnTo>
                    <a:pt x="706" y="570"/>
                  </a:lnTo>
                  <a:lnTo>
                    <a:pt x="709" y="570"/>
                  </a:lnTo>
                  <a:lnTo>
                    <a:pt x="713" y="569"/>
                  </a:lnTo>
                  <a:lnTo>
                    <a:pt x="715" y="568"/>
                  </a:lnTo>
                  <a:lnTo>
                    <a:pt x="717" y="566"/>
                  </a:lnTo>
                  <a:lnTo>
                    <a:pt x="719" y="564"/>
                  </a:lnTo>
                  <a:lnTo>
                    <a:pt x="720" y="562"/>
                  </a:lnTo>
                  <a:lnTo>
                    <a:pt x="721" y="559"/>
                  </a:lnTo>
                  <a:lnTo>
                    <a:pt x="721" y="555"/>
                  </a:lnTo>
                  <a:lnTo>
                    <a:pt x="721" y="15"/>
                  </a:lnTo>
                  <a:lnTo>
                    <a:pt x="721" y="12"/>
                  </a:lnTo>
                  <a:lnTo>
                    <a:pt x="720" y="9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3" y="1"/>
                  </a:lnTo>
                  <a:lnTo>
                    <a:pt x="709" y="0"/>
                  </a:lnTo>
                  <a:lnTo>
                    <a:pt x="7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134"/>
            <p:cNvSpPr>
              <a:spLocks/>
            </p:cNvSpPr>
            <p:nvPr/>
          </p:nvSpPr>
          <p:spPr bwMode="auto">
            <a:xfrm>
              <a:off x="10521950" y="1382713"/>
              <a:ext cx="115888" cy="128588"/>
            </a:xfrm>
            <a:custGeom>
              <a:avLst/>
              <a:gdLst>
                <a:gd name="T0" fmla="*/ 0 w 361"/>
                <a:gd name="T1" fmla="*/ 391 h 406"/>
                <a:gd name="T2" fmla="*/ 2 w 361"/>
                <a:gd name="T3" fmla="*/ 396 h 406"/>
                <a:gd name="T4" fmla="*/ 5 w 361"/>
                <a:gd name="T5" fmla="*/ 402 h 406"/>
                <a:gd name="T6" fmla="*/ 9 w 361"/>
                <a:gd name="T7" fmla="*/ 405 h 406"/>
                <a:gd name="T8" fmla="*/ 15 w 361"/>
                <a:gd name="T9" fmla="*/ 406 h 406"/>
                <a:gd name="T10" fmla="*/ 21 w 361"/>
                <a:gd name="T11" fmla="*/ 405 h 406"/>
                <a:gd name="T12" fmla="*/ 26 w 361"/>
                <a:gd name="T13" fmla="*/ 402 h 406"/>
                <a:gd name="T14" fmla="*/ 29 w 361"/>
                <a:gd name="T15" fmla="*/ 396 h 406"/>
                <a:gd name="T16" fmla="*/ 30 w 361"/>
                <a:gd name="T17" fmla="*/ 391 h 406"/>
                <a:gd name="T18" fmla="*/ 30 w 361"/>
                <a:gd name="T19" fmla="*/ 169 h 406"/>
                <a:gd name="T20" fmla="*/ 34 w 361"/>
                <a:gd name="T21" fmla="*/ 140 h 406"/>
                <a:gd name="T22" fmla="*/ 44 w 361"/>
                <a:gd name="T23" fmla="*/ 113 h 406"/>
                <a:gd name="T24" fmla="*/ 59 w 361"/>
                <a:gd name="T25" fmla="*/ 89 h 406"/>
                <a:gd name="T26" fmla="*/ 80 w 361"/>
                <a:gd name="T27" fmla="*/ 67 h 406"/>
                <a:gd name="T28" fmla="*/ 105 w 361"/>
                <a:gd name="T29" fmla="*/ 50 h 406"/>
                <a:gd name="T30" fmla="*/ 132 w 361"/>
                <a:gd name="T31" fmla="*/ 37 h 406"/>
                <a:gd name="T32" fmla="*/ 162 w 361"/>
                <a:gd name="T33" fmla="*/ 31 h 406"/>
                <a:gd name="T34" fmla="*/ 179 w 361"/>
                <a:gd name="T35" fmla="*/ 30 h 406"/>
                <a:gd name="T36" fmla="*/ 191 w 361"/>
                <a:gd name="T37" fmla="*/ 31 h 406"/>
                <a:gd name="T38" fmla="*/ 213 w 361"/>
                <a:gd name="T39" fmla="*/ 34 h 406"/>
                <a:gd name="T40" fmla="*/ 226 w 361"/>
                <a:gd name="T41" fmla="*/ 37 h 406"/>
                <a:gd name="T42" fmla="*/ 236 w 361"/>
                <a:gd name="T43" fmla="*/ 41 h 406"/>
                <a:gd name="T44" fmla="*/ 253 w 361"/>
                <a:gd name="T45" fmla="*/ 48 h 406"/>
                <a:gd name="T46" fmla="*/ 269 w 361"/>
                <a:gd name="T47" fmla="*/ 59 h 406"/>
                <a:gd name="T48" fmla="*/ 284 w 361"/>
                <a:gd name="T49" fmla="*/ 71 h 406"/>
                <a:gd name="T50" fmla="*/ 291 w 361"/>
                <a:gd name="T51" fmla="*/ 77 h 406"/>
                <a:gd name="T52" fmla="*/ 301 w 361"/>
                <a:gd name="T53" fmla="*/ 89 h 406"/>
                <a:gd name="T54" fmla="*/ 316 w 361"/>
                <a:gd name="T55" fmla="*/ 113 h 406"/>
                <a:gd name="T56" fmla="*/ 327 w 361"/>
                <a:gd name="T57" fmla="*/ 141 h 406"/>
                <a:gd name="T58" fmla="*/ 331 w 361"/>
                <a:gd name="T59" fmla="*/ 170 h 406"/>
                <a:gd name="T60" fmla="*/ 331 w 361"/>
                <a:gd name="T61" fmla="*/ 331 h 406"/>
                <a:gd name="T62" fmla="*/ 331 w 361"/>
                <a:gd name="T63" fmla="*/ 393 h 406"/>
                <a:gd name="T64" fmla="*/ 333 w 361"/>
                <a:gd name="T65" fmla="*/ 399 h 406"/>
                <a:gd name="T66" fmla="*/ 337 w 361"/>
                <a:gd name="T67" fmla="*/ 403 h 406"/>
                <a:gd name="T68" fmla="*/ 343 w 361"/>
                <a:gd name="T69" fmla="*/ 405 h 406"/>
                <a:gd name="T70" fmla="*/ 349 w 361"/>
                <a:gd name="T71" fmla="*/ 405 h 406"/>
                <a:gd name="T72" fmla="*/ 355 w 361"/>
                <a:gd name="T73" fmla="*/ 403 h 406"/>
                <a:gd name="T74" fmla="*/ 359 w 361"/>
                <a:gd name="T75" fmla="*/ 400 h 406"/>
                <a:gd name="T76" fmla="*/ 361 w 361"/>
                <a:gd name="T77" fmla="*/ 394 h 406"/>
                <a:gd name="T78" fmla="*/ 361 w 361"/>
                <a:gd name="T79" fmla="*/ 186 h 406"/>
                <a:gd name="T80" fmla="*/ 360 w 361"/>
                <a:gd name="T81" fmla="*/ 158 h 406"/>
                <a:gd name="T82" fmla="*/ 355 w 361"/>
                <a:gd name="T83" fmla="*/ 132 h 406"/>
                <a:gd name="T84" fmla="*/ 346 w 361"/>
                <a:gd name="T85" fmla="*/ 106 h 406"/>
                <a:gd name="T86" fmla="*/ 332 w 361"/>
                <a:gd name="T87" fmla="*/ 82 h 406"/>
                <a:gd name="T88" fmla="*/ 313 w 361"/>
                <a:gd name="T89" fmla="*/ 57 h 406"/>
                <a:gd name="T90" fmla="*/ 285 w 361"/>
                <a:gd name="T91" fmla="*/ 33 h 406"/>
                <a:gd name="T92" fmla="*/ 254 w 361"/>
                <a:gd name="T93" fmla="*/ 16 h 406"/>
                <a:gd name="T94" fmla="*/ 220 w 361"/>
                <a:gd name="T95" fmla="*/ 4 h 406"/>
                <a:gd name="T96" fmla="*/ 184 w 361"/>
                <a:gd name="T97" fmla="*/ 0 h 406"/>
                <a:gd name="T98" fmla="*/ 180 w 361"/>
                <a:gd name="T99" fmla="*/ 0 h 406"/>
                <a:gd name="T100" fmla="*/ 173 w 361"/>
                <a:gd name="T101" fmla="*/ 0 h 406"/>
                <a:gd name="T102" fmla="*/ 138 w 361"/>
                <a:gd name="T103" fmla="*/ 5 h 406"/>
                <a:gd name="T104" fmla="*/ 105 w 361"/>
                <a:gd name="T105" fmla="*/ 16 h 406"/>
                <a:gd name="T106" fmla="*/ 74 w 361"/>
                <a:gd name="T107" fmla="*/ 34 h 406"/>
                <a:gd name="T108" fmla="*/ 47 w 361"/>
                <a:gd name="T109" fmla="*/ 57 h 406"/>
                <a:gd name="T110" fmla="*/ 26 w 361"/>
                <a:gd name="T111" fmla="*/ 86 h 406"/>
                <a:gd name="T112" fmla="*/ 11 w 361"/>
                <a:gd name="T113" fmla="*/ 117 h 406"/>
                <a:gd name="T114" fmla="*/ 2 w 361"/>
                <a:gd name="T115" fmla="*/ 151 h 406"/>
                <a:gd name="T116" fmla="*/ 0 w 361"/>
                <a:gd name="T117" fmla="*/ 185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1" h="406">
                  <a:moveTo>
                    <a:pt x="0" y="331"/>
                  </a:moveTo>
                  <a:lnTo>
                    <a:pt x="0" y="391"/>
                  </a:lnTo>
                  <a:lnTo>
                    <a:pt x="1" y="393"/>
                  </a:lnTo>
                  <a:lnTo>
                    <a:pt x="2" y="396"/>
                  </a:lnTo>
                  <a:lnTo>
                    <a:pt x="3" y="399"/>
                  </a:lnTo>
                  <a:lnTo>
                    <a:pt x="5" y="402"/>
                  </a:lnTo>
                  <a:lnTo>
                    <a:pt x="7" y="403"/>
                  </a:lnTo>
                  <a:lnTo>
                    <a:pt x="9" y="405"/>
                  </a:lnTo>
                  <a:lnTo>
                    <a:pt x="13" y="405"/>
                  </a:lnTo>
                  <a:lnTo>
                    <a:pt x="15" y="406"/>
                  </a:lnTo>
                  <a:lnTo>
                    <a:pt x="18" y="405"/>
                  </a:lnTo>
                  <a:lnTo>
                    <a:pt x="21" y="405"/>
                  </a:lnTo>
                  <a:lnTo>
                    <a:pt x="23" y="403"/>
                  </a:lnTo>
                  <a:lnTo>
                    <a:pt x="26" y="402"/>
                  </a:lnTo>
                  <a:lnTo>
                    <a:pt x="28" y="400"/>
                  </a:lnTo>
                  <a:lnTo>
                    <a:pt x="29" y="396"/>
                  </a:lnTo>
                  <a:lnTo>
                    <a:pt x="30" y="394"/>
                  </a:lnTo>
                  <a:lnTo>
                    <a:pt x="30" y="391"/>
                  </a:lnTo>
                  <a:lnTo>
                    <a:pt x="30" y="184"/>
                  </a:lnTo>
                  <a:lnTo>
                    <a:pt x="30" y="169"/>
                  </a:lnTo>
                  <a:lnTo>
                    <a:pt x="32" y="155"/>
                  </a:lnTo>
                  <a:lnTo>
                    <a:pt x="34" y="140"/>
                  </a:lnTo>
                  <a:lnTo>
                    <a:pt x="38" y="127"/>
                  </a:lnTo>
                  <a:lnTo>
                    <a:pt x="44" y="113"/>
                  </a:lnTo>
                  <a:lnTo>
                    <a:pt x="51" y="101"/>
                  </a:lnTo>
                  <a:lnTo>
                    <a:pt x="59" y="89"/>
                  </a:lnTo>
                  <a:lnTo>
                    <a:pt x="68" y="78"/>
                  </a:lnTo>
                  <a:lnTo>
                    <a:pt x="80" y="67"/>
                  </a:lnTo>
                  <a:lnTo>
                    <a:pt x="92" y="58"/>
                  </a:lnTo>
                  <a:lnTo>
                    <a:pt x="105" y="50"/>
                  </a:lnTo>
                  <a:lnTo>
                    <a:pt x="118" y="43"/>
                  </a:lnTo>
                  <a:lnTo>
                    <a:pt x="132" y="37"/>
                  </a:lnTo>
                  <a:lnTo>
                    <a:pt x="147" y="34"/>
                  </a:lnTo>
                  <a:lnTo>
                    <a:pt x="162" y="31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91" y="31"/>
                  </a:lnTo>
                  <a:lnTo>
                    <a:pt x="200" y="32"/>
                  </a:lnTo>
                  <a:lnTo>
                    <a:pt x="213" y="34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36" y="41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1" y="53"/>
                  </a:lnTo>
                  <a:lnTo>
                    <a:pt x="269" y="59"/>
                  </a:lnTo>
                  <a:lnTo>
                    <a:pt x="276" y="64"/>
                  </a:lnTo>
                  <a:lnTo>
                    <a:pt x="284" y="71"/>
                  </a:lnTo>
                  <a:lnTo>
                    <a:pt x="290" y="77"/>
                  </a:lnTo>
                  <a:lnTo>
                    <a:pt x="291" y="77"/>
                  </a:lnTo>
                  <a:lnTo>
                    <a:pt x="291" y="78"/>
                  </a:lnTo>
                  <a:lnTo>
                    <a:pt x="301" y="89"/>
                  </a:lnTo>
                  <a:lnTo>
                    <a:pt x="310" y="102"/>
                  </a:lnTo>
                  <a:lnTo>
                    <a:pt x="316" y="113"/>
                  </a:lnTo>
                  <a:lnTo>
                    <a:pt x="322" y="127"/>
                  </a:lnTo>
                  <a:lnTo>
                    <a:pt x="327" y="141"/>
                  </a:lnTo>
                  <a:lnTo>
                    <a:pt x="329" y="155"/>
                  </a:lnTo>
                  <a:lnTo>
                    <a:pt x="331" y="170"/>
                  </a:lnTo>
                  <a:lnTo>
                    <a:pt x="331" y="185"/>
                  </a:lnTo>
                  <a:lnTo>
                    <a:pt x="331" y="331"/>
                  </a:lnTo>
                  <a:lnTo>
                    <a:pt x="331" y="391"/>
                  </a:lnTo>
                  <a:lnTo>
                    <a:pt x="331" y="393"/>
                  </a:lnTo>
                  <a:lnTo>
                    <a:pt x="332" y="396"/>
                  </a:lnTo>
                  <a:lnTo>
                    <a:pt x="333" y="399"/>
                  </a:lnTo>
                  <a:lnTo>
                    <a:pt x="335" y="402"/>
                  </a:lnTo>
                  <a:lnTo>
                    <a:pt x="337" y="403"/>
                  </a:lnTo>
                  <a:lnTo>
                    <a:pt x="340" y="405"/>
                  </a:lnTo>
                  <a:lnTo>
                    <a:pt x="343" y="405"/>
                  </a:lnTo>
                  <a:lnTo>
                    <a:pt x="346" y="406"/>
                  </a:lnTo>
                  <a:lnTo>
                    <a:pt x="349" y="405"/>
                  </a:lnTo>
                  <a:lnTo>
                    <a:pt x="351" y="405"/>
                  </a:lnTo>
                  <a:lnTo>
                    <a:pt x="355" y="403"/>
                  </a:lnTo>
                  <a:lnTo>
                    <a:pt x="357" y="402"/>
                  </a:lnTo>
                  <a:lnTo>
                    <a:pt x="359" y="400"/>
                  </a:lnTo>
                  <a:lnTo>
                    <a:pt x="360" y="396"/>
                  </a:lnTo>
                  <a:lnTo>
                    <a:pt x="361" y="394"/>
                  </a:lnTo>
                  <a:lnTo>
                    <a:pt x="361" y="391"/>
                  </a:lnTo>
                  <a:lnTo>
                    <a:pt x="361" y="186"/>
                  </a:lnTo>
                  <a:lnTo>
                    <a:pt x="361" y="172"/>
                  </a:lnTo>
                  <a:lnTo>
                    <a:pt x="360" y="158"/>
                  </a:lnTo>
                  <a:lnTo>
                    <a:pt x="358" y="145"/>
                  </a:lnTo>
                  <a:lnTo>
                    <a:pt x="355" y="132"/>
                  </a:lnTo>
                  <a:lnTo>
                    <a:pt x="351" y="119"/>
                  </a:lnTo>
                  <a:lnTo>
                    <a:pt x="346" y="106"/>
                  </a:lnTo>
                  <a:lnTo>
                    <a:pt x="340" y="94"/>
                  </a:lnTo>
                  <a:lnTo>
                    <a:pt x="332" y="82"/>
                  </a:lnTo>
                  <a:lnTo>
                    <a:pt x="323" y="68"/>
                  </a:lnTo>
                  <a:lnTo>
                    <a:pt x="313" y="57"/>
                  </a:lnTo>
                  <a:lnTo>
                    <a:pt x="300" y="44"/>
                  </a:lnTo>
                  <a:lnTo>
                    <a:pt x="285" y="33"/>
                  </a:lnTo>
                  <a:lnTo>
                    <a:pt x="270" y="23"/>
                  </a:lnTo>
                  <a:lnTo>
                    <a:pt x="254" y="16"/>
                  </a:lnTo>
                  <a:lnTo>
                    <a:pt x="237" y="9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0" y="0"/>
                  </a:lnTo>
                  <a:lnTo>
                    <a:pt x="177" y="0"/>
                  </a:lnTo>
                  <a:lnTo>
                    <a:pt x="173" y="0"/>
                  </a:lnTo>
                  <a:lnTo>
                    <a:pt x="155" y="2"/>
                  </a:lnTo>
                  <a:lnTo>
                    <a:pt x="138" y="5"/>
                  </a:lnTo>
                  <a:lnTo>
                    <a:pt x="121" y="9"/>
                  </a:lnTo>
                  <a:lnTo>
                    <a:pt x="105" y="16"/>
                  </a:lnTo>
                  <a:lnTo>
                    <a:pt x="89" y="24"/>
                  </a:lnTo>
                  <a:lnTo>
                    <a:pt x="74" y="34"/>
                  </a:lnTo>
                  <a:lnTo>
                    <a:pt x="60" y="45"/>
                  </a:lnTo>
                  <a:lnTo>
                    <a:pt x="47" y="57"/>
                  </a:lnTo>
                  <a:lnTo>
                    <a:pt x="35" y="71"/>
                  </a:lnTo>
                  <a:lnTo>
                    <a:pt x="26" y="86"/>
                  </a:lnTo>
                  <a:lnTo>
                    <a:pt x="17" y="101"/>
                  </a:lnTo>
                  <a:lnTo>
                    <a:pt x="11" y="117"/>
                  </a:lnTo>
                  <a:lnTo>
                    <a:pt x="5" y="134"/>
                  </a:lnTo>
                  <a:lnTo>
                    <a:pt x="2" y="151"/>
                  </a:lnTo>
                  <a:lnTo>
                    <a:pt x="0" y="168"/>
                  </a:lnTo>
                  <a:lnTo>
                    <a:pt x="0" y="185"/>
                  </a:lnTo>
                  <a:lnTo>
                    <a:pt x="0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135"/>
            <p:cNvSpPr>
              <a:spLocks/>
            </p:cNvSpPr>
            <p:nvPr/>
          </p:nvSpPr>
          <p:spPr bwMode="auto">
            <a:xfrm>
              <a:off x="10656888" y="1398588"/>
              <a:ext cx="74613" cy="79375"/>
            </a:xfrm>
            <a:custGeom>
              <a:avLst/>
              <a:gdLst>
                <a:gd name="T0" fmla="*/ 230 w 235"/>
                <a:gd name="T1" fmla="*/ 85 h 250"/>
                <a:gd name="T2" fmla="*/ 150 w 235"/>
                <a:gd name="T3" fmla="*/ 5 h 250"/>
                <a:gd name="T4" fmla="*/ 148 w 235"/>
                <a:gd name="T5" fmla="*/ 2 h 250"/>
                <a:gd name="T6" fmla="*/ 145 w 235"/>
                <a:gd name="T7" fmla="*/ 1 h 250"/>
                <a:gd name="T8" fmla="*/ 142 w 235"/>
                <a:gd name="T9" fmla="*/ 0 h 250"/>
                <a:gd name="T10" fmla="*/ 138 w 235"/>
                <a:gd name="T11" fmla="*/ 0 h 250"/>
                <a:gd name="T12" fmla="*/ 135 w 235"/>
                <a:gd name="T13" fmla="*/ 0 h 250"/>
                <a:gd name="T14" fmla="*/ 133 w 235"/>
                <a:gd name="T15" fmla="*/ 1 h 250"/>
                <a:gd name="T16" fmla="*/ 130 w 235"/>
                <a:gd name="T17" fmla="*/ 2 h 250"/>
                <a:gd name="T18" fmla="*/ 128 w 235"/>
                <a:gd name="T19" fmla="*/ 5 h 250"/>
                <a:gd name="T20" fmla="*/ 3 w 235"/>
                <a:gd name="T21" fmla="*/ 149 h 250"/>
                <a:gd name="T22" fmla="*/ 1 w 235"/>
                <a:gd name="T23" fmla="*/ 155 h 250"/>
                <a:gd name="T24" fmla="*/ 0 w 235"/>
                <a:gd name="T25" fmla="*/ 159 h 250"/>
                <a:gd name="T26" fmla="*/ 0 w 235"/>
                <a:gd name="T27" fmla="*/ 235 h 250"/>
                <a:gd name="T28" fmla="*/ 0 w 235"/>
                <a:gd name="T29" fmla="*/ 237 h 250"/>
                <a:gd name="T30" fmla="*/ 1 w 235"/>
                <a:gd name="T31" fmla="*/ 240 h 250"/>
                <a:gd name="T32" fmla="*/ 2 w 235"/>
                <a:gd name="T33" fmla="*/ 243 h 250"/>
                <a:gd name="T34" fmla="*/ 4 w 235"/>
                <a:gd name="T35" fmla="*/ 245 h 250"/>
                <a:gd name="T36" fmla="*/ 6 w 235"/>
                <a:gd name="T37" fmla="*/ 247 h 250"/>
                <a:gd name="T38" fmla="*/ 10 w 235"/>
                <a:gd name="T39" fmla="*/ 248 h 250"/>
                <a:gd name="T40" fmla="*/ 12 w 235"/>
                <a:gd name="T41" fmla="*/ 249 h 250"/>
                <a:gd name="T42" fmla="*/ 15 w 235"/>
                <a:gd name="T43" fmla="*/ 250 h 250"/>
                <a:gd name="T44" fmla="*/ 90 w 235"/>
                <a:gd name="T45" fmla="*/ 250 h 250"/>
                <a:gd name="T46" fmla="*/ 93 w 235"/>
                <a:gd name="T47" fmla="*/ 249 h 250"/>
                <a:gd name="T48" fmla="*/ 96 w 235"/>
                <a:gd name="T49" fmla="*/ 248 h 250"/>
                <a:gd name="T50" fmla="*/ 99 w 235"/>
                <a:gd name="T51" fmla="*/ 247 h 250"/>
                <a:gd name="T52" fmla="*/ 101 w 235"/>
                <a:gd name="T53" fmla="*/ 245 h 250"/>
                <a:gd name="T54" fmla="*/ 230 w 235"/>
                <a:gd name="T55" fmla="*/ 105 h 250"/>
                <a:gd name="T56" fmla="*/ 233 w 235"/>
                <a:gd name="T57" fmla="*/ 103 h 250"/>
                <a:gd name="T58" fmla="*/ 234 w 235"/>
                <a:gd name="T59" fmla="*/ 101 h 250"/>
                <a:gd name="T60" fmla="*/ 235 w 235"/>
                <a:gd name="T61" fmla="*/ 98 h 250"/>
                <a:gd name="T62" fmla="*/ 235 w 235"/>
                <a:gd name="T63" fmla="*/ 95 h 250"/>
                <a:gd name="T64" fmla="*/ 235 w 235"/>
                <a:gd name="T65" fmla="*/ 92 h 250"/>
                <a:gd name="T66" fmla="*/ 234 w 235"/>
                <a:gd name="T67" fmla="*/ 89 h 250"/>
                <a:gd name="T68" fmla="*/ 233 w 235"/>
                <a:gd name="T69" fmla="*/ 87 h 250"/>
                <a:gd name="T70" fmla="*/ 230 w 235"/>
                <a:gd name="T71" fmla="*/ 8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5" h="250">
                  <a:moveTo>
                    <a:pt x="230" y="85"/>
                  </a:moveTo>
                  <a:lnTo>
                    <a:pt x="150" y="5"/>
                  </a:lnTo>
                  <a:lnTo>
                    <a:pt x="148" y="2"/>
                  </a:lnTo>
                  <a:lnTo>
                    <a:pt x="145" y="1"/>
                  </a:lnTo>
                  <a:lnTo>
                    <a:pt x="142" y="0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33" y="1"/>
                  </a:lnTo>
                  <a:lnTo>
                    <a:pt x="130" y="2"/>
                  </a:lnTo>
                  <a:lnTo>
                    <a:pt x="128" y="5"/>
                  </a:lnTo>
                  <a:lnTo>
                    <a:pt x="3" y="149"/>
                  </a:lnTo>
                  <a:lnTo>
                    <a:pt x="1" y="155"/>
                  </a:lnTo>
                  <a:lnTo>
                    <a:pt x="0" y="159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" y="245"/>
                  </a:lnTo>
                  <a:lnTo>
                    <a:pt x="6" y="247"/>
                  </a:lnTo>
                  <a:lnTo>
                    <a:pt x="10" y="248"/>
                  </a:lnTo>
                  <a:lnTo>
                    <a:pt x="12" y="249"/>
                  </a:lnTo>
                  <a:lnTo>
                    <a:pt x="15" y="250"/>
                  </a:lnTo>
                  <a:lnTo>
                    <a:pt x="90" y="250"/>
                  </a:lnTo>
                  <a:lnTo>
                    <a:pt x="93" y="249"/>
                  </a:lnTo>
                  <a:lnTo>
                    <a:pt x="96" y="248"/>
                  </a:lnTo>
                  <a:lnTo>
                    <a:pt x="99" y="247"/>
                  </a:lnTo>
                  <a:lnTo>
                    <a:pt x="101" y="245"/>
                  </a:lnTo>
                  <a:lnTo>
                    <a:pt x="230" y="105"/>
                  </a:lnTo>
                  <a:lnTo>
                    <a:pt x="233" y="103"/>
                  </a:lnTo>
                  <a:lnTo>
                    <a:pt x="234" y="101"/>
                  </a:lnTo>
                  <a:lnTo>
                    <a:pt x="235" y="98"/>
                  </a:lnTo>
                  <a:lnTo>
                    <a:pt x="235" y="95"/>
                  </a:lnTo>
                  <a:lnTo>
                    <a:pt x="235" y="92"/>
                  </a:lnTo>
                  <a:lnTo>
                    <a:pt x="234" y="89"/>
                  </a:lnTo>
                  <a:lnTo>
                    <a:pt x="233" y="87"/>
                  </a:lnTo>
                  <a:lnTo>
                    <a:pt x="23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54068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3409950"/>
            <a:ext cx="12192000" cy="419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rgbClr val="0C344C"/>
                </a:solidFill>
                <a:latin typeface="+mj-lt"/>
              </a:rPr>
              <a:t>Year Process</a:t>
            </a:r>
          </a:p>
        </p:txBody>
      </p:sp>
      <p:sp>
        <p:nvSpPr>
          <p:cNvPr id="9" name="Freeform 5"/>
          <p:cNvSpPr>
            <a:spLocks/>
          </p:cNvSpPr>
          <p:nvPr/>
        </p:nvSpPr>
        <p:spPr bwMode="auto">
          <a:xfrm>
            <a:off x="5675148" y="3251200"/>
            <a:ext cx="1172267" cy="760796"/>
          </a:xfrm>
          <a:custGeom>
            <a:avLst/>
            <a:gdLst>
              <a:gd name="T0" fmla="*/ 1952 w 2490"/>
              <a:gd name="T1" fmla="*/ 0 h 1616"/>
              <a:gd name="T2" fmla="*/ 0 w 2490"/>
              <a:gd name="T3" fmla="*/ 0 h 1616"/>
              <a:gd name="T4" fmla="*/ 538 w 2490"/>
              <a:gd name="T5" fmla="*/ 808 h 1616"/>
              <a:gd name="T6" fmla="*/ 0 w 2490"/>
              <a:gd name="T7" fmla="*/ 1616 h 1616"/>
              <a:gd name="T8" fmla="*/ 1952 w 2490"/>
              <a:gd name="T9" fmla="*/ 1616 h 1616"/>
              <a:gd name="T10" fmla="*/ 2490 w 2490"/>
              <a:gd name="T11" fmla="*/ 808 h 1616"/>
              <a:gd name="T12" fmla="*/ 1952 w 2490"/>
              <a:gd name="T13" fmla="*/ 0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90" h="1616">
                <a:moveTo>
                  <a:pt x="1952" y="0"/>
                </a:moveTo>
                <a:lnTo>
                  <a:pt x="0" y="0"/>
                </a:lnTo>
                <a:lnTo>
                  <a:pt x="538" y="808"/>
                </a:lnTo>
                <a:lnTo>
                  <a:pt x="0" y="1616"/>
                </a:lnTo>
                <a:lnTo>
                  <a:pt x="1952" y="1616"/>
                </a:lnTo>
                <a:lnTo>
                  <a:pt x="2490" y="808"/>
                </a:lnTo>
                <a:lnTo>
                  <a:pt x="1952" y="0"/>
                </a:lnTo>
                <a:close/>
              </a:path>
            </a:pathLst>
          </a:custGeom>
          <a:solidFill>
            <a:srgbClr val="1962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6427000" y="3251200"/>
            <a:ext cx="546116" cy="1202397"/>
          </a:xfrm>
          <a:custGeom>
            <a:avLst/>
            <a:gdLst>
              <a:gd name="T0" fmla="*/ 623 w 1160"/>
              <a:gd name="T1" fmla="*/ 0 h 2554"/>
              <a:gd name="T2" fmla="*/ 1160 w 1160"/>
              <a:gd name="T3" fmla="*/ 808 h 2554"/>
              <a:gd name="T4" fmla="*/ 0 w 1160"/>
              <a:gd name="T5" fmla="*/ 2554 h 2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60" h="2554">
                <a:moveTo>
                  <a:pt x="623" y="0"/>
                </a:moveTo>
                <a:lnTo>
                  <a:pt x="1160" y="808"/>
                </a:lnTo>
                <a:lnTo>
                  <a:pt x="0" y="2554"/>
                </a:lnTo>
              </a:path>
            </a:pathLst>
          </a:custGeom>
          <a:noFill/>
          <a:ln w="12700" cap="flat">
            <a:solidFill>
              <a:srgbClr val="19627F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5"/>
          <p:cNvSpPr>
            <a:spLocks/>
          </p:cNvSpPr>
          <p:nvPr/>
        </p:nvSpPr>
        <p:spPr bwMode="auto">
          <a:xfrm>
            <a:off x="1399304" y="3251200"/>
            <a:ext cx="1172267" cy="760796"/>
          </a:xfrm>
          <a:custGeom>
            <a:avLst/>
            <a:gdLst>
              <a:gd name="T0" fmla="*/ 1952 w 2490"/>
              <a:gd name="T1" fmla="*/ 0 h 1616"/>
              <a:gd name="T2" fmla="*/ 0 w 2490"/>
              <a:gd name="T3" fmla="*/ 0 h 1616"/>
              <a:gd name="T4" fmla="*/ 538 w 2490"/>
              <a:gd name="T5" fmla="*/ 808 h 1616"/>
              <a:gd name="T6" fmla="*/ 0 w 2490"/>
              <a:gd name="T7" fmla="*/ 1616 h 1616"/>
              <a:gd name="T8" fmla="*/ 1952 w 2490"/>
              <a:gd name="T9" fmla="*/ 1616 h 1616"/>
              <a:gd name="T10" fmla="*/ 2490 w 2490"/>
              <a:gd name="T11" fmla="*/ 808 h 1616"/>
              <a:gd name="T12" fmla="*/ 1952 w 2490"/>
              <a:gd name="T13" fmla="*/ 0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90" h="1616">
                <a:moveTo>
                  <a:pt x="1952" y="0"/>
                </a:moveTo>
                <a:lnTo>
                  <a:pt x="0" y="0"/>
                </a:lnTo>
                <a:lnTo>
                  <a:pt x="538" y="808"/>
                </a:lnTo>
                <a:lnTo>
                  <a:pt x="0" y="1616"/>
                </a:lnTo>
                <a:lnTo>
                  <a:pt x="1952" y="1616"/>
                </a:lnTo>
                <a:lnTo>
                  <a:pt x="2490" y="808"/>
                </a:lnTo>
                <a:lnTo>
                  <a:pt x="1952" y="0"/>
                </a:lnTo>
                <a:close/>
              </a:path>
            </a:pathLst>
          </a:custGeom>
          <a:solidFill>
            <a:srgbClr val="D80F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2151156" y="3251200"/>
            <a:ext cx="546116" cy="1202397"/>
          </a:xfrm>
          <a:custGeom>
            <a:avLst/>
            <a:gdLst>
              <a:gd name="T0" fmla="*/ 623 w 1160"/>
              <a:gd name="T1" fmla="*/ 0 h 2554"/>
              <a:gd name="T2" fmla="*/ 1160 w 1160"/>
              <a:gd name="T3" fmla="*/ 808 h 2554"/>
              <a:gd name="T4" fmla="*/ 0 w 1160"/>
              <a:gd name="T5" fmla="*/ 2554 h 2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60" h="2554">
                <a:moveTo>
                  <a:pt x="623" y="0"/>
                </a:moveTo>
                <a:lnTo>
                  <a:pt x="1160" y="808"/>
                </a:lnTo>
                <a:lnTo>
                  <a:pt x="0" y="2554"/>
                </a:lnTo>
              </a:path>
            </a:pathLst>
          </a:custGeom>
          <a:noFill/>
          <a:ln w="12700" cap="flat">
            <a:solidFill>
              <a:srgbClr val="D80F79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 flipV="1">
            <a:off x="3537226" y="3251200"/>
            <a:ext cx="1172267" cy="760796"/>
          </a:xfrm>
          <a:custGeom>
            <a:avLst/>
            <a:gdLst>
              <a:gd name="T0" fmla="*/ 1952 w 2490"/>
              <a:gd name="T1" fmla="*/ 0 h 1616"/>
              <a:gd name="T2" fmla="*/ 0 w 2490"/>
              <a:gd name="T3" fmla="*/ 0 h 1616"/>
              <a:gd name="T4" fmla="*/ 538 w 2490"/>
              <a:gd name="T5" fmla="*/ 808 h 1616"/>
              <a:gd name="T6" fmla="*/ 0 w 2490"/>
              <a:gd name="T7" fmla="*/ 1616 h 1616"/>
              <a:gd name="T8" fmla="*/ 1952 w 2490"/>
              <a:gd name="T9" fmla="*/ 1616 h 1616"/>
              <a:gd name="T10" fmla="*/ 2490 w 2490"/>
              <a:gd name="T11" fmla="*/ 808 h 1616"/>
              <a:gd name="T12" fmla="*/ 1952 w 2490"/>
              <a:gd name="T13" fmla="*/ 0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90" h="1616">
                <a:moveTo>
                  <a:pt x="1952" y="0"/>
                </a:moveTo>
                <a:lnTo>
                  <a:pt x="0" y="0"/>
                </a:lnTo>
                <a:lnTo>
                  <a:pt x="538" y="808"/>
                </a:lnTo>
                <a:lnTo>
                  <a:pt x="0" y="1616"/>
                </a:lnTo>
                <a:lnTo>
                  <a:pt x="1952" y="1616"/>
                </a:lnTo>
                <a:lnTo>
                  <a:pt x="2490" y="808"/>
                </a:lnTo>
                <a:lnTo>
                  <a:pt x="1952" y="0"/>
                </a:lnTo>
                <a:close/>
              </a:path>
            </a:pathLst>
          </a:custGeom>
          <a:solidFill>
            <a:srgbClr val="0C344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6"/>
          <p:cNvSpPr>
            <a:spLocks/>
          </p:cNvSpPr>
          <p:nvPr/>
        </p:nvSpPr>
        <p:spPr bwMode="auto">
          <a:xfrm flipV="1">
            <a:off x="4289078" y="2809599"/>
            <a:ext cx="546116" cy="1202397"/>
          </a:xfrm>
          <a:custGeom>
            <a:avLst/>
            <a:gdLst>
              <a:gd name="T0" fmla="*/ 623 w 1160"/>
              <a:gd name="T1" fmla="*/ 0 h 2554"/>
              <a:gd name="T2" fmla="*/ 1160 w 1160"/>
              <a:gd name="T3" fmla="*/ 808 h 2554"/>
              <a:gd name="T4" fmla="*/ 0 w 1160"/>
              <a:gd name="T5" fmla="*/ 2554 h 2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60" h="2554">
                <a:moveTo>
                  <a:pt x="623" y="0"/>
                </a:moveTo>
                <a:lnTo>
                  <a:pt x="1160" y="808"/>
                </a:lnTo>
                <a:lnTo>
                  <a:pt x="0" y="2554"/>
                </a:lnTo>
              </a:path>
            </a:pathLst>
          </a:custGeom>
          <a:noFill/>
          <a:ln w="12700" cap="flat">
            <a:solidFill>
              <a:srgbClr val="0C344C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 flipV="1">
            <a:off x="7813070" y="3251200"/>
            <a:ext cx="1172267" cy="760796"/>
          </a:xfrm>
          <a:custGeom>
            <a:avLst/>
            <a:gdLst>
              <a:gd name="T0" fmla="*/ 1952 w 2490"/>
              <a:gd name="T1" fmla="*/ 0 h 1616"/>
              <a:gd name="T2" fmla="*/ 0 w 2490"/>
              <a:gd name="T3" fmla="*/ 0 h 1616"/>
              <a:gd name="T4" fmla="*/ 538 w 2490"/>
              <a:gd name="T5" fmla="*/ 808 h 1616"/>
              <a:gd name="T6" fmla="*/ 0 w 2490"/>
              <a:gd name="T7" fmla="*/ 1616 h 1616"/>
              <a:gd name="T8" fmla="*/ 1952 w 2490"/>
              <a:gd name="T9" fmla="*/ 1616 h 1616"/>
              <a:gd name="T10" fmla="*/ 2490 w 2490"/>
              <a:gd name="T11" fmla="*/ 808 h 1616"/>
              <a:gd name="T12" fmla="*/ 1952 w 2490"/>
              <a:gd name="T13" fmla="*/ 0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90" h="1616">
                <a:moveTo>
                  <a:pt x="1952" y="0"/>
                </a:moveTo>
                <a:lnTo>
                  <a:pt x="0" y="0"/>
                </a:lnTo>
                <a:lnTo>
                  <a:pt x="538" y="808"/>
                </a:lnTo>
                <a:lnTo>
                  <a:pt x="0" y="1616"/>
                </a:lnTo>
                <a:lnTo>
                  <a:pt x="1952" y="1616"/>
                </a:lnTo>
                <a:lnTo>
                  <a:pt x="2490" y="808"/>
                </a:lnTo>
                <a:lnTo>
                  <a:pt x="1952" y="0"/>
                </a:lnTo>
                <a:close/>
              </a:path>
            </a:pathLst>
          </a:custGeom>
          <a:solidFill>
            <a:srgbClr val="6F87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 flipV="1">
            <a:off x="8564922" y="2809599"/>
            <a:ext cx="546116" cy="1202397"/>
          </a:xfrm>
          <a:custGeom>
            <a:avLst/>
            <a:gdLst>
              <a:gd name="T0" fmla="*/ 623 w 1160"/>
              <a:gd name="T1" fmla="*/ 0 h 2554"/>
              <a:gd name="T2" fmla="*/ 1160 w 1160"/>
              <a:gd name="T3" fmla="*/ 808 h 2554"/>
              <a:gd name="T4" fmla="*/ 0 w 1160"/>
              <a:gd name="T5" fmla="*/ 2554 h 2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60" h="2554">
                <a:moveTo>
                  <a:pt x="623" y="0"/>
                </a:moveTo>
                <a:lnTo>
                  <a:pt x="1160" y="808"/>
                </a:lnTo>
                <a:lnTo>
                  <a:pt x="0" y="2554"/>
                </a:lnTo>
              </a:path>
            </a:pathLst>
          </a:custGeom>
          <a:noFill/>
          <a:ln w="12700" cap="flat">
            <a:solidFill>
              <a:srgbClr val="6F878C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950991" y="3251200"/>
            <a:ext cx="1172267" cy="760796"/>
          </a:xfrm>
          <a:custGeom>
            <a:avLst/>
            <a:gdLst>
              <a:gd name="T0" fmla="*/ 1952 w 2490"/>
              <a:gd name="T1" fmla="*/ 0 h 1616"/>
              <a:gd name="T2" fmla="*/ 0 w 2490"/>
              <a:gd name="T3" fmla="*/ 0 h 1616"/>
              <a:gd name="T4" fmla="*/ 538 w 2490"/>
              <a:gd name="T5" fmla="*/ 808 h 1616"/>
              <a:gd name="T6" fmla="*/ 0 w 2490"/>
              <a:gd name="T7" fmla="*/ 1616 h 1616"/>
              <a:gd name="T8" fmla="*/ 1952 w 2490"/>
              <a:gd name="T9" fmla="*/ 1616 h 1616"/>
              <a:gd name="T10" fmla="*/ 2490 w 2490"/>
              <a:gd name="T11" fmla="*/ 808 h 1616"/>
              <a:gd name="T12" fmla="*/ 1952 w 2490"/>
              <a:gd name="T13" fmla="*/ 0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90" h="1616">
                <a:moveTo>
                  <a:pt x="1952" y="0"/>
                </a:moveTo>
                <a:lnTo>
                  <a:pt x="0" y="0"/>
                </a:lnTo>
                <a:lnTo>
                  <a:pt x="538" y="808"/>
                </a:lnTo>
                <a:lnTo>
                  <a:pt x="0" y="1616"/>
                </a:lnTo>
                <a:lnTo>
                  <a:pt x="1952" y="1616"/>
                </a:lnTo>
                <a:lnTo>
                  <a:pt x="2490" y="808"/>
                </a:lnTo>
                <a:lnTo>
                  <a:pt x="1952" y="0"/>
                </a:lnTo>
                <a:close/>
              </a:path>
            </a:pathLst>
          </a:custGeom>
          <a:solidFill>
            <a:srgbClr val="BF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10702843" y="3251200"/>
            <a:ext cx="546116" cy="1202397"/>
          </a:xfrm>
          <a:custGeom>
            <a:avLst/>
            <a:gdLst>
              <a:gd name="T0" fmla="*/ 623 w 1160"/>
              <a:gd name="T1" fmla="*/ 0 h 2554"/>
              <a:gd name="T2" fmla="*/ 1160 w 1160"/>
              <a:gd name="T3" fmla="*/ 808 h 2554"/>
              <a:gd name="T4" fmla="*/ 0 w 1160"/>
              <a:gd name="T5" fmla="*/ 2554 h 2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60" h="2554">
                <a:moveTo>
                  <a:pt x="623" y="0"/>
                </a:moveTo>
                <a:lnTo>
                  <a:pt x="1160" y="808"/>
                </a:lnTo>
                <a:lnTo>
                  <a:pt x="0" y="2554"/>
                </a:lnTo>
              </a:path>
            </a:pathLst>
          </a:custGeom>
          <a:noFill/>
          <a:ln w="14288" cap="flat">
            <a:solidFill>
              <a:srgbClr val="BFBEBE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1049603" y="3521303"/>
            <a:ext cx="41037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D80F79"/>
                </a:solidFill>
                <a:latin typeface="+mj-lt"/>
              </a:rPr>
              <a:t>2010</a:t>
            </a:r>
            <a:endParaRPr lang="en-US" sz="1400" dirty="0">
              <a:solidFill>
                <a:srgbClr val="D80F79"/>
              </a:solidFill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192483" y="3521303"/>
            <a:ext cx="41037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0C344C"/>
                </a:solidFill>
                <a:latin typeface="+mj-lt"/>
              </a:rPr>
              <a:t>2011</a:t>
            </a:r>
            <a:endParaRPr lang="en-US" sz="14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320359" y="3521303"/>
            <a:ext cx="41037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19627F"/>
                </a:solidFill>
                <a:latin typeface="+mj-lt"/>
              </a:rPr>
              <a:t>2012</a:t>
            </a:r>
            <a:endParaRPr lang="en-US" sz="1400" dirty="0">
              <a:solidFill>
                <a:srgbClr val="19627F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470573" y="3521303"/>
            <a:ext cx="41037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6F878C"/>
                </a:solidFill>
                <a:latin typeface="+mj-lt"/>
              </a:rPr>
              <a:t>2013</a:t>
            </a:r>
            <a:endParaRPr lang="en-US" sz="1400" dirty="0">
              <a:solidFill>
                <a:srgbClr val="6F878C"/>
              </a:solidFill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94716" y="3521303"/>
            <a:ext cx="41037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BFBEBE"/>
                </a:solidFill>
                <a:latin typeface="+mj-lt"/>
              </a:rPr>
              <a:t>2014</a:t>
            </a:r>
            <a:endParaRPr lang="en-US" sz="1400" dirty="0">
              <a:solidFill>
                <a:srgbClr val="BFBEBE"/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45411" y="4916349"/>
            <a:ext cx="185186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.</a:t>
            </a:r>
          </a:p>
        </p:txBody>
      </p:sp>
      <p:sp>
        <p:nvSpPr>
          <p:cNvPr id="38" name="TextBox 25"/>
          <p:cNvSpPr txBox="1"/>
          <p:nvPr/>
        </p:nvSpPr>
        <p:spPr>
          <a:xfrm>
            <a:off x="1459973" y="4587023"/>
            <a:ext cx="123729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21255" y="4916349"/>
            <a:ext cx="185186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.</a:t>
            </a:r>
          </a:p>
        </p:txBody>
      </p:sp>
      <p:sp>
        <p:nvSpPr>
          <p:cNvPr id="40" name="TextBox 25"/>
          <p:cNvSpPr txBox="1"/>
          <p:nvPr/>
        </p:nvSpPr>
        <p:spPr>
          <a:xfrm>
            <a:off x="5735817" y="4587023"/>
            <a:ext cx="123729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9397099" y="4916349"/>
            <a:ext cx="185186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.</a:t>
            </a:r>
          </a:p>
        </p:txBody>
      </p:sp>
      <p:sp>
        <p:nvSpPr>
          <p:cNvPr id="42" name="TextBox 25"/>
          <p:cNvSpPr txBox="1"/>
          <p:nvPr/>
        </p:nvSpPr>
        <p:spPr>
          <a:xfrm>
            <a:off x="10011661" y="4587023"/>
            <a:ext cx="123729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259177" y="2158595"/>
            <a:ext cx="185186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.</a:t>
            </a:r>
          </a:p>
        </p:txBody>
      </p:sp>
      <p:sp>
        <p:nvSpPr>
          <p:cNvPr id="44" name="TextBox 25"/>
          <p:cNvSpPr txBox="1"/>
          <p:nvPr/>
        </p:nvSpPr>
        <p:spPr>
          <a:xfrm>
            <a:off x="7873739" y="1829269"/>
            <a:ext cx="123729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983333" y="2158595"/>
            <a:ext cx="185186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.</a:t>
            </a:r>
          </a:p>
        </p:txBody>
      </p:sp>
      <p:sp>
        <p:nvSpPr>
          <p:cNvPr id="46" name="TextBox 25"/>
          <p:cNvSpPr txBox="1"/>
          <p:nvPr/>
        </p:nvSpPr>
        <p:spPr>
          <a:xfrm>
            <a:off x="3597895" y="1829269"/>
            <a:ext cx="123729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7" name="Freeform 2802"/>
          <p:cNvSpPr>
            <a:spLocks noEditPoints="1"/>
          </p:cNvSpPr>
          <p:nvPr/>
        </p:nvSpPr>
        <p:spPr bwMode="auto">
          <a:xfrm>
            <a:off x="1914000" y="3530792"/>
            <a:ext cx="276225" cy="201613"/>
          </a:xfrm>
          <a:custGeom>
            <a:avLst/>
            <a:gdLst>
              <a:gd name="T0" fmla="*/ 577 w 697"/>
              <a:gd name="T1" fmla="*/ 360 h 505"/>
              <a:gd name="T2" fmla="*/ 649 w 697"/>
              <a:gd name="T3" fmla="*/ 480 h 505"/>
              <a:gd name="T4" fmla="*/ 649 w 697"/>
              <a:gd name="T5" fmla="*/ 432 h 505"/>
              <a:gd name="T6" fmla="*/ 177 w 697"/>
              <a:gd name="T7" fmla="*/ 24 h 505"/>
              <a:gd name="T8" fmla="*/ 125 w 697"/>
              <a:gd name="T9" fmla="*/ 192 h 505"/>
              <a:gd name="T10" fmla="*/ 337 w 697"/>
              <a:gd name="T11" fmla="*/ 272 h 505"/>
              <a:gd name="T12" fmla="*/ 348 w 697"/>
              <a:gd name="T13" fmla="*/ 264 h 505"/>
              <a:gd name="T14" fmla="*/ 360 w 697"/>
              <a:gd name="T15" fmla="*/ 272 h 505"/>
              <a:gd name="T16" fmla="*/ 360 w 697"/>
              <a:gd name="T17" fmla="*/ 304 h 505"/>
              <a:gd name="T18" fmla="*/ 348 w 697"/>
              <a:gd name="T19" fmla="*/ 312 h 505"/>
              <a:gd name="T20" fmla="*/ 337 w 697"/>
              <a:gd name="T21" fmla="*/ 304 h 505"/>
              <a:gd name="T22" fmla="*/ 264 w 697"/>
              <a:gd name="T23" fmla="*/ 432 h 505"/>
              <a:gd name="T24" fmla="*/ 433 w 697"/>
              <a:gd name="T25" fmla="*/ 432 h 505"/>
              <a:gd name="T26" fmla="*/ 24 w 697"/>
              <a:gd name="T27" fmla="*/ 312 h 505"/>
              <a:gd name="T28" fmla="*/ 121 w 697"/>
              <a:gd name="T29" fmla="*/ 480 h 505"/>
              <a:gd name="T30" fmla="*/ 121 w 697"/>
              <a:gd name="T31" fmla="*/ 432 h 505"/>
              <a:gd name="T32" fmla="*/ 697 w 697"/>
              <a:gd name="T33" fmla="*/ 156 h 505"/>
              <a:gd name="T34" fmla="*/ 690 w 697"/>
              <a:gd name="T35" fmla="*/ 145 h 505"/>
              <a:gd name="T36" fmla="*/ 586 w 697"/>
              <a:gd name="T37" fmla="*/ 145 h 505"/>
              <a:gd name="T38" fmla="*/ 538 w 697"/>
              <a:gd name="T39" fmla="*/ 5 h 505"/>
              <a:gd name="T40" fmla="*/ 528 w 697"/>
              <a:gd name="T41" fmla="*/ 0 h 505"/>
              <a:gd name="T42" fmla="*/ 161 w 697"/>
              <a:gd name="T43" fmla="*/ 3 h 505"/>
              <a:gd name="T44" fmla="*/ 114 w 697"/>
              <a:gd name="T45" fmla="*/ 146 h 505"/>
              <a:gd name="T46" fmla="*/ 12 w 697"/>
              <a:gd name="T47" fmla="*/ 144 h 505"/>
              <a:gd name="T48" fmla="*/ 1 w 697"/>
              <a:gd name="T49" fmla="*/ 151 h 505"/>
              <a:gd name="T50" fmla="*/ 1 w 697"/>
              <a:gd name="T51" fmla="*/ 209 h 505"/>
              <a:gd name="T52" fmla="*/ 12 w 697"/>
              <a:gd name="T53" fmla="*/ 216 h 505"/>
              <a:gd name="T54" fmla="*/ 2 w 697"/>
              <a:gd name="T55" fmla="*/ 293 h 505"/>
              <a:gd name="T56" fmla="*/ 0 w 697"/>
              <a:gd name="T57" fmla="*/ 300 h 505"/>
              <a:gd name="T58" fmla="*/ 1 w 697"/>
              <a:gd name="T59" fmla="*/ 425 h 505"/>
              <a:gd name="T60" fmla="*/ 12 w 697"/>
              <a:gd name="T61" fmla="*/ 432 h 505"/>
              <a:gd name="T62" fmla="*/ 25 w 697"/>
              <a:gd name="T63" fmla="*/ 498 h 505"/>
              <a:gd name="T64" fmla="*/ 36 w 697"/>
              <a:gd name="T65" fmla="*/ 505 h 505"/>
              <a:gd name="T66" fmla="*/ 141 w 697"/>
              <a:gd name="T67" fmla="*/ 501 h 505"/>
              <a:gd name="T68" fmla="*/ 144 w 697"/>
              <a:gd name="T69" fmla="*/ 432 h 505"/>
              <a:gd name="T70" fmla="*/ 242 w 697"/>
              <a:gd name="T71" fmla="*/ 449 h 505"/>
              <a:gd name="T72" fmla="*/ 253 w 697"/>
              <a:gd name="T73" fmla="*/ 456 h 505"/>
              <a:gd name="T74" fmla="*/ 453 w 697"/>
              <a:gd name="T75" fmla="*/ 453 h 505"/>
              <a:gd name="T76" fmla="*/ 456 w 697"/>
              <a:gd name="T77" fmla="*/ 432 h 505"/>
              <a:gd name="T78" fmla="*/ 554 w 697"/>
              <a:gd name="T79" fmla="*/ 498 h 505"/>
              <a:gd name="T80" fmla="*/ 565 w 697"/>
              <a:gd name="T81" fmla="*/ 505 h 505"/>
              <a:gd name="T82" fmla="*/ 669 w 697"/>
              <a:gd name="T83" fmla="*/ 501 h 505"/>
              <a:gd name="T84" fmla="*/ 673 w 697"/>
              <a:gd name="T85" fmla="*/ 432 h 505"/>
              <a:gd name="T86" fmla="*/ 693 w 697"/>
              <a:gd name="T87" fmla="*/ 428 h 505"/>
              <a:gd name="T88" fmla="*/ 697 w 697"/>
              <a:gd name="T89" fmla="*/ 373 h 505"/>
              <a:gd name="T90" fmla="*/ 696 w 697"/>
              <a:gd name="T91" fmla="*/ 296 h 505"/>
              <a:gd name="T92" fmla="*/ 618 w 697"/>
              <a:gd name="T93" fmla="*/ 216 h 505"/>
              <a:gd name="T94" fmla="*/ 693 w 697"/>
              <a:gd name="T95" fmla="*/ 213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97" h="505">
                <a:moveTo>
                  <a:pt x="673" y="312"/>
                </a:moveTo>
                <a:lnTo>
                  <a:pt x="673" y="360"/>
                </a:lnTo>
                <a:lnTo>
                  <a:pt x="577" y="360"/>
                </a:lnTo>
                <a:lnTo>
                  <a:pt x="577" y="312"/>
                </a:lnTo>
                <a:lnTo>
                  <a:pt x="673" y="312"/>
                </a:lnTo>
                <a:close/>
                <a:moveTo>
                  <a:pt x="649" y="480"/>
                </a:moveTo>
                <a:lnTo>
                  <a:pt x="577" y="480"/>
                </a:lnTo>
                <a:lnTo>
                  <a:pt x="577" y="432"/>
                </a:lnTo>
                <a:lnTo>
                  <a:pt x="649" y="432"/>
                </a:lnTo>
                <a:lnTo>
                  <a:pt x="649" y="480"/>
                </a:lnTo>
                <a:close/>
                <a:moveTo>
                  <a:pt x="125" y="192"/>
                </a:moveTo>
                <a:lnTo>
                  <a:pt x="177" y="24"/>
                </a:lnTo>
                <a:lnTo>
                  <a:pt x="520" y="24"/>
                </a:lnTo>
                <a:lnTo>
                  <a:pt x="572" y="192"/>
                </a:lnTo>
                <a:lnTo>
                  <a:pt x="125" y="192"/>
                </a:lnTo>
                <a:close/>
                <a:moveTo>
                  <a:pt x="336" y="300"/>
                </a:moveTo>
                <a:lnTo>
                  <a:pt x="336" y="276"/>
                </a:lnTo>
                <a:lnTo>
                  <a:pt x="337" y="272"/>
                </a:lnTo>
                <a:lnTo>
                  <a:pt x="340" y="268"/>
                </a:lnTo>
                <a:lnTo>
                  <a:pt x="344" y="265"/>
                </a:lnTo>
                <a:lnTo>
                  <a:pt x="348" y="264"/>
                </a:lnTo>
                <a:lnTo>
                  <a:pt x="353" y="265"/>
                </a:lnTo>
                <a:lnTo>
                  <a:pt x="356" y="268"/>
                </a:lnTo>
                <a:lnTo>
                  <a:pt x="360" y="272"/>
                </a:lnTo>
                <a:lnTo>
                  <a:pt x="361" y="276"/>
                </a:lnTo>
                <a:lnTo>
                  <a:pt x="361" y="300"/>
                </a:lnTo>
                <a:lnTo>
                  <a:pt x="360" y="304"/>
                </a:lnTo>
                <a:lnTo>
                  <a:pt x="356" y="309"/>
                </a:lnTo>
                <a:lnTo>
                  <a:pt x="353" y="312"/>
                </a:lnTo>
                <a:lnTo>
                  <a:pt x="348" y="312"/>
                </a:lnTo>
                <a:lnTo>
                  <a:pt x="344" y="312"/>
                </a:lnTo>
                <a:lnTo>
                  <a:pt x="340" y="309"/>
                </a:lnTo>
                <a:lnTo>
                  <a:pt x="337" y="304"/>
                </a:lnTo>
                <a:lnTo>
                  <a:pt x="336" y="300"/>
                </a:lnTo>
                <a:close/>
                <a:moveTo>
                  <a:pt x="433" y="432"/>
                </a:moveTo>
                <a:lnTo>
                  <a:pt x="264" y="432"/>
                </a:lnTo>
                <a:lnTo>
                  <a:pt x="264" y="360"/>
                </a:lnTo>
                <a:lnTo>
                  <a:pt x="433" y="360"/>
                </a:lnTo>
                <a:lnTo>
                  <a:pt x="433" y="432"/>
                </a:lnTo>
                <a:close/>
                <a:moveTo>
                  <a:pt x="121" y="360"/>
                </a:moveTo>
                <a:lnTo>
                  <a:pt x="24" y="360"/>
                </a:lnTo>
                <a:lnTo>
                  <a:pt x="24" y="312"/>
                </a:lnTo>
                <a:lnTo>
                  <a:pt x="121" y="312"/>
                </a:lnTo>
                <a:lnTo>
                  <a:pt x="121" y="360"/>
                </a:lnTo>
                <a:close/>
                <a:moveTo>
                  <a:pt x="121" y="480"/>
                </a:moveTo>
                <a:lnTo>
                  <a:pt x="49" y="480"/>
                </a:lnTo>
                <a:lnTo>
                  <a:pt x="49" y="432"/>
                </a:lnTo>
                <a:lnTo>
                  <a:pt x="121" y="432"/>
                </a:lnTo>
                <a:lnTo>
                  <a:pt x="121" y="480"/>
                </a:lnTo>
                <a:close/>
                <a:moveTo>
                  <a:pt x="697" y="204"/>
                </a:moveTo>
                <a:lnTo>
                  <a:pt x="697" y="156"/>
                </a:lnTo>
                <a:lnTo>
                  <a:pt x="696" y="151"/>
                </a:lnTo>
                <a:lnTo>
                  <a:pt x="693" y="148"/>
                </a:lnTo>
                <a:lnTo>
                  <a:pt x="690" y="145"/>
                </a:lnTo>
                <a:lnTo>
                  <a:pt x="685" y="144"/>
                </a:lnTo>
                <a:lnTo>
                  <a:pt x="588" y="144"/>
                </a:lnTo>
                <a:lnTo>
                  <a:pt x="586" y="145"/>
                </a:lnTo>
                <a:lnTo>
                  <a:pt x="583" y="146"/>
                </a:lnTo>
                <a:lnTo>
                  <a:pt x="540" y="8"/>
                </a:lnTo>
                <a:lnTo>
                  <a:pt x="538" y="5"/>
                </a:lnTo>
                <a:lnTo>
                  <a:pt x="535" y="3"/>
                </a:lnTo>
                <a:lnTo>
                  <a:pt x="532" y="1"/>
                </a:lnTo>
                <a:lnTo>
                  <a:pt x="528" y="0"/>
                </a:lnTo>
                <a:lnTo>
                  <a:pt x="169" y="0"/>
                </a:lnTo>
                <a:lnTo>
                  <a:pt x="164" y="1"/>
                </a:lnTo>
                <a:lnTo>
                  <a:pt x="161" y="3"/>
                </a:lnTo>
                <a:lnTo>
                  <a:pt x="158" y="5"/>
                </a:lnTo>
                <a:lnTo>
                  <a:pt x="157" y="8"/>
                </a:lnTo>
                <a:lnTo>
                  <a:pt x="114" y="146"/>
                </a:lnTo>
                <a:lnTo>
                  <a:pt x="112" y="145"/>
                </a:lnTo>
                <a:lnTo>
                  <a:pt x="109" y="144"/>
                </a:lnTo>
                <a:lnTo>
                  <a:pt x="12" y="144"/>
                </a:lnTo>
                <a:lnTo>
                  <a:pt x="8" y="145"/>
                </a:lnTo>
                <a:lnTo>
                  <a:pt x="4" y="148"/>
                </a:lnTo>
                <a:lnTo>
                  <a:pt x="1" y="151"/>
                </a:lnTo>
                <a:lnTo>
                  <a:pt x="0" y="156"/>
                </a:lnTo>
                <a:lnTo>
                  <a:pt x="0" y="204"/>
                </a:lnTo>
                <a:lnTo>
                  <a:pt x="1" y="209"/>
                </a:lnTo>
                <a:lnTo>
                  <a:pt x="4" y="213"/>
                </a:lnTo>
                <a:lnTo>
                  <a:pt x="8" y="215"/>
                </a:lnTo>
                <a:lnTo>
                  <a:pt x="12" y="216"/>
                </a:lnTo>
                <a:lnTo>
                  <a:pt x="79" y="216"/>
                </a:lnTo>
                <a:lnTo>
                  <a:pt x="4" y="291"/>
                </a:lnTo>
                <a:lnTo>
                  <a:pt x="2" y="293"/>
                </a:lnTo>
                <a:lnTo>
                  <a:pt x="1" y="296"/>
                </a:lnTo>
                <a:lnTo>
                  <a:pt x="1" y="298"/>
                </a:lnTo>
                <a:lnTo>
                  <a:pt x="0" y="300"/>
                </a:lnTo>
                <a:lnTo>
                  <a:pt x="0" y="373"/>
                </a:lnTo>
                <a:lnTo>
                  <a:pt x="0" y="420"/>
                </a:lnTo>
                <a:lnTo>
                  <a:pt x="1" y="425"/>
                </a:lnTo>
                <a:lnTo>
                  <a:pt x="4" y="428"/>
                </a:lnTo>
                <a:lnTo>
                  <a:pt x="8" y="431"/>
                </a:lnTo>
                <a:lnTo>
                  <a:pt x="12" y="432"/>
                </a:lnTo>
                <a:lnTo>
                  <a:pt x="24" y="432"/>
                </a:lnTo>
                <a:lnTo>
                  <a:pt x="24" y="492"/>
                </a:lnTo>
                <a:lnTo>
                  <a:pt x="25" y="498"/>
                </a:lnTo>
                <a:lnTo>
                  <a:pt x="27" y="501"/>
                </a:lnTo>
                <a:lnTo>
                  <a:pt x="31" y="504"/>
                </a:lnTo>
                <a:lnTo>
                  <a:pt x="36" y="505"/>
                </a:lnTo>
                <a:lnTo>
                  <a:pt x="132" y="505"/>
                </a:lnTo>
                <a:lnTo>
                  <a:pt x="137" y="504"/>
                </a:lnTo>
                <a:lnTo>
                  <a:pt x="141" y="501"/>
                </a:lnTo>
                <a:lnTo>
                  <a:pt x="143" y="498"/>
                </a:lnTo>
                <a:lnTo>
                  <a:pt x="144" y="492"/>
                </a:lnTo>
                <a:lnTo>
                  <a:pt x="144" y="432"/>
                </a:lnTo>
                <a:lnTo>
                  <a:pt x="241" y="432"/>
                </a:lnTo>
                <a:lnTo>
                  <a:pt x="241" y="444"/>
                </a:lnTo>
                <a:lnTo>
                  <a:pt x="242" y="449"/>
                </a:lnTo>
                <a:lnTo>
                  <a:pt x="244" y="453"/>
                </a:lnTo>
                <a:lnTo>
                  <a:pt x="248" y="455"/>
                </a:lnTo>
                <a:lnTo>
                  <a:pt x="253" y="456"/>
                </a:lnTo>
                <a:lnTo>
                  <a:pt x="445" y="456"/>
                </a:lnTo>
                <a:lnTo>
                  <a:pt x="449" y="455"/>
                </a:lnTo>
                <a:lnTo>
                  <a:pt x="453" y="453"/>
                </a:lnTo>
                <a:lnTo>
                  <a:pt x="456" y="449"/>
                </a:lnTo>
                <a:lnTo>
                  <a:pt x="456" y="444"/>
                </a:lnTo>
                <a:lnTo>
                  <a:pt x="456" y="432"/>
                </a:lnTo>
                <a:lnTo>
                  <a:pt x="553" y="432"/>
                </a:lnTo>
                <a:lnTo>
                  <a:pt x="553" y="492"/>
                </a:lnTo>
                <a:lnTo>
                  <a:pt x="554" y="498"/>
                </a:lnTo>
                <a:lnTo>
                  <a:pt x="556" y="501"/>
                </a:lnTo>
                <a:lnTo>
                  <a:pt x="560" y="504"/>
                </a:lnTo>
                <a:lnTo>
                  <a:pt x="565" y="505"/>
                </a:lnTo>
                <a:lnTo>
                  <a:pt x="660" y="505"/>
                </a:lnTo>
                <a:lnTo>
                  <a:pt x="665" y="504"/>
                </a:lnTo>
                <a:lnTo>
                  <a:pt x="669" y="501"/>
                </a:lnTo>
                <a:lnTo>
                  <a:pt x="671" y="498"/>
                </a:lnTo>
                <a:lnTo>
                  <a:pt x="673" y="492"/>
                </a:lnTo>
                <a:lnTo>
                  <a:pt x="673" y="432"/>
                </a:lnTo>
                <a:lnTo>
                  <a:pt x="685" y="432"/>
                </a:lnTo>
                <a:lnTo>
                  <a:pt x="690" y="431"/>
                </a:lnTo>
                <a:lnTo>
                  <a:pt x="693" y="428"/>
                </a:lnTo>
                <a:lnTo>
                  <a:pt x="696" y="425"/>
                </a:lnTo>
                <a:lnTo>
                  <a:pt x="697" y="420"/>
                </a:lnTo>
                <a:lnTo>
                  <a:pt x="697" y="373"/>
                </a:lnTo>
                <a:lnTo>
                  <a:pt x="697" y="300"/>
                </a:lnTo>
                <a:lnTo>
                  <a:pt x="697" y="298"/>
                </a:lnTo>
                <a:lnTo>
                  <a:pt x="696" y="296"/>
                </a:lnTo>
                <a:lnTo>
                  <a:pt x="695" y="293"/>
                </a:lnTo>
                <a:lnTo>
                  <a:pt x="693" y="291"/>
                </a:lnTo>
                <a:lnTo>
                  <a:pt x="618" y="216"/>
                </a:lnTo>
                <a:lnTo>
                  <a:pt x="685" y="216"/>
                </a:lnTo>
                <a:lnTo>
                  <a:pt x="690" y="215"/>
                </a:lnTo>
                <a:lnTo>
                  <a:pt x="693" y="213"/>
                </a:lnTo>
                <a:lnTo>
                  <a:pt x="696" y="209"/>
                </a:lnTo>
                <a:lnTo>
                  <a:pt x="697" y="2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oup 47"/>
          <p:cNvGrpSpPr/>
          <p:nvPr/>
        </p:nvGrpSpPr>
        <p:grpSpPr>
          <a:xfrm>
            <a:off x="4056684" y="3554604"/>
            <a:ext cx="285750" cy="153988"/>
            <a:chOff x="4322763" y="5497513"/>
            <a:chExt cx="285750" cy="153988"/>
          </a:xfrm>
          <a:solidFill>
            <a:schemeClr val="bg1"/>
          </a:solidFill>
        </p:grpSpPr>
        <p:sp>
          <p:nvSpPr>
            <p:cNvPr id="49" name="Freeform 2815"/>
            <p:cNvSpPr>
              <a:spLocks noEditPoints="1"/>
            </p:cNvSpPr>
            <p:nvPr/>
          </p:nvSpPr>
          <p:spPr bwMode="auto">
            <a:xfrm>
              <a:off x="4322763" y="5497513"/>
              <a:ext cx="285750" cy="125413"/>
            </a:xfrm>
            <a:custGeom>
              <a:avLst/>
              <a:gdLst>
                <a:gd name="T0" fmla="*/ 263 w 720"/>
                <a:gd name="T1" fmla="*/ 138 h 312"/>
                <a:gd name="T2" fmla="*/ 256 w 720"/>
                <a:gd name="T3" fmla="*/ 144 h 312"/>
                <a:gd name="T4" fmla="*/ 247 w 720"/>
                <a:gd name="T5" fmla="*/ 143 h 312"/>
                <a:gd name="T6" fmla="*/ 241 w 720"/>
                <a:gd name="T7" fmla="*/ 132 h 312"/>
                <a:gd name="T8" fmla="*/ 279 w 720"/>
                <a:gd name="T9" fmla="*/ 52 h 312"/>
                <a:gd name="T10" fmla="*/ 288 w 720"/>
                <a:gd name="T11" fmla="*/ 48 h 312"/>
                <a:gd name="T12" fmla="*/ 333 w 720"/>
                <a:gd name="T13" fmla="*/ 51 h 312"/>
                <a:gd name="T14" fmla="*/ 335 w 720"/>
                <a:gd name="T15" fmla="*/ 65 h 312"/>
                <a:gd name="T16" fmla="*/ 324 w 720"/>
                <a:gd name="T17" fmla="*/ 72 h 312"/>
                <a:gd name="T18" fmla="*/ 697 w 720"/>
                <a:gd name="T19" fmla="*/ 132 h 312"/>
                <a:gd name="T20" fmla="*/ 690 w 720"/>
                <a:gd name="T21" fmla="*/ 121 h 312"/>
                <a:gd name="T22" fmla="*/ 673 w 720"/>
                <a:gd name="T23" fmla="*/ 83 h 312"/>
                <a:gd name="T24" fmla="*/ 719 w 720"/>
                <a:gd name="T25" fmla="*/ 66 h 312"/>
                <a:gd name="T26" fmla="*/ 718 w 720"/>
                <a:gd name="T27" fmla="*/ 52 h 312"/>
                <a:gd name="T28" fmla="*/ 710 w 720"/>
                <a:gd name="T29" fmla="*/ 48 h 312"/>
                <a:gd name="T30" fmla="*/ 622 w 720"/>
                <a:gd name="T31" fmla="*/ 73 h 312"/>
                <a:gd name="T32" fmla="*/ 613 w 720"/>
                <a:gd name="T33" fmla="*/ 83 h 312"/>
                <a:gd name="T34" fmla="*/ 618 w 720"/>
                <a:gd name="T35" fmla="*/ 94 h 312"/>
                <a:gd name="T36" fmla="*/ 626 w 720"/>
                <a:gd name="T37" fmla="*/ 96 h 312"/>
                <a:gd name="T38" fmla="*/ 649 w 720"/>
                <a:gd name="T39" fmla="*/ 120 h 312"/>
                <a:gd name="T40" fmla="*/ 399 w 720"/>
                <a:gd name="T41" fmla="*/ 1 h 312"/>
                <a:gd name="T42" fmla="*/ 249 w 720"/>
                <a:gd name="T43" fmla="*/ 1 h 312"/>
                <a:gd name="T44" fmla="*/ 242 w 720"/>
                <a:gd name="T45" fmla="*/ 6 h 312"/>
                <a:gd name="T46" fmla="*/ 55 w 720"/>
                <a:gd name="T47" fmla="*/ 120 h 312"/>
                <a:gd name="T48" fmla="*/ 37 w 720"/>
                <a:gd name="T49" fmla="*/ 125 h 312"/>
                <a:gd name="T50" fmla="*/ 22 w 720"/>
                <a:gd name="T51" fmla="*/ 135 h 312"/>
                <a:gd name="T52" fmla="*/ 11 w 720"/>
                <a:gd name="T53" fmla="*/ 147 h 312"/>
                <a:gd name="T54" fmla="*/ 3 w 720"/>
                <a:gd name="T55" fmla="*/ 163 h 312"/>
                <a:gd name="T56" fmla="*/ 0 w 720"/>
                <a:gd name="T57" fmla="*/ 180 h 312"/>
                <a:gd name="T58" fmla="*/ 4 w 720"/>
                <a:gd name="T59" fmla="*/ 308 h 312"/>
                <a:gd name="T60" fmla="*/ 30 w 720"/>
                <a:gd name="T61" fmla="*/ 312 h 312"/>
                <a:gd name="T62" fmla="*/ 30 w 720"/>
                <a:gd name="T63" fmla="*/ 296 h 312"/>
                <a:gd name="T64" fmla="*/ 38 w 720"/>
                <a:gd name="T65" fmla="*/ 267 h 312"/>
                <a:gd name="T66" fmla="*/ 54 w 720"/>
                <a:gd name="T67" fmla="*/ 241 h 312"/>
                <a:gd name="T68" fmla="*/ 75 w 720"/>
                <a:gd name="T69" fmla="*/ 222 h 312"/>
                <a:gd name="T70" fmla="*/ 101 w 720"/>
                <a:gd name="T71" fmla="*/ 209 h 312"/>
                <a:gd name="T72" fmla="*/ 132 w 720"/>
                <a:gd name="T73" fmla="*/ 204 h 312"/>
                <a:gd name="T74" fmla="*/ 162 w 720"/>
                <a:gd name="T75" fmla="*/ 209 h 312"/>
                <a:gd name="T76" fmla="*/ 189 w 720"/>
                <a:gd name="T77" fmla="*/ 222 h 312"/>
                <a:gd name="T78" fmla="*/ 211 w 720"/>
                <a:gd name="T79" fmla="*/ 241 h 312"/>
                <a:gd name="T80" fmla="*/ 226 w 720"/>
                <a:gd name="T81" fmla="*/ 267 h 312"/>
                <a:gd name="T82" fmla="*/ 234 w 720"/>
                <a:gd name="T83" fmla="*/ 296 h 312"/>
                <a:gd name="T84" fmla="*/ 234 w 720"/>
                <a:gd name="T85" fmla="*/ 312 h 312"/>
                <a:gd name="T86" fmla="*/ 390 w 720"/>
                <a:gd name="T87" fmla="*/ 306 h 312"/>
                <a:gd name="T88" fmla="*/ 395 w 720"/>
                <a:gd name="T89" fmla="*/ 276 h 312"/>
                <a:gd name="T90" fmla="*/ 408 w 720"/>
                <a:gd name="T91" fmla="*/ 249 h 312"/>
                <a:gd name="T92" fmla="*/ 428 w 720"/>
                <a:gd name="T93" fmla="*/ 228 h 312"/>
                <a:gd name="T94" fmla="*/ 453 w 720"/>
                <a:gd name="T95" fmla="*/ 212 h 312"/>
                <a:gd name="T96" fmla="*/ 483 w 720"/>
                <a:gd name="T97" fmla="*/ 205 h 312"/>
                <a:gd name="T98" fmla="*/ 513 w 720"/>
                <a:gd name="T99" fmla="*/ 206 h 312"/>
                <a:gd name="T100" fmla="*/ 541 w 720"/>
                <a:gd name="T101" fmla="*/ 217 h 312"/>
                <a:gd name="T102" fmla="*/ 565 w 720"/>
                <a:gd name="T103" fmla="*/ 234 h 312"/>
                <a:gd name="T104" fmla="*/ 582 w 720"/>
                <a:gd name="T105" fmla="*/ 258 h 312"/>
                <a:gd name="T106" fmla="*/ 592 w 720"/>
                <a:gd name="T107" fmla="*/ 286 h 312"/>
                <a:gd name="T108" fmla="*/ 594 w 720"/>
                <a:gd name="T109" fmla="*/ 309 h 312"/>
                <a:gd name="T110" fmla="*/ 709 w 720"/>
                <a:gd name="T111" fmla="*/ 312 h 312"/>
                <a:gd name="T112" fmla="*/ 720 w 720"/>
                <a:gd name="T113" fmla="*/ 305 h 312"/>
                <a:gd name="T114" fmla="*/ 717 w 720"/>
                <a:gd name="T115" fmla="*/ 29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0" h="312">
                  <a:moveTo>
                    <a:pt x="324" y="72"/>
                  </a:moveTo>
                  <a:lnTo>
                    <a:pt x="296" y="72"/>
                  </a:lnTo>
                  <a:lnTo>
                    <a:pt x="263" y="138"/>
                  </a:lnTo>
                  <a:lnTo>
                    <a:pt x="261" y="141"/>
                  </a:lnTo>
                  <a:lnTo>
                    <a:pt x="259" y="143"/>
                  </a:lnTo>
                  <a:lnTo>
                    <a:pt x="256" y="144"/>
                  </a:lnTo>
                  <a:lnTo>
                    <a:pt x="252" y="144"/>
                  </a:lnTo>
                  <a:lnTo>
                    <a:pt x="250" y="144"/>
                  </a:lnTo>
                  <a:lnTo>
                    <a:pt x="247" y="143"/>
                  </a:lnTo>
                  <a:lnTo>
                    <a:pt x="244" y="140"/>
                  </a:lnTo>
                  <a:lnTo>
                    <a:pt x="241" y="137"/>
                  </a:lnTo>
                  <a:lnTo>
                    <a:pt x="241" y="132"/>
                  </a:lnTo>
                  <a:lnTo>
                    <a:pt x="242" y="128"/>
                  </a:lnTo>
                  <a:lnTo>
                    <a:pt x="277" y="55"/>
                  </a:lnTo>
                  <a:lnTo>
                    <a:pt x="279" y="52"/>
                  </a:lnTo>
                  <a:lnTo>
                    <a:pt x="282" y="50"/>
                  </a:lnTo>
                  <a:lnTo>
                    <a:pt x="285" y="48"/>
                  </a:lnTo>
                  <a:lnTo>
                    <a:pt x="288" y="48"/>
                  </a:lnTo>
                  <a:lnTo>
                    <a:pt x="324" y="48"/>
                  </a:lnTo>
                  <a:lnTo>
                    <a:pt x="329" y="49"/>
                  </a:lnTo>
                  <a:lnTo>
                    <a:pt x="333" y="51"/>
                  </a:lnTo>
                  <a:lnTo>
                    <a:pt x="335" y="55"/>
                  </a:lnTo>
                  <a:lnTo>
                    <a:pt x="336" y="60"/>
                  </a:lnTo>
                  <a:lnTo>
                    <a:pt x="335" y="65"/>
                  </a:lnTo>
                  <a:lnTo>
                    <a:pt x="333" y="69"/>
                  </a:lnTo>
                  <a:lnTo>
                    <a:pt x="329" y="71"/>
                  </a:lnTo>
                  <a:lnTo>
                    <a:pt x="324" y="72"/>
                  </a:lnTo>
                  <a:close/>
                  <a:moveTo>
                    <a:pt x="709" y="288"/>
                  </a:moveTo>
                  <a:lnTo>
                    <a:pt x="697" y="288"/>
                  </a:lnTo>
                  <a:lnTo>
                    <a:pt x="697" y="132"/>
                  </a:lnTo>
                  <a:lnTo>
                    <a:pt x="696" y="128"/>
                  </a:lnTo>
                  <a:lnTo>
                    <a:pt x="693" y="124"/>
                  </a:lnTo>
                  <a:lnTo>
                    <a:pt x="690" y="121"/>
                  </a:lnTo>
                  <a:lnTo>
                    <a:pt x="685" y="120"/>
                  </a:lnTo>
                  <a:lnTo>
                    <a:pt x="673" y="120"/>
                  </a:lnTo>
                  <a:lnTo>
                    <a:pt x="673" y="83"/>
                  </a:lnTo>
                  <a:lnTo>
                    <a:pt x="712" y="72"/>
                  </a:lnTo>
                  <a:lnTo>
                    <a:pt x="716" y="70"/>
                  </a:lnTo>
                  <a:lnTo>
                    <a:pt x="719" y="66"/>
                  </a:lnTo>
                  <a:lnTo>
                    <a:pt x="720" y="62"/>
                  </a:lnTo>
                  <a:lnTo>
                    <a:pt x="720" y="57"/>
                  </a:lnTo>
                  <a:lnTo>
                    <a:pt x="718" y="52"/>
                  </a:lnTo>
                  <a:lnTo>
                    <a:pt x="714" y="49"/>
                  </a:lnTo>
                  <a:lnTo>
                    <a:pt x="712" y="49"/>
                  </a:lnTo>
                  <a:lnTo>
                    <a:pt x="710" y="48"/>
                  </a:lnTo>
                  <a:lnTo>
                    <a:pt x="708" y="48"/>
                  </a:lnTo>
                  <a:lnTo>
                    <a:pt x="705" y="49"/>
                  </a:lnTo>
                  <a:lnTo>
                    <a:pt x="622" y="73"/>
                  </a:lnTo>
                  <a:lnTo>
                    <a:pt x="617" y="75"/>
                  </a:lnTo>
                  <a:lnTo>
                    <a:pt x="615" y="79"/>
                  </a:lnTo>
                  <a:lnTo>
                    <a:pt x="613" y="83"/>
                  </a:lnTo>
                  <a:lnTo>
                    <a:pt x="614" y="88"/>
                  </a:lnTo>
                  <a:lnTo>
                    <a:pt x="615" y="91"/>
                  </a:lnTo>
                  <a:lnTo>
                    <a:pt x="618" y="94"/>
                  </a:lnTo>
                  <a:lnTo>
                    <a:pt x="621" y="95"/>
                  </a:lnTo>
                  <a:lnTo>
                    <a:pt x="625" y="96"/>
                  </a:lnTo>
                  <a:lnTo>
                    <a:pt x="626" y="96"/>
                  </a:lnTo>
                  <a:lnTo>
                    <a:pt x="628" y="96"/>
                  </a:lnTo>
                  <a:lnTo>
                    <a:pt x="649" y="90"/>
                  </a:lnTo>
                  <a:lnTo>
                    <a:pt x="649" y="120"/>
                  </a:lnTo>
                  <a:lnTo>
                    <a:pt x="616" y="120"/>
                  </a:lnTo>
                  <a:lnTo>
                    <a:pt x="402" y="3"/>
                  </a:lnTo>
                  <a:lnTo>
                    <a:pt x="399" y="1"/>
                  </a:lnTo>
                  <a:lnTo>
                    <a:pt x="396" y="0"/>
                  </a:lnTo>
                  <a:lnTo>
                    <a:pt x="253" y="0"/>
                  </a:lnTo>
                  <a:lnTo>
                    <a:pt x="249" y="1"/>
                  </a:lnTo>
                  <a:lnTo>
                    <a:pt x="247" y="2"/>
                  </a:lnTo>
                  <a:lnTo>
                    <a:pt x="244" y="4"/>
                  </a:lnTo>
                  <a:lnTo>
                    <a:pt x="242" y="6"/>
                  </a:lnTo>
                  <a:lnTo>
                    <a:pt x="174" y="120"/>
                  </a:lnTo>
                  <a:lnTo>
                    <a:pt x="60" y="120"/>
                  </a:lnTo>
                  <a:lnTo>
                    <a:pt x="55" y="120"/>
                  </a:lnTo>
                  <a:lnTo>
                    <a:pt x="49" y="121"/>
                  </a:lnTo>
                  <a:lnTo>
                    <a:pt x="43" y="122"/>
                  </a:lnTo>
                  <a:lnTo>
                    <a:pt x="37" y="125"/>
                  </a:lnTo>
                  <a:lnTo>
                    <a:pt x="32" y="128"/>
                  </a:lnTo>
                  <a:lnTo>
                    <a:pt x="27" y="131"/>
                  </a:lnTo>
                  <a:lnTo>
                    <a:pt x="22" y="135"/>
                  </a:lnTo>
                  <a:lnTo>
                    <a:pt x="18" y="139"/>
                  </a:lnTo>
                  <a:lnTo>
                    <a:pt x="14" y="143"/>
                  </a:lnTo>
                  <a:lnTo>
                    <a:pt x="11" y="147"/>
                  </a:lnTo>
                  <a:lnTo>
                    <a:pt x="8" y="152"/>
                  </a:lnTo>
                  <a:lnTo>
                    <a:pt x="5" y="157"/>
                  </a:lnTo>
                  <a:lnTo>
                    <a:pt x="3" y="163"/>
                  </a:lnTo>
                  <a:lnTo>
                    <a:pt x="2" y="168"/>
                  </a:lnTo>
                  <a:lnTo>
                    <a:pt x="1" y="174"/>
                  </a:lnTo>
                  <a:lnTo>
                    <a:pt x="0" y="180"/>
                  </a:lnTo>
                  <a:lnTo>
                    <a:pt x="0" y="300"/>
                  </a:lnTo>
                  <a:lnTo>
                    <a:pt x="1" y="305"/>
                  </a:lnTo>
                  <a:lnTo>
                    <a:pt x="4" y="308"/>
                  </a:lnTo>
                  <a:lnTo>
                    <a:pt x="8" y="311"/>
                  </a:lnTo>
                  <a:lnTo>
                    <a:pt x="12" y="312"/>
                  </a:lnTo>
                  <a:lnTo>
                    <a:pt x="30" y="312"/>
                  </a:lnTo>
                  <a:lnTo>
                    <a:pt x="30" y="309"/>
                  </a:lnTo>
                  <a:lnTo>
                    <a:pt x="30" y="306"/>
                  </a:lnTo>
                  <a:lnTo>
                    <a:pt x="30" y="296"/>
                  </a:lnTo>
                  <a:lnTo>
                    <a:pt x="32" y="286"/>
                  </a:lnTo>
                  <a:lnTo>
                    <a:pt x="34" y="276"/>
                  </a:lnTo>
                  <a:lnTo>
                    <a:pt x="38" y="267"/>
                  </a:lnTo>
                  <a:lnTo>
                    <a:pt x="43" y="258"/>
                  </a:lnTo>
                  <a:lnTo>
                    <a:pt x="48" y="249"/>
                  </a:lnTo>
                  <a:lnTo>
                    <a:pt x="54" y="241"/>
                  </a:lnTo>
                  <a:lnTo>
                    <a:pt x="60" y="234"/>
                  </a:lnTo>
                  <a:lnTo>
                    <a:pt x="67" y="228"/>
                  </a:lnTo>
                  <a:lnTo>
                    <a:pt x="75" y="222"/>
                  </a:lnTo>
                  <a:lnTo>
                    <a:pt x="83" y="217"/>
                  </a:lnTo>
                  <a:lnTo>
                    <a:pt x="92" y="212"/>
                  </a:lnTo>
                  <a:lnTo>
                    <a:pt x="101" y="209"/>
                  </a:lnTo>
                  <a:lnTo>
                    <a:pt x="112" y="206"/>
                  </a:lnTo>
                  <a:lnTo>
                    <a:pt x="122" y="205"/>
                  </a:lnTo>
                  <a:lnTo>
                    <a:pt x="132" y="204"/>
                  </a:lnTo>
                  <a:lnTo>
                    <a:pt x="143" y="205"/>
                  </a:lnTo>
                  <a:lnTo>
                    <a:pt x="153" y="206"/>
                  </a:lnTo>
                  <a:lnTo>
                    <a:pt x="162" y="209"/>
                  </a:lnTo>
                  <a:lnTo>
                    <a:pt x="172" y="212"/>
                  </a:lnTo>
                  <a:lnTo>
                    <a:pt x="181" y="217"/>
                  </a:lnTo>
                  <a:lnTo>
                    <a:pt x="189" y="222"/>
                  </a:lnTo>
                  <a:lnTo>
                    <a:pt x="197" y="228"/>
                  </a:lnTo>
                  <a:lnTo>
                    <a:pt x="204" y="234"/>
                  </a:lnTo>
                  <a:lnTo>
                    <a:pt x="211" y="241"/>
                  </a:lnTo>
                  <a:lnTo>
                    <a:pt x="217" y="249"/>
                  </a:lnTo>
                  <a:lnTo>
                    <a:pt x="222" y="258"/>
                  </a:lnTo>
                  <a:lnTo>
                    <a:pt x="226" y="267"/>
                  </a:lnTo>
                  <a:lnTo>
                    <a:pt x="229" y="276"/>
                  </a:lnTo>
                  <a:lnTo>
                    <a:pt x="233" y="286"/>
                  </a:lnTo>
                  <a:lnTo>
                    <a:pt x="234" y="296"/>
                  </a:lnTo>
                  <a:lnTo>
                    <a:pt x="235" y="306"/>
                  </a:lnTo>
                  <a:lnTo>
                    <a:pt x="235" y="309"/>
                  </a:lnTo>
                  <a:lnTo>
                    <a:pt x="234" y="312"/>
                  </a:lnTo>
                  <a:lnTo>
                    <a:pt x="391" y="312"/>
                  </a:lnTo>
                  <a:lnTo>
                    <a:pt x="390" y="309"/>
                  </a:lnTo>
                  <a:lnTo>
                    <a:pt x="390" y="306"/>
                  </a:lnTo>
                  <a:lnTo>
                    <a:pt x="391" y="296"/>
                  </a:lnTo>
                  <a:lnTo>
                    <a:pt x="392" y="286"/>
                  </a:lnTo>
                  <a:lnTo>
                    <a:pt x="395" y="276"/>
                  </a:lnTo>
                  <a:lnTo>
                    <a:pt x="398" y="267"/>
                  </a:lnTo>
                  <a:lnTo>
                    <a:pt x="403" y="258"/>
                  </a:lnTo>
                  <a:lnTo>
                    <a:pt x="408" y="249"/>
                  </a:lnTo>
                  <a:lnTo>
                    <a:pt x="413" y="241"/>
                  </a:lnTo>
                  <a:lnTo>
                    <a:pt x="421" y="234"/>
                  </a:lnTo>
                  <a:lnTo>
                    <a:pt x="428" y="228"/>
                  </a:lnTo>
                  <a:lnTo>
                    <a:pt x="436" y="222"/>
                  </a:lnTo>
                  <a:lnTo>
                    <a:pt x="444" y="217"/>
                  </a:lnTo>
                  <a:lnTo>
                    <a:pt x="453" y="212"/>
                  </a:lnTo>
                  <a:lnTo>
                    <a:pt x="462" y="209"/>
                  </a:lnTo>
                  <a:lnTo>
                    <a:pt x="472" y="206"/>
                  </a:lnTo>
                  <a:lnTo>
                    <a:pt x="483" y="205"/>
                  </a:lnTo>
                  <a:lnTo>
                    <a:pt x="493" y="204"/>
                  </a:lnTo>
                  <a:lnTo>
                    <a:pt x="503" y="205"/>
                  </a:lnTo>
                  <a:lnTo>
                    <a:pt x="513" y="206"/>
                  </a:lnTo>
                  <a:lnTo>
                    <a:pt x="523" y="209"/>
                  </a:lnTo>
                  <a:lnTo>
                    <a:pt x="532" y="212"/>
                  </a:lnTo>
                  <a:lnTo>
                    <a:pt x="541" y="217"/>
                  </a:lnTo>
                  <a:lnTo>
                    <a:pt x="550" y="222"/>
                  </a:lnTo>
                  <a:lnTo>
                    <a:pt x="558" y="228"/>
                  </a:lnTo>
                  <a:lnTo>
                    <a:pt x="565" y="234"/>
                  </a:lnTo>
                  <a:lnTo>
                    <a:pt x="571" y="241"/>
                  </a:lnTo>
                  <a:lnTo>
                    <a:pt x="577" y="249"/>
                  </a:lnTo>
                  <a:lnTo>
                    <a:pt x="582" y="258"/>
                  </a:lnTo>
                  <a:lnTo>
                    <a:pt x="586" y="267"/>
                  </a:lnTo>
                  <a:lnTo>
                    <a:pt x="590" y="276"/>
                  </a:lnTo>
                  <a:lnTo>
                    <a:pt x="592" y="286"/>
                  </a:lnTo>
                  <a:lnTo>
                    <a:pt x="594" y="296"/>
                  </a:lnTo>
                  <a:lnTo>
                    <a:pt x="594" y="306"/>
                  </a:lnTo>
                  <a:lnTo>
                    <a:pt x="594" y="309"/>
                  </a:lnTo>
                  <a:lnTo>
                    <a:pt x="594" y="312"/>
                  </a:lnTo>
                  <a:lnTo>
                    <a:pt x="685" y="312"/>
                  </a:lnTo>
                  <a:lnTo>
                    <a:pt x="709" y="312"/>
                  </a:lnTo>
                  <a:lnTo>
                    <a:pt x="713" y="311"/>
                  </a:lnTo>
                  <a:lnTo>
                    <a:pt x="717" y="308"/>
                  </a:lnTo>
                  <a:lnTo>
                    <a:pt x="720" y="305"/>
                  </a:lnTo>
                  <a:lnTo>
                    <a:pt x="720" y="300"/>
                  </a:lnTo>
                  <a:lnTo>
                    <a:pt x="720" y="295"/>
                  </a:lnTo>
                  <a:lnTo>
                    <a:pt x="717" y="292"/>
                  </a:lnTo>
                  <a:lnTo>
                    <a:pt x="713" y="289"/>
                  </a:lnTo>
                  <a:lnTo>
                    <a:pt x="709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816"/>
            <p:cNvSpPr>
              <a:spLocks/>
            </p:cNvSpPr>
            <p:nvPr/>
          </p:nvSpPr>
          <p:spPr bwMode="auto">
            <a:xfrm>
              <a:off x="4487863" y="5589588"/>
              <a:ext cx="61913" cy="61913"/>
            </a:xfrm>
            <a:custGeom>
              <a:avLst/>
              <a:gdLst>
                <a:gd name="T0" fmla="*/ 71 w 157"/>
                <a:gd name="T1" fmla="*/ 0 h 157"/>
                <a:gd name="T2" fmla="*/ 55 w 157"/>
                <a:gd name="T3" fmla="*/ 3 h 157"/>
                <a:gd name="T4" fmla="*/ 41 w 157"/>
                <a:gd name="T5" fmla="*/ 9 h 157"/>
                <a:gd name="T6" fmla="*/ 29 w 157"/>
                <a:gd name="T7" fmla="*/ 18 h 157"/>
                <a:gd name="T8" fmla="*/ 19 w 157"/>
                <a:gd name="T9" fmla="*/ 29 h 157"/>
                <a:gd name="T10" fmla="*/ 10 w 157"/>
                <a:gd name="T11" fmla="*/ 42 h 157"/>
                <a:gd name="T12" fmla="*/ 4 w 157"/>
                <a:gd name="T13" fmla="*/ 55 h 157"/>
                <a:gd name="T14" fmla="*/ 0 w 157"/>
                <a:gd name="T15" fmla="*/ 70 h 157"/>
                <a:gd name="T16" fmla="*/ 0 w 157"/>
                <a:gd name="T17" fmla="*/ 87 h 157"/>
                <a:gd name="T18" fmla="*/ 4 w 157"/>
                <a:gd name="T19" fmla="*/ 102 h 157"/>
                <a:gd name="T20" fmla="*/ 10 w 157"/>
                <a:gd name="T21" fmla="*/ 115 h 157"/>
                <a:gd name="T22" fmla="*/ 19 w 157"/>
                <a:gd name="T23" fmla="*/ 128 h 157"/>
                <a:gd name="T24" fmla="*/ 29 w 157"/>
                <a:gd name="T25" fmla="*/ 138 h 157"/>
                <a:gd name="T26" fmla="*/ 41 w 157"/>
                <a:gd name="T27" fmla="*/ 146 h 157"/>
                <a:gd name="T28" fmla="*/ 55 w 157"/>
                <a:gd name="T29" fmla="*/ 153 h 157"/>
                <a:gd name="T30" fmla="*/ 71 w 157"/>
                <a:gd name="T31" fmla="*/ 156 h 157"/>
                <a:gd name="T32" fmla="*/ 87 w 157"/>
                <a:gd name="T33" fmla="*/ 156 h 157"/>
                <a:gd name="T34" fmla="*/ 102 w 157"/>
                <a:gd name="T35" fmla="*/ 153 h 157"/>
                <a:gd name="T36" fmla="*/ 115 w 157"/>
                <a:gd name="T37" fmla="*/ 146 h 157"/>
                <a:gd name="T38" fmla="*/ 128 w 157"/>
                <a:gd name="T39" fmla="*/ 138 h 157"/>
                <a:gd name="T40" fmla="*/ 139 w 157"/>
                <a:gd name="T41" fmla="*/ 128 h 157"/>
                <a:gd name="T42" fmla="*/ 147 w 157"/>
                <a:gd name="T43" fmla="*/ 115 h 157"/>
                <a:gd name="T44" fmla="*/ 153 w 157"/>
                <a:gd name="T45" fmla="*/ 102 h 157"/>
                <a:gd name="T46" fmla="*/ 156 w 157"/>
                <a:gd name="T47" fmla="*/ 87 h 157"/>
                <a:gd name="T48" fmla="*/ 156 w 157"/>
                <a:gd name="T49" fmla="*/ 70 h 157"/>
                <a:gd name="T50" fmla="*/ 153 w 157"/>
                <a:gd name="T51" fmla="*/ 55 h 157"/>
                <a:gd name="T52" fmla="*/ 147 w 157"/>
                <a:gd name="T53" fmla="*/ 42 h 157"/>
                <a:gd name="T54" fmla="*/ 139 w 157"/>
                <a:gd name="T55" fmla="*/ 29 h 157"/>
                <a:gd name="T56" fmla="*/ 128 w 157"/>
                <a:gd name="T57" fmla="*/ 18 h 157"/>
                <a:gd name="T58" fmla="*/ 115 w 157"/>
                <a:gd name="T59" fmla="*/ 9 h 157"/>
                <a:gd name="T60" fmla="*/ 102 w 157"/>
                <a:gd name="T61" fmla="*/ 3 h 157"/>
                <a:gd name="T62" fmla="*/ 87 w 157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7" h="157">
                  <a:moveTo>
                    <a:pt x="79" y="0"/>
                  </a:moveTo>
                  <a:lnTo>
                    <a:pt x="71" y="0"/>
                  </a:lnTo>
                  <a:lnTo>
                    <a:pt x="62" y="1"/>
                  </a:lnTo>
                  <a:lnTo>
                    <a:pt x="55" y="3"/>
                  </a:lnTo>
                  <a:lnTo>
                    <a:pt x="48" y="6"/>
                  </a:lnTo>
                  <a:lnTo>
                    <a:pt x="41" y="9"/>
                  </a:lnTo>
                  <a:lnTo>
                    <a:pt x="35" y="13"/>
                  </a:lnTo>
                  <a:lnTo>
                    <a:pt x="29" y="18"/>
                  </a:lnTo>
                  <a:lnTo>
                    <a:pt x="24" y="24"/>
                  </a:lnTo>
                  <a:lnTo>
                    <a:pt x="19" y="29"/>
                  </a:lnTo>
                  <a:lnTo>
                    <a:pt x="14" y="35"/>
                  </a:lnTo>
                  <a:lnTo>
                    <a:pt x="10" y="42"/>
                  </a:lnTo>
                  <a:lnTo>
                    <a:pt x="7" y="48"/>
                  </a:lnTo>
                  <a:lnTo>
                    <a:pt x="4" y="55"/>
                  </a:lnTo>
                  <a:lnTo>
                    <a:pt x="2" y="63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0" y="87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7" y="109"/>
                  </a:lnTo>
                  <a:lnTo>
                    <a:pt x="10" y="115"/>
                  </a:lnTo>
                  <a:lnTo>
                    <a:pt x="14" y="122"/>
                  </a:lnTo>
                  <a:lnTo>
                    <a:pt x="19" y="128"/>
                  </a:lnTo>
                  <a:lnTo>
                    <a:pt x="24" y="133"/>
                  </a:lnTo>
                  <a:lnTo>
                    <a:pt x="29" y="138"/>
                  </a:lnTo>
                  <a:lnTo>
                    <a:pt x="35" y="142"/>
                  </a:lnTo>
                  <a:lnTo>
                    <a:pt x="41" y="146"/>
                  </a:lnTo>
                  <a:lnTo>
                    <a:pt x="48" y="151"/>
                  </a:lnTo>
                  <a:lnTo>
                    <a:pt x="55" y="153"/>
                  </a:lnTo>
                  <a:lnTo>
                    <a:pt x="62" y="155"/>
                  </a:lnTo>
                  <a:lnTo>
                    <a:pt x="71" y="156"/>
                  </a:lnTo>
                  <a:lnTo>
                    <a:pt x="79" y="157"/>
                  </a:lnTo>
                  <a:lnTo>
                    <a:pt x="87" y="156"/>
                  </a:lnTo>
                  <a:lnTo>
                    <a:pt x="94" y="155"/>
                  </a:lnTo>
                  <a:lnTo>
                    <a:pt x="102" y="153"/>
                  </a:lnTo>
                  <a:lnTo>
                    <a:pt x="109" y="151"/>
                  </a:lnTo>
                  <a:lnTo>
                    <a:pt x="115" y="146"/>
                  </a:lnTo>
                  <a:lnTo>
                    <a:pt x="122" y="142"/>
                  </a:lnTo>
                  <a:lnTo>
                    <a:pt x="128" y="138"/>
                  </a:lnTo>
                  <a:lnTo>
                    <a:pt x="134" y="133"/>
                  </a:lnTo>
                  <a:lnTo>
                    <a:pt x="139" y="128"/>
                  </a:lnTo>
                  <a:lnTo>
                    <a:pt x="144" y="122"/>
                  </a:lnTo>
                  <a:lnTo>
                    <a:pt x="147" y="115"/>
                  </a:lnTo>
                  <a:lnTo>
                    <a:pt x="151" y="109"/>
                  </a:lnTo>
                  <a:lnTo>
                    <a:pt x="153" y="102"/>
                  </a:lnTo>
                  <a:lnTo>
                    <a:pt x="155" y="94"/>
                  </a:lnTo>
                  <a:lnTo>
                    <a:pt x="156" y="87"/>
                  </a:lnTo>
                  <a:lnTo>
                    <a:pt x="157" y="78"/>
                  </a:lnTo>
                  <a:lnTo>
                    <a:pt x="156" y="70"/>
                  </a:lnTo>
                  <a:lnTo>
                    <a:pt x="155" y="63"/>
                  </a:lnTo>
                  <a:lnTo>
                    <a:pt x="153" y="55"/>
                  </a:lnTo>
                  <a:lnTo>
                    <a:pt x="151" y="48"/>
                  </a:lnTo>
                  <a:lnTo>
                    <a:pt x="147" y="42"/>
                  </a:lnTo>
                  <a:lnTo>
                    <a:pt x="144" y="35"/>
                  </a:lnTo>
                  <a:lnTo>
                    <a:pt x="139" y="29"/>
                  </a:lnTo>
                  <a:lnTo>
                    <a:pt x="134" y="24"/>
                  </a:lnTo>
                  <a:lnTo>
                    <a:pt x="128" y="18"/>
                  </a:lnTo>
                  <a:lnTo>
                    <a:pt x="122" y="13"/>
                  </a:lnTo>
                  <a:lnTo>
                    <a:pt x="115" y="9"/>
                  </a:lnTo>
                  <a:lnTo>
                    <a:pt x="109" y="6"/>
                  </a:lnTo>
                  <a:lnTo>
                    <a:pt x="102" y="3"/>
                  </a:lnTo>
                  <a:lnTo>
                    <a:pt x="94" y="1"/>
                  </a:lnTo>
                  <a:lnTo>
                    <a:pt x="87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17"/>
            <p:cNvSpPr>
              <a:spLocks/>
            </p:cNvSpPr>
            <p:nvPr/>
          </p:nvSpPr>
          <p:spPr bwMode="auto">
            <a:xfrm>
              <a:off x="4344988" y="5589588"/>
              <a:ext cx="61913" cy="61913"/>
            </a:xfrm>
            <a:custGeom>
              <a:avLst/>
              <a:gdLst>
                <a:gd name="T0" fmla="*/ 70 w 156"/>
                <a:gd name="T1" fmla="*/ 0 h 157"/>
                <a:gd name="T2" fmla="*/ 56 w 156"/>
                <a:gd name="T3" fmla="*/ 3 h 157"/>
                <a:gd name="T4" fmla="*/ 41 w 156"/>
                <a:gd name="T5" fmla="*/ 9 h 157"/>
                <a:gd name="T6" fmla="*/ 28 w 156"/>
                <a:gd name="T7" fmla="*/ 18 h 157"/>
                <a:gd name="T8" fmla="*/ 18 w 156"/>
                <a:gd name="T9" fmla="*/ 29 h 157"/>
                <a:gd name="T10" fmla="*/ 10 w 156"/>
                <a:gd name="T11" fmla="*/ 42 h 157"/>
                <a:gd name="T12" fmla="*/ 4 w 156"/>
                <a:gd name="T13" fmla="*/ 55 h 157"/>
                <a:gd name="T14" fmla="*/ 1 w 156"/>
                <a:gd name="T15" fmla="*/ 70 h 157"/>
                <a:gd name="T16" fmla="*/ 1 w 156"/>
                <a:gd name="T17" fmla="*/ 87 h 157"/>
                <a:gd name="T18" fmla="*/ 4 w 156"/>
                <a:gd name="T19" fmla="*/ 102 h 157"/>
                <a:gd name="T20" fmla="*/ 10 w 156"/>
                <a:gd name="T21" fmla="*/ 115 h 157"/>
                <a:gd name="T22" fmla="*/ 18 w 156"/>
                <a:gd name="T23" fmla="*/ 128 h 157"/>
                <a:gd name="T24" fmla="*/ 28 w 156"/>
                <a:gd name="T25" fmla="*/ 138 h 157"/>
                <a:gd name="T26" fmla="*/ 41 w 156"/>
                <a:gd name="T27" fmla="*/ 146 h 157"/>
                <a:gd name="T28" fmla="*/ 56 w 156"/>
                <a:gd name="T29" fmla="*/ 153 h 157"/>
                <a:gd name="T30" fmla="*/ 70 w 156"/>
                <a:gd name="T31" fmla="*/ 156 h 157"/>
                <a:gd name="T32" fmla="*/ 86 w 156"/>
                <a:gd name="T33" fmla="*/ 156 h 157"/>
                <a:gd name="T34" fmla="*/ 101 w 156"/>
                <a:gd name="T35" fmla="*/ 153 h 157"/>
                <a:gd name="T36" fmla="*/ 116 w 156"/>
                <a:gd name="T37" fmla="*/ 146 h 157"/>
                <a:gd name="T38" fmla="*/ 128 w 156"/>
                <a:gd name="T39" fmla="*/ 138 h 157"/>
                <a:gd name="T40" fmla="*/ 139 w 156"/>
                <a:gd name="T41" fmla="*/ 128 h 157"/>
                <a:gd name="T42" fmla="*/ 147 w 156"/>
                <a:gd name="T43" fmla="*/ 115 h 157"/>
                <a:gd name="T44" fmla="*/ 153 w 156"/>
                <a:gd name="T45" fmla="*/ 102 h 157"/>
                <a:gd name="T46" fmla="*/ 156 w 156"/>
                <a:gd name="T47" fmla="*/ 87 h 157"/>
                <a:gd name="T48" fmla="*/ 156 w 156"/>
                <a:gd name="T49" fmla="*/ 70 h 157"/>
                <a:gd name="T50" fmla="*/ 153 w 156"/>
                <a:gd name="T51" fmla="*/ 55 h 157"/>
                <a:gd name="T52" fmla="*/ 147 w 156"/>
                <a:gd name="T53" fmla="*/ 42 h 157"/>
                <a:gd name="T54" fmla="*/ 139 w 156"/>
                <a:gd name="T55" fmla="*/ 29 h 157"/>
                <a:gd name="T56" fmla="*/ 128 w 156"/>
                <a:gd name="T57" fmla="*/ 18 h 157"/>
                <a:gd name="T58" fmla="*/ 116 w 156"/>
                <a:gd name="T59" fmla="*/ 9 h 157"/>
                <a:gd name="T60" fmla="*/ 101 w 156"/>
                <a:gd name="T61" fmla="*/ 3 h 157"/>
                <a:gd name="T62" fmla="*/ 86 w 156"/>
                <a:gd name="T6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57">
                  <a:moveTo>
                    <a:pt x="78" y="0"/>
                  </a:moveTo>
                  <a:lnTo>
                    <a:pt x="70" y="0"/>
                  </a:lnTo>
                  <a:lnTo>
                    <a:pt x="63" y="1"/>
                  </a:lnTo>
                  <a:lnTo>
                    <a:pt x="56" y="3"/>
                  </a:lnTo>
                  <a:lnTo>
                    <a:pt x="47" y="6"/>
                  </a:lnTo>
                  <a:lnTo>
                    <a:pt x="41" y="9"/>
                  </a:lnTo>
                  <a:lnTo>
                    <a:pt x="34" y="13"/>
                  </a:lnTo>
                  <a:lnTo>
                    <a:pt x="28" y="18"/>
                  </a:lnTo>
                  <a:lnTo>
                    <a:pt x="23" y="24"/>
                  </a:lnTo>
                  <a:lnTo>
                    <a:pt x="18" y="29"/>
                  </a:lnTo>
                  <a:lnTo>
                    <a:pt x="14" y="35"/>
                  </a:lnTo>
                  <a:lnTo>
                    <a:pt x="10" y="42"/>
                  </a:lnTo>
                  <a:lnTo>
                    <a:pt x="7" y="48"/>
                  </a:lnTo>
                  <a:lnTo>
                    <a:pt x="4" y="55"/>
                  </a:lnTo>
                  <a:lnTo>
                    <a:pt x="2" y="63"/>
                  </a:lnTo>
                  <a:lnTo>
                    <a:pt x="1" y="70"/>
                  </a:lnTo>
                  <a:lnTo>
                    <a:pt x="0" y="78"/>
                  </a:lnTo>
                  <a:lnTo>
                    <a:pt x="1" y="87"/>
                  </a:lnTo>
                  <a:lnTo>
                    <a:pt x="2" y="94"/>
                  </a:lnTo>
                  <a:lnTo>
                    <a:pt x="4" y="102"/>
                  </a:lnTo>
                  <a:lnTo>
                    <a:pt x="7" y="109"/>
                  </a:lnTo>
                  <a:lnTo>
                    <a:pt x="10" y="115"/>
                  </a:lnTo>
                  <a:lnTo>
                    <a:pt x="14" y="122"/>
                  </a:lnTo>
                  <a:lnTo>
                    <a:pt x="18" y="128"/>
                  </a:lnTo>
                  <a:lnTo>
                    <a:pt x="23" y="133"/>
                  </a:lnTo>
                  <a:lnTo>
                    <a:pt x="28" y="138"/>
                  </a:lnTo>
                  <a:lnTo>
                    <a:pt x="34" y="142"/>
                  </a:lnTo>
                  <a:lnTo>
                    <a:pt x="41" y="146"/>
                  </a:lnTo>
                  <a:lnTo>
                    <a:pt x="47" y="151"/>
                  </a:lnTo>
                  <a:lnTo>
                    <a:pt x="56" y="153"/>
                  </a:lnTo>
                  <a:lnTo>
                    <a:pt x="63" y="155"/>
                  </a:lnTo>
                  <a:lnTo>
                    <a:pt x="70" y="156"/>
                  </a:lnTo>
                  <a:lnTo>
                    <a:pt x="78" y="157"/>
                  </a:lnTo>
                  <a:lnTo>
                    <a:pt x="86" y="156"/>
                  </a:lnTo>
                  <a:lnTo>
                    <a:pt x="94" y="155"/>
                  </a:lnTo>
                  <a:lnTo>
                    <a:pt x="101" y="153"/>
                  </a:lnTo>
                  <a:lnTo>
                    <a:pt x="108" y="151"/>
                  </a:lnTo>
                  <a:lnTo>
                    <a:pt x="116" y="146"/>
                  </a:lnTo>
                  <a:lnTo>
                    <a:pt x="122" y="142"/>
                  </a:lnTo>
                  <a:lnTo>
                    <a:pt x="128" y="138"/>
                  </a:lnTo>
                  <a:lnTo>
                    <a:pt x="134" y="133"/>
                  </a:lnTo>
                  <a:lnTo>
                    <a:pt x="139" y="128"/>
                  </a:lnTo>
                  <a:lnTo>
                    <a:pt x="143" y="122"/>
                  </a:lnTo>
                  <a:lnTo>
                    <a:pt x="147" y="115"/>
                  </a:lnTo>
                  <a:lnTo>
                    <a:pt x="150" y="109"/>
                  </a:lnTo>
                  <a:lnTo>
                    <a:pt x="153" y="102"/>
                  </a:lnTo>
                  <a:lnTo>
                    <a:pt x="155" y="94"/>
                  </a:lnTo>
                  <a:lnTo>
                    <a:pt x="156" y="87"/>
                  </a:lnTo>
                  <a:lnTo>
                    <a:pt x="156" y="78"/>
                  </a:lnTo>
                  <a:lnTo>
                    <a:pt x="156" y="70"/>
                  </a:lnTo>
                  <a:lnTo>
                    <a:pt x="155" y="63"/>
                  </a:lnTo>
                  <a:lnTo>
                    <a:pt x="153" y="55"/>
                  </a:lnTo>
                  <a:lnTo>
                    <a:pt x="150" y="48"/>
                  </a:lnTo>
                  <a:lnTo>
                    <a:pt x="147" y="42"/>
                  </a:lnTo>
                  <a:lnTo>
                    <a:pt x="143" y="35"/>
                  </a:lnTo>
                  <a:lnTo>
                    <a:pt x="139" y="29"/>
                  </a:lnTo>
                  <a:lnTo>
                    <a:pt x="134" y="24"/>
                  </a:lnTo>
                  <a:lnTo>
                    <a:pt x="128" y="18"/>
                  </a:lnTo>
                  <a:lnTo>
                    <a:pt x="122" y="13"/>
                  </a:lnTo>
                  <a:lnTo>
                    <a:pt x="116" y="9"/>
                  </a:lnTo>
                  <a:lnTo>
                    <a:pt x="108" y="6"/>
                  </a:lnTo>
                  <a:lnTo>
                    <a:pt x="101" y="3"/>
                  </a:lnTo>
                  <a:lnTo>
                    <a:pt x="94" y="1"/>
                  </a:lnTo>
                  <a:lnTo>
                    <a:pt x="86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6171746" y="3526823"/>
            <a:ext cx="285750" cy="209550"/>
            <a:chOff x="892175" y="5441950"/>
            <a:chExt cx="285750" cy="209550"/>
          </a:xfrm>
          <a:solidFill>
            <a:schemeClr val="bg1"/>
          </a:solidFill>
        </p:grpSpPr>
        <p:sp>
          <p:nvSpPr>
            <p:cNvPr id="53" name="Freeform 2803"/>
            <p:cNvSpPr>
              <a:spLocks noEditPoints="1"/>
            </p:cNvSpPr>
            <p:nvPr/>
          </p:nvSpPr>
          <p:spPr bwMode="auto">
            <a:xfrm>
              <a:off x="892175" y="5441950"/>
              <a:ext cx="285750" cy="209550"/>
            </a:xfrm>
            <a:custGeom>
              <a:avLst/>
              <a:gdLst>
                <a:gd name="T0" fmla="*/ 575 w 720"/>
                <a:gd name="T1" fmla="*/ 350 h 529"/>
                <a:gd name="T2" fmla="*/ 565 w 720"/>
                <a:gd name="T3" fmla="*/ 317 h 529"/>
                <a:gd name="T4" fmla="*/ 586 w 720"/>
                <a:gd name="T5" fmla="*/ 291 h 529"/>
                <a:gd name="T6" fmla="*/ 620 w 720"/>
                <a:gd name="T7" fmla="*/ 294 h 529"/>
                <a:gd name="T8" fmla="*/ 636 w 720"/>
                <a:gd name="T9" fmla="*/ 324 h 529"/>
                <a:gd name="T10" fmla="*/ 620 w 720"/>
                <a:gd name="T11" fmla="*/ 354 h 529"/>
                <a:gd name="T12" fmla="*/ 528 w 720"/>
                <a:gd name="T13" fmla="*/ 504 h 529"/>
                <a:gd name="T14" fmla="*/ 600 w 720"/>
                <a:gd name="T15" fmla="*/ 504 h 529"/>
                <a:gd name="T16" fmla="*/ 388 w 720"/>
                <a:gd name="T17" fmla="*/ 301 h 529"/>
                <a:gd name="T18" fmla="*/ 325 w 720"/>
                <a:gd name="T19" fmla="*/ 299 h 529"/>
                <a:gd name="T20" fmla="*/ 206 w 720"/>
                <a:gd name="T21" fmla="*/ 208 h 529"/>
                <a:gd name="T22" fmla="*/ 312 w 720"/>
                <a:gd name="T23" fmla="*/ 171 h 529"/>
                <a:gd name="T24" fmla="*/ 431 w 720"/>
                <a:gd name="T25" fmla="*/ 176 h 529"/>
                <a:gd name="T26" fmla="*/ 530 w 720"/>
                <a:gd name="T27" fmla="*/ 220 h 529"/>
                <a:gd name="T28" fmla="*/ 432 w 720"/>
                <a:gd name="T29" fmla="*/ 384 h 529"/>
                <a:gd name="T30" fmla="*/ 126 w 720"/>
                <a:gd name="T31" fmla="*/ 456 h 529"/>
                <a:gd name="T32" fmla="*/ 84 w 720"/>
                <a:gd name="T33" fmla="*/ 317 h 529"/>
                <a:gd name="T34" fmla="*/ 105 w 720"/>
                <a:gd name="T35" fmla="*/ 291 h 529"/>
                <a:gd name="T36" fmla="*/ 140 w 720"/>
                <a:gd name="T37" fmla="*/ 294 h 529"/>
                <a:gd name="T38" fmla="*/ 155 w 720"/>
                <a:gd name="T39" fmla="*/ 324 h 529"/>
                <a:gd name="T40" fmla="*/ 140 w 720"/>
                <a:gd name="T41" fmla="*/ 354 h 529"/>
                <a:gd name="T42" fmla="*/ 105 w 720"/>
                <a:gd name="T43" fmla="*/ 357 h 529"/>
                <a:gd name="T44" fmla="*/ 84 w 720"/>
                <a:gd name="T45" fmla="*/ 332 h 529"/>
                <a:gd name="T46" fmla="*/ 186 w 720"/>
                <a:gd name="T47" fmla="*/ 37 h 529"/>
                <a:gd name="T48" fmla="*/ 204 w 720"/>
                <a:gd name="T49" fmla="*/ 24 h 529"/>
                <a:gd name="T50" fmla="*/ 530 w 720"/>
                <a:gd name="T51" fmla="*/ 34 h 529"/>
                <a:gd name="T52" fmla="*/ 562 w 720"/>
                <a:gd name="T53" fmla="*/ 206 h 529"/>
                <a:gd name="T54" fmla="*/ 525 w 720"/>
                <a:gd name="T55" fmla="*/ 187 h 529"/>
                <a:gd name="T56" fmla="*/ 467 w 720"/>
                <a:gd name="T57" fmla="*/ 161 h 529"/>
                <a:gd name="T58" fmla="*/ 402 w 720"/>
                <a:gd name="T59" fmla="*/ 147 h 529"/>
                <a:gd name="T60" fmla="*/ 331 w 720"/>
                <a:gd name="T61" fmla="*/ 145 h 529"/>
                <a:gd name="T62" fmla="*/ 265 w 720"/>
                <a:gd name="T63" fmla="*/ 157 h 529"/>
                <a:gd name="T64" fmla="*/ 205 w 720"/>
                <a:gd name="T65" fmla="*/ 181 h 529"/>
                <a:gd name="T66" fmla="*/ 161 w 720"/>
                <a:gd name="T67" fmla="*/ 207 h 529"/>
                <a:gd name="T68" fmla="*/ 638 w 720"/>
                <a:gd name="T69" fmla="*/ 209 h 529"/>
                <a:gd name="T70" fmla="*/ 594 w 720"/>
                <a:gd name="T71" fmla="*/ 201 h 529"/>
                <a:gd name="T72" fmla="*/ 552 w 720"/>
                <a:gd name="T73" fmla="*/ 23 h 529"/>
                <a:gd name="T74" fmla="*/ 524 w 720"/>
                <a:gd name="T75" fmla="*/ 1 h 529"/>
                <a:gd name="T76" fmla="*/ 196 w 720"/>
                <a:gd name="T77" fmla="*/ 1 h 529"/>
                <a:gd name="T78" fmla="*/ 166 w 720"/>
                <a:gd name="T79" fmla="*/ 23 h 529"/>
                <a:gd name="T80" fmla="*/ 125 w 720"/>
                <a:gd name="T81" fmla="*/ 201 h 529"/>
                <a:gd name="T82" fmla="*/ 81 w 720"/>
                <a:gd name="T83" fmla="*/ 209 h 529"/>
                <a:gd name="T84" fmla="*/ 43 w 720"/>
                <a:gd name="T85" fmla="*/ 231 h 529"/>
                <a:gd name="T86" fmla="*/ 17 w 720"/>
                <a:gd name="T87" fmla="*/ 261 h 529"/>
                <a:gd name="T88" fmla="*/ 2 w 720"/>
                <a:gd name="T89" fmla="*/ 299 h 529"/>
                <a:gd name="T90" fmla="*/ 1 w 720"/>
                <a:gd name="T91" fmla="*/ 347 h 529"/>
                <a:gd name="T92" fmla="*/ 20 w 720"/>
                <a:gd name="T93" fmla="*/ 398 h 529"/>
                <a:gd name="T94" fmla="*/ 57 w 720"/>
                <a:gd name="T95" fmla="*/ 434 h 529"/>
                <a:gd name="T96" fmla="*/ 95 w 720"/>
                <a:gd name="T97" fmla="*/ 516 h 529"/>
                <a:gd name="T98" fmla="*/ 204 w 720"/>
                <a:gd name="T99" fmla="*/ 529 h 529"/>
                <a:gd name="T100" fmla="*/ 215 w 720"/>
                <a:gd name="T101" fmla="*/ 456 h 529"/>
                <a:gd name="T102" fmla="*/ 271 w 720"/>
                <a:gd name="T103" fmla="*/ 479 h 529"/>
                <a:gd name="T104" fmla="*/ 455 w 720"/>
                <a:gd name="T105" fmla="*/ 473 h 529"/>
                <a:gd name="T106" fmla="*/ 505 w 720"/>
                <a:gd name="T107" fmla="*/ 522 h 529"/>
                <a:gd name="T108" fmla="*/ 616 w 720"/>
                <a:gd name="T109" fmla="*/ 528 h 529"/>
                <a:gd name="T110" fmla="*/ 634 w 720"/>
                <a:gd name="T111" fmla="*/ 448 h 529"/>
                <a:gd name="T112" fmla="*/ 678 w 720"/>
                <a:gd name="T113" fmla="*/ 421 h 529"/>
                <a:gd name="T114" fmla="*/ 709 w 720"/>
                <a:gd name="T115" fmla="*/ 378 h 529"/>
                <a:gd name="T116" fmla="*/ 720 w 720"/>
                <a:gd name="T117" fmla="*/ 324 h 529"/>
                <a:gd name="T118" fmla="*/ 713 w 720"/>
                <a:gd name="T119" fmla="*/ 284 h 529"/>
                <a:gd name="T120" fmla="*/ 693 w 720"/>
                <a:gd name="T121" fmla="*/ 248 h 529"/>
                <a:gd name="T122" fmla="*/ 662 w 720"/>
                <a:gd name="T123" fmla="*/ 221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" h="529">
                  <a:moveTo>
                    <a:pt x="600" y="360"/>
                  </a:moveTo>
                  <a:lnTo>
                    <a:pt x="592" y="359"/>
                  </a:lnTo>
                  <a:lnTo>
                    <a:pt x="586" y="357"/>
                  </a:lnTo>
                  <a:lnTo>
                    <a:pt x="580" y="354"/>
                  </a:lnTo>
                  <a:lnTo>
                    <a:pt x="575" y="350"/>
                  </a:lnTo>
                  <a:lnTo>
                    <a:pt x="570" y="345"/>
                  </a:lnTo>
                  <a:lnTo>
                    <a:pt x="567" y="339"/>
                  </a:lnTo>
                  <a:lnTo>
                    <a:pt x="565" y="332"/>
                  </a:lnTo>
                  <a:lnTo>
                    <a:pt x="564" y="324"/>
                  </a:lnTo>
                  <a:lnTo>
                    <a:pt x="565" y="317"/>
                  </a:lnTo>
                  <a:lnTo>
                    <a:pt x="567" y="310"/>
                  </a:lnTo>
                  <a:lnTo>
                    <a:pt x="570" y="304"/>
                  </a:lnTo>
                  <a:lnTo>
                    <a:pt x="575" y="299"/>
                  </a:lnTo>
                  <a:lnTo>
                    <a:pt x="580" y="294"/>
                  </a:lnTo>
                  <a:lnTo>
                    <a:pt x="586" y="291"/>
                  </a:lnTo>
                  <a:lnTo>
                    <a:pt x="592" y="289"/>
                  </a:lnTo>
                  <a:lnTo>
                    <a:pt x="600" y="288"/>
                  </a:lnTo>
                  <a:lnTo>
                    <a:pt x="607" y="289"/>
                  </a:lnTo>
                  <a:lnTo>
                    <a:pt x="613" y="291"/>
                  </a:lnTo>
                  <a:lnTo>
                    <a:pt x="620" y="294"/>
                  </a:lnTo>
                  <a:lnTo>
                    <a:pt x="626" y="299"/>
                  </a:lnTo>
                  <a:lnTo>
                    <a:pt x="630" y="304"/>
                  </a:lnTo>
                  <a:lnTo>
                    <a:pt x="633" y="310"/>
                  </a:lnTo>
                  <a:lnTo>
                    <a:pt x="635" y="317"/>
                  </a:lnTo>
                  <a:lnTo>
                    <a:pt x="636" y="324"/>
                  </a:lnTo>
                  <a:lnTo>
                    <a:pt x="635" y="332"/>
                  </a:lnTo>
                  <a:lnTo>
                    <a:pt x="633" y="339"/>
                  </a:lnTo>
                  <a:lnTo>
                    <a:pt x="630" y="345"/>
                  </a:lnTo>
                  <a:lnTo>
                    <a:pt x="626" y="350"/>
                  </a:lnTo>
                  <a:lnTo>
                    <a:pt x="620" y="354"/>
                  </a:lnTo>
                  <a:lnTo>
                    <a:pt x="613" y="357"/>
                  </a:lnTo>
                  <a:lnTo>
                    <a:pt x="607" y="359"/>
                  </a:lnTo>
                  <a:lnTo>
                    <a:pt x="600" y="360"/>
                  </a:lnTo>
                  <a:close/>
                  <a:moveTo>
                    <a:pt x="600" y="504"/>
                  </a:moveTo>
                  <a:lnTo>
                    <a:pt x="528" y="504"/>
                  </a:lnTo>
                  <a:lnTo>
                    <a:pt x="528" y="456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600" y="456"/>
                  </a:lnTo>
                  <a:lnTo>
                    <a:pt x="600" y="504"/>
                  </a:lnTo>
                  <a:close/>
                  <a:moveTo>
                    <a:pt x="413" y="291"/>
                  </a:moveTo>
                  <a:lnTo>
                    <a:pt x="407" y="294"/>
                  </a:lnTo>
                  <a:lnTo>
                    <a:pt x="401" y="297"/>
                  </a:lnTo>
                  <a:lnTo>
                    <a:pt x="395" y="299"/>
                  </a:lnTo>
                  <a:lnTo>
                    <a:pt x="388" y="301"/>
                  </a:lnTo>
                  <a:lnTo>
                    <a:pt x="374" y="304"/>
                  </a:lnTo>
                  <a:lnTo>
                    <a:pt x="359" y="305"/>
                  </a:lnTo>
                  <a:lnTo>
                    <a:pt x="345" y="304"/>
                  </a:lnTo>
                  <a:lnTo>
                    <a:pt x="331" y="301"/>
                  </a:lnTo>
                  <a:lnTo>
                    <a:pt x="325" y="299"/>
                  </a:lnTo>
                  <a:lnTo>
                    <a:pt x="318" y="297"/>
                  </a:lnTo>
                  <a:lnTo>
                    <a:pt x="312" y="294"/>
                  </a:lnTo>
                  <a:lnTo>
                    <a:pt x="306" y="291"/>
                  </a:lnTo>
                  <a:lnTo>
                    <a:pt x="189" y="220"/>
                  </a:lnTo>
                  <a:lnTo>
                    <a:pt x="206" y="208"/>
                  </a:lnTo>
                  <a:lnTo>
                    <a:pt x="224" y="197"/>
                  </a:lnTo>
                  <a:lnTo>
                    <a:pt x="245" y="189"/>
                  </a:lnTo>
                  <a:lnTo>
                    <a:pt x="266" y="181"/>
                  </a:lnTo>
                  <a:lnTo>
                    <a:pt x="288" y="176"/>
                  </a:lnTo>
                  <a:lnTo>
                    <a:pt x="312" y="171"/>
                  </a:lnTo>
                  <a:lnTo>
                    <a:pt x="335" y="169"/>
                  </a:lnTo>
                  <a:lnTo>
                    <a:pt x="359" y="168"/>
                  </a:lnTo>
                  <a:lnTo>
                    <a:pt x="384" y="169"/>
                  </a:lnTo>
                  <a:lnTo>
                    <a:pt x="407" y="171"/>
                  </a:lnTo>
                  <a:lnTo>
                    <a:pt x="431" y="176"/>
                  </a:lnTo>
                  <a:lnTo>
                    <a:pt x="453" y="181"/>
                  </a:lnTo>
                  <a:lnTo>
                    <a:pt x="474" y="189"/>
                  </a:lnTo>
                  <a:lnTo>
                    <a:pt x="495" y="197"/>
                  </a:lnTo>
                  <a:lnTo>
                    <a:pt x="513" y="208"/>
                  </a:lnTo>
                  <a:lnTo>
                    <a:pt x="530" y="220"/>
                  </a:lnTo>
                  <a:lnTo>
                    <a:pt x="413" y="291"/>
                  </a:lnTo>
                  <a:close/>
                  <a:moveTo>
                    <a:pt x="432" y="456"/>
                  </a:moveTo>
                  <a:lnTo>
                    <a:pt x="287" y="456"/>
                  </a:lnTo>
                  <a:lnTo>
                    <a:pt x="287" y="384"/>
                  </a:lnTo>
                  <a:lnTo>
                    <a:pt x="432" y="384"/>
                  </a:lnTo>
                  <a:lnTo>
                    <a:pt x="432" y="456"/>
                  </a:lnTo>
                  <a:close/>
                  <a:moveTo>
                    <a:pt x="192" y="504"/>
                  </a:moveTo>
                  <a:lnTo>
                    <a:pt x="120" y="504"/>
                  </a:lnTo>
                  <a:lnTo>
                    <a:pt x="120" y="456"/>
                  </a:lnTo>
                  <a:lnTo>
                    <a:pt x="126" y="456"/>
                  </a:lnTo>
                  <a:lnTo>
                    <a:pt x="132" y="456"/>
                  </a:lnTo>
                  <a:lnTo>
                    <a:pt x="192" y="456"/>
                  </a:lnTo>
                  <a:lnTo>
                    <a:pt x="192" y="504"/>
                  </a:lnTo>
                  <a:close/>
                  <a:moveTo>
                    <a:pt x="83" y="324"/>
                  </a:moveTo>
                  <a:lnTo>
                    <a:pt x="84" y="317"/>
                  </a:lnTo>
                  <a:lnTo>
                    <a:pt x="86" y="310"/>
                  </a:lnTo>
                  <a:lnTo>
                    <a:pt x="89" y="304"/>
                  </a:lnTo>
                  <a:lnTo>
                    <a:pt x="94" y="299"/>
                  </a:lnTo>
                  <a:lnTo>
                    <a:pt x="99" y="294"/>
                  </a:lnTo>
                  <a:lnTo>
                    <a:pt x="105" y="291"/>
                  </a:lnTo>
                  <a:lnTo>
                    <a:pt x="112" y="289"/>
                  </a:lnTo>
                  <a:lnTo>
                    <a:pt x="120" y="288"/>
                  </a:lnTo>
                  <a:lnTo>
                    <a:pt x="127" y="289"/>
                  </a:lnTo>
                  <a:lnTo>
                    <a:pt x="134" y="291"/>
                  </a:lnTo>
                  <a:lnTo>
                    <a:pt x="140" y="294"/>
                  </a:lnTo>
                  <a:lnTo>
                    <a:pt x="145" y="299"/>
                  </a:lnTo>
                  <a:lnTo>
                    <a:pt x="149" y="304"/>
                  </a:lnTo>
                  <a:lnTo>
                    <a:pt x="152" y="310"/>
                  </a:lnTo>
                  <a:lnTo>
                    <a:pt x="155" y="317"/>
                  </a:lnTo>
                  <a:lnTo>
                    <a:pt x="155" y="324"/>
                  </a:lnTo>
                  <a:lnTo>
                    <a:pt x="155" y="332"/>
                  </a:lnTo>
                  <a:lnTo>
                    <a:pt x="152" y="339"/>
                  </a:lnTo>
                  <a:lnTo>
                    <a:pt x="149" y="345"/>
                  </a:lnTo>
                  <a:lnTo>
                    <a:pt x="145" y="350"/>
                  </a:lnTo>
                  <a:lnTo>
                    <a:pt x="140" y="354"/>
                  </a:lnTo>
                  <a:lnTo>
                    <a:pt x="134" y="357"/>
                  </a:lnTo>
                  <a:lnTo>
                    <a:pt x="127" y="359"/>
                  </a:lnTo>
                  <a:lnTo>
                    <a:pt x="120" y="360"/>
                  </a:lnTo>
                  <a:lnTo>
                    <a:pt x="112" y="359"/>
                  </a:lnTo>
                  <a:lnTo>
                    <a:pt x="105" y="357"/>
                  </a:lnTo>
                  <a:lnTo>
                    <a:pt x="99" y="354"/>
                  </a:lnTo>
                  <a:lnTo>
                    <a:pt x="94" y="350"/>
                  </a:lnTo>
                  <a:lnTo>
                    <a:pt x="89" y="345"/>
                  </a:lnTo>
                  <a:lnTo>
                    <a:pt x="86" y="339"/>
                  </a:lnTo>
                  <a:lnTo>
                    <a:pt x="84" y="332"/>
                  </a:lnTo>
                  <a:lnTo>
                    <a:pt x="83" y="324"/>
                  </a:lnTo>
                  <a:close/>
                  <a:moveTo>
                    <a:pt x="180" y="50"/>
                  </a:moveTo>
                  <a:lnTo>
                    <a:pt x="181" y="46"/>
                  </a:lnTo>
                  <a:lnTo>
                    <a:pt x="183" y="42"/>
                  </a:lnTo>
                  <a:lnTo>
                    <a:pt x="186" y="37"/>
                  </a:lnTo>
                  <a:lnTo>
                    <a:pt x="189" y="33"/>
                  </a:lnTo>
                  <a:lnTo>
                    <a:pt x="193" y="30"/>
                  </a:lnTo>
                  <a:lnTo>
                    <a:pt x="197" y="27"/>
                  </a:lnTo>
                  <a:lnTo>
                    <a:pt x="200" y="25"/>
                  </a:lnTo>
                  <a:lnTo>
                    <a:pt x="204" y="24"/>
                  </a:lnTo>
                  <a:lnTo>
                    <a:pt x="516" y="24"/>
                  </a:lnTo>
                  <a:lnTo>
                    <a:pt x="519" y="25"/>
                  </a:lnTo>
                  <a:lnTo>
                    <a:pt x="523" y="27"/>
                  </a:lnTo>
                  <a:lnTo>
                    <a:pt x="526" y="30"/>
                  </a:lnTo>
                  <a:lnTo>
                    <a:pt x="530" y="34"/>
                  </a:lnTo>
                  <a:lnTo>
                    <a:pt x="533" y="38"/>
                  </a:lnTo>
                  <a:lnTo>
                    <a:pt x="536" y="42"/>
                  </a:lnTo>
                  <a:lnTo>
                    <a:pt x="538" y="46"/>
                  </a:lnTo>
                  <a:lnTo>
                    <a:pt x="540" y="50"/>
                  </a:lnTo>
                  <a:lnTo>
                    <a:pt x="562" y="206"/>
                  </a:lnTo>
                  <a:lnTo>
                    <a:pt x="558" y="207"/>
                  </a:lnTo>
                  <a:lnTo>
                    <a:pt x="555" y="209"/>
                  </a:lnTo>
                  <a:lnTo>
                    <a:pt x="544" y="201"/>
                  </a:lnTo>
                  <a:lnTo>
                    <a:pt x="535" y="194"/>
                  </a:lnTo>
                  <a:lnTo>
                    <a:pt x="525" y="187"/>
                  </a:lnTo>
                  <a:lnTo>
                    <a:pt x="514" y="181"/>
                  </a:lnTo>
                  <a:lnTo>
                    <a:pt x="503" y="176"/>
                  </a:lnTo>
                  <a:lnTo>
                    <a:pt x="492" y="170"/>
                  </a:lnTo>
                  <a:lnTo>
                    <a:pt x="479" y="166"/>
                  </a:lnTo>
                  <a:lnTo>
                    <a:pt x="467" y="161"/>
                  </a:lnTo>
                  <a:lnTo>
                    <a:pt x="455" y="157"/>
                  </a:lnTo>
                  <a:lnTo>
                    <a:pt x="442" y="154"/>
                  </a:lnTo>
                  <a:lnTo>
                    <a:pt x="429" y="151"/>
                  </a:lnTo>
                  <a:lnTo>
                    <a:pt x="415" y="149"/>
                  </a:lnTo>
                  <a:lnTo>
                    <a:pt x="402" y="147"/>
                  </a:lnTo>
                  <a:lnTo>
                    <a:pt x="388" y="145"/>
                  </a:lnTo>
                  <a:lnTo>
                    <a:pt x="374" y="145"/>
                  </a:lnTo>
                  <a:lnTo>
                    <a:pt x="359" y="144"/>
                  </a:lnTo>
                  <a:lnTo>
                    <a:pt x="345" y="145"/>
                  </a:lnTo>
                  <a:lnTo>
                    <a:pt x="331" y="145"/>
                  </a:lnTo>
                  <a:lnTo>
                    <a:pt x="318" y="147"/>
                  </a:lnTo>
                  <a:lnTo>
                    <a:pt x="304" y="149"/>
                  </a:lnTo>
                  <a:lnTo>
                    <a:pt x="290" y="151"/>
                  </a:lnTo>
                  <a:lnTo>
                    <a:pt x="277" y="154"/>
                  </a:lnTo>
                  <a:lnTo>
                    <a:pt x="265" y="157"/>
                  </a:lnTo>
                  <a:lnTo>
                    <a:pt x="252" y="161"/>
                  </a:lnTo>
                  <a:lnTo>
                    <a:pt x="240" y="166"/>
                  </a:lnTo>
                  <a:lnTo>
                    <a:pt x="228" y="170"/>
                  </a:lnTo>
                  <a:lnTo>
                    <a:pt x="216" y="176"/>
                  </a:lnTo>
                  <a:lnTo>
                    <a:pt x="205" y="181"/>
                  </a:lnTo>
                  <a:lnTo>
                    <a:pt x="195" y="187"/>
                  </a:lnTo>
                  <a:lnTo>
                    <a:pt x="185" y="194"/>
                  </a:lnTo>
                  <a:lnTo>
                    <a:pt x="174" y="201"/>
                  </a:lnTo>
                  <a:lnTo>
                    <a:pt x="165" y="209"/>
                  </a:lnTo>
                  <a:lnTo>
                    <a:pt x="161" y="207"/>
                  </a:lnTo>
                  <a:lnTo>
                    <a:pt x="157" y="206"/>
                  </a:lnTo>
                  <a:lnTo>
                    <a:pt x="180" y="50"/>
                  </a:lnTo>
                  <a:close/>
                  <a:moveTo>
                    <a:pt x="655" y="216"/>
                  </a:moveTo>
                  <a:lnTo>
                    <a:pt x="647" y="212"/>
                  </a:lnTo>
                  <a:lnTo>
                    <a:pt x="638" y="209"/>
                  </a:lnTo>
                  <a:lnTo>
                    <a:pt x="630" y="206"/>
                  </a:lnTo>
                  <a:lnTo>
                    <a:pt x="621" y="204"/>
                  </a:lnTo>
                  <a:lnTo>
                    <a:pt x="612" y="201"/>
                  </a:lnTo>
                  <a:lnTo>
                    <a:pt x="603" y="201"/>
                  </a:lnTo>
                  <a:lnTo>
                    <a:pt x="594" y="201"/>
                  </a:lnTo>
                  <a:lnTo>
                    <a:pt x="586" y="201"/>
                  </a:lnTo>
                  <a:lnTo>
                    <a:pt x="564" y="47"/>
                  </a:lnTo>
                  <a:lnTo>
                    <a:pt x="562" y="39"/>
                  </a:lnTo>
                  <a:lnTo>
                    <a:pt x="558" y="31"/>
                  </a:lnTo>
                  <a:lnTo>
                    <a:pt x="552" y="23"/>
                  </a:lnTo>
                  <a:lnTo>
                    <a:pt x="546" y="16"/>
                  </a:lnTo>
                  <a:lnTo>
                    <a:pt x="539" y="9"/>
                  </a:lnTo>
                  <a:lnTo>
                    <a:pt x="532" y="4"/>
                  </a:lnTo>
                  <a:lnTo>
                    <a:pt x="528" y="2"/>
                  </a:lnTo>
                  <a:lnTo>
                    <a:pt x="524" y="1"/>
                  </a:lnTo>
                  <a:lnTo>
                    <a:pt x="520" y="0"/>
                  </a:lnTo>
                  <a:lnTo>
                    <a:pt x="516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6" y="1"/>
                  </a:lnTo>
                  <a:lnTo>
                    <a:pt x="192" y="2"/>
                  </a:lnTo>
                  <a:lnTo>
                    <a:pt x="188" y="4"/>
                  </a:lnTo>
                  <a:lnTo>
                    <a:pt x="180" y="9"/>
                  </a:lnTo>
                  <a:lnTo>
                    <a:pt x="172" y="16"/>
                  </a:lnTo>
                  <a:lnTo>
                    <a:pt x="166" y="23"/>
                  </a:lnTo>
                  <a:lnTo>
                    <a:pt x="161" y="31"/>
                  </a:lnTo>
                  <a:lnTo>
                    <a:pt x="157" y="39"/>
                  </a:lnTo>
                  <a:lnTo>
                    <a:pt x="155" y="47"/>
                  </a:lnTo>
                  <a:lnTo>
                    <a:pt x="134" y="201"/>
                  </a:lnTo>
                  <a:lnTo>
                    <a:pt x="125" y="201"/>
                  </a:lnTo>
                  <a:lnTo>
                    <a:pt x="116" y="201"/>
                  </a:lnTo>
                  <a:lnTo>
                    <a:pt x="107" y="201"/>
                  </a:lnTo>
                  <a:lnTo>
                    <a:pt x="98" y="204"/>
                  </a:lnTo>
                  <a:lnTo>
                    <a:pt x="90" y="206"/>
                  </a:lnTo>
                  <a:lnTo>
                    <a:pt x="81" y="209"/>
                  </a:lnTo>
                  <a:lnTo>
                    <a:pt x="73" y="212"/>
                  </a:lnTo>
                  <a:lnTo>
                    <a:pt x="65" y="216"/>
                  </a:lnTo>
                  <a:lnTo>
                    <a:pt x="57" y="221"/>
                  </a:lnTo>
                  <a:lnTo>
                    <a:pt x="51" y="225"/>
                  </a:lnTo>
                  <a:lnTo>
                    <a:pt x="43" y="231"/>
                  </a:lnTo>
                  <a:lnTo>
                    <a:pt x="37" y="236"/>
                  </a:lnTo>
                  <a:lnTo>
                    <a:pt x="31" y="242"/>
                  </a:lnTo>
                  <a:lnTo>
                    <a:pt x="26" y="248"/>
                  </a:lnTo>
                  <a:lnTo>
                    <a:pt x="21" y="255"/>
                  </a:lnTo>
                  <a:lnTo>
                    <a:pt x="17" y="261"/>
                  </a:lnTo>
                  <a:lnTo>
                    <a:pt x="13" y="269"/>
                  </a:lnTo>
                  <a:lnTo>
                    <a:pt x="10" y="277"/>
                  </a:lnTo>
                  <a:lnTo>
                    <a:pt x="7" y="284"/>
                  </a:lnTo>
                  <a:lnTo>
                    <a:pt x="4" y="292"/>
                  </a:lnTo>
                  <a:lnTo>
                    <a:pt x="2" y="299"/>
                  </a:lnTo>
                  <a:lnTo>
                    <a:pt x="1" y="307"/>
                  </a:lnTo>
                  <a:lnTo>
                    <a:pt x="0" y="315"/>
                  </a:lnTo>
                  <a:lnTo>
                    <a:pt x="0" y="324"/>
                  </a:lnTo>
                  <a:lnTo>
                    <a:pt x="0" y="336"/>
                  </a:lnTo>
                  <a:lnTo>
                    <a:pt x="1" y="347"/>
                  </a:lnTo>
                  <a:lnTo>
                    <a:pt x="4" y="358"/>
                  </a:lnTo>
                  <a:lnTo>
                    <a:pt x="7" y="368"/>
                  </a:lnTo>
                  <a:lnTo>
                    <a:pt x="10" y="378"/>
                  </a:lnTo>
                  <a:lnTo>
                    <a:pt x="15" y="388"/>
                  </a:lnTo>
                  <a:lnTo>
                    <a:pt x="20" y="398"/>
                  </a:lnTo>
                  <a:lnTo>
                    <a:pt x="26" y="406"/>
                  </a:lnTo>
                  <a:lnTo>
                    <a:pt x="33" y="414"/>
                  </a:lnTo>
                  <a:lnTo>
                    <a:pt x="40" y="421"/>
                  </a:lnTo>
                  <a:lnTo>
                    <a:pt x="48" y="428"/>
                  </a:lnTo>
                  <a:lnTo>
                    <a:pt x="57" y="434"/>
                  </a:lnTo>
                  <a:lnTo>
                    <a:pt x="66" y="439"/>
                  </a:lnTo>
                  <a:lnTo>
                    <a:pt x="75" y="444"/>
                  </a:lnTo>
                  <a:lnTo>
                    <a:pt x="85" y="448"/>
                  </a:lnTo>
                  <a:lnTo>
                    <a:pt x="95" y="451"/>
                  </a:lnTo>
                  <a:lnTo>
                    <a:pt x="95" y="516"/>
                  </a:lnTo>
                  <a:lnTo>
                    <a:pt x="96" y="522"/>
                  </a:lnTo>
                  <a:lnTo>
                    <a:pt x="99" y="525"/>
                  </a:lnTo>
                  <a:lnTo>
                    <a:pt x="102" y="528"/>
                  </a:lnTo>
                  <a:lnTo>
                    <a:pt x="107" y="529"/>
                  </a:lnTo>
                  <a:lnTo>
                    <a:pt x="204" y="529"/>
                  </a:lnTo>
                  <a:lnTo>
                    <a:pt x="208" y="528"/>
                  </a:lnTo>
                  <a:lnTo>
                    <a:pt x="212" y="525"/>
                  </a:lnTo>
                  <a:lnTo>
                    <a:pt x="214" y="522"/>
                  </a:lnTo>
                  <a:lnTo>
                    <a:pt x="215" y="516"/>
                  </a:lnTo>
                  <a:lnTo>
                    <a:pt x="215" y="456"/>
                  </a:lnTo>
                  <a:lnTo>
                    <a:pt x="264" y="456"/>
                  </a:lnTo>
                  <a:lnTo>
                    <a:pt x="264" y="468"/>
                  </a:lnTo>
                  <a:lnTo>
                    <a:pt x="265" y="473"/>
                  </a:lnTo>
                  <a:lnTo>
                    <a:pt x="267" y="477"/>
                  </a:lnTo>
                  <a:lnTo>
                    <a:pt x="271" y="479"/>
                  </a:lnTo>
                  <a:lnTo>
                    <a:pt x="275" y="480"/>
                  </a:lnTo>
                  <a:lnTo>
                    <a:pt x="444" y="480"/>
                  </a:lnTo>
                  <a:lnTo>
                    <a:pt x="449" y="479"/>
                  </a:lnTo>
                  <a:lnTo>
                    <a:pt x="452" y="477"/>
                  </a:lnTo>
                  <a:lnTo>
                    <a:pt x="455" y="473"/>
                  </a:lnTo>
                  <a:lnTo>
                    <a:pt x="456" y="468"/>
                  </a:lnTo>
                  <a:lnTo>
                    <a:pt x="456" y="456"/>
                  </a:lnTo>
                  <a:lnTo>
                    <a:pt x="504" y="456"/>
                  </a:lnTo>
                  <a:lnTo>
                    <a:pt x="504" y="516"/>
                  </a:lnTo>
                  <a:lnTo>
                    <a:pt x="505" y="522"/>
                  </a:lnTo>
                  <a:lnTo>
                    <a:pt x="508" y="525"/>
                  </a:lnTo>
                  <a:lnTo>
                    <a:pt x="511" y="528"/>
                  </a:lnTo>
                  <a:lnTo>
                    <a:pt x="516" y="529"/>
                  </a:lnTo>
                  <a:lnTo>
                    <a:pt x="611" y="529"/>
                  </a:lnTo>
                  <a:lnTo>
                    <a:pt x="616" y="528"/>
                  </a:lnTo>
                  <a:lnTo>
                    <a:pt x="621" y="525"/>
                  </a:lnTo>
                  <a:lnTo>
                    <a:pt x="623" y="522"/>
                  </a:lnTo>
                  <a:lnTo>
                    <a:pt x="624" y="516"/>
                  </a:lnTo>
                  <a:lnTo>
                    <a:pt x="624" y="451"/>
                  </a:lnTo>
                  <a:lnTo>
                    <a:pt x="634" y="448"/>
                  </a:lnTo>
                  <a:lnTo>
                    <a:pt x="644" y="444"/>
                  </a:lnTo>
                  <a:lnTo>
                    <a:pt x="653" y="439"/>
                  </a:lnTo>
                  <a:lnTo>
                    <a:pt x="662" y="434"/>
                  </a:lnTo>
                  <a:lnTo>
                    <a:pt x="671" y="428"/>
                  </a:lnTo>
                  <a:lnTo>
                    <a:pt x="678" y="421"/>
                  </a:lnTo>
                  <a:lnTo>
                    <a:pt x="687" y="414"/>
                  </a:lnTo>
                  <a:lnTo>
                    <a:pt x="693" y="406"/>
                  </a:lnTo>
                  <a:lnTo>
                    <a:pt x="699" y="398"/>
                  </a:lnTo>
                  <a:lnTo>
                    <a:pt x="704" y="388"/>
                  </a:lnTo>
                  <a:lnTo>
                    <a:pt x="709" y="378"/>
                  </a:lnTo>
                  <a:lnTo>
                    <a:pt x="713" y="368"/>
                  </a:lnTo>
                  <a:lnTo>
                    <a:pt x="716" y="358"/>
                  </a:lnTo>
                  <a:lnTo>
                    <a:pt x="718" y="347"/>
                  </a:lnTo>
                  <a:lnTo>
                    <a:pt x="719" y="336"/>
                  </a:lnTo>
                  <a:lnTo>
                    <a:pt x="720" y="324"/>
                  </a:lnTo>
                  <a:lnTo>
                    <a:pt x="719" y="315"/>
                  </a:lnTo>
                  <a:lnTo>
                    <a:pt x="719" y="307"/>
                  </a:lnTo>
                  <a:lnTo>
                    <a:pt x="717" y="299"/>
                  </a:lnTo>
                  <a:lnTo>
                    <a:pt x="715" y="292"/>
                  </a:lnTo>
                  <a:lnTo>
                    <a:pt x="713" y="284"/>
                  </a:lnTo>
                  <a:lnTo>
                    <a:pt x="710" y="277"/>
                  </a:lnTo>
                  <a:lnTo>
                    <a:pt x="706" y="269"/>
                  </a:lnTo>
                  <a:lnTo>
                    <a:pt x="702" y="261"/>
                  </a:lnTo>
                  <a:lnTo>
                    <a:pt x="698" y="255"/>
                  </a:lnTo>
                  <a:lnTo>
                    <a:pt x="693" y="248"/>
                  </a:lnTo>
                  <a:lnTo>
                    <a:pt x="688" y="242"/>
                  </a:lnTo>
                  <a:lnTo>
                    <a:pt x="682" y="236"/>
                  </a:lnTo>
                  <a:lnTo>
                    <a:pt x="675" y="231"/>
                  </a:lnTo>
                  <a:lnTo>
                    <a:pt x="669" y="225"/>
                  </a:lnTo>
                  <a:lnTo>
                    <a:pt x="662" y="221"/>
                  </a:lnTo>
                  <a:lnTo>
                    <a:pt x="655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804"/>
            <p:cNvSpPr>
              <a:spLocks/>
            </p:cNvSpPr>
            <p:nvPr/>
          </p:nvSpPr>
          <p:spPr bwMode="auto">
            <a:xfrm>
              <a:off x="1030288" y="5541963"/>
              <a:ext cx="9525" cy="7938"/>
            </a:xfrm>
            <a:custGeom>
              <a:avLst/>
              <a:gdLst>
                <a:gd name="T0" fmla="*/ 12 w 25"/>
                <a:gd name="T1" fmla="*/ 0 h 24"/>
                <a:gd name="T2" fmla="*/ 8 w 25"/>
                <a:gd name="T3" fmla="*/ 1 h 24"/>
                <a:gd name="T4" fmla="*/ 4 w 25"/>
                <a:gd name="T5" fmla="*/ 3 h 24"/>
                <a:gd name="T6" fmla="*/ 1 w 25"/>
                <a:gd name="T7" fmla="*/ 7 h 24"/>
                <a:gd name="T8" fmla="*/ 0 w 25"/>
                <a:gd name="T9" fmla="*/ 12 h 24"/>
                <a:gd name="T10" fmla="*/ 1 w 25"/>
                <a:gd name="T11" fmla="*/ 17 h 24"/>
                <a:gd name="T12" fmla="*/ 4 w 25"/>
                <a:gd name="T13" fmla="*/ 21 h 24"/>
                <a:gd name="T14" fmla="*/ 8 w 25"/>
                <a:gd name="T15" fmla="*/ 23 h 24"/>
                <a:gd name="T16" fmla="*/ 12 w 25"/>
                <a:gd name="T17" fmla="*/ 24 h 24"/>
                <a:gd name="T18" fmla="*/ 17 w 25"/>
                <a:gd name="T19" fmla="*/ 23 h 24"/>
                <a:gd name="T20" fmla="*/ 22 w 25"/>
                <a:gd name="T21" fmla="*/ 21 h 24"/>
                <a:gd name="T22" fmla="*/ 24 w 25"/>
                <a:gd name="T23" fmla="*/ 17 h 24"/>
                <a:gd name="T24" fmla="*/ 25 w 25"/>
                <a:gd name="T25" fmla="*/ 12 h 24"/>
                <a:gd name="T26" fmla="*/ 24 w 25"/>
                <a:gd name="T27" fmla="*/ 7 h 24"/>
                <a:gd name="T28" fmla="*/ 22 w 25"/>
                <a:gd name="T29" fmla="*/ 3 h 24"/>
                <a:gd name="T30" fmla="*/ 17 w 25"/>
                <a:gd name="T31" fmla="*/ 1 h 24"/>
                <a:gd name="T32" fmla="*/ 12 w 25"/>
                <a:gd name="T3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7" y="23"/>
                  </a:lnTo>
                  <a:lnTo>
                    <a:pt x="22" y="21"/>
                  </a:lnTo>
                  <a:lnTo>
                    <a:pt x="24" y="17"/>
                  </a:lnTo>
                  <a:lnTo>
                    <a:pt x="25" y="12"/>
                  </a:lnTo>
                  <a:lnTo>
                    <a:pt x="24" y="7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Freeform 2805"/>
          <p:cNvSpPr>
            <a:spLocks noEditPoints="1"/>
          </p:cNvSpPr>
          <p:nvPr/>
        </p:nvSpPr>
        <p:spPr bwMode="auto">
          <a:xfrm>
            <a:off x="8302048" y="3487929"/>
            <a:ext cx="285750" cy="287338"/>
          </a:xfrm>
          <a:custGeom>
            <a:avLst/>
            <a:gdLst>
              <a:gd name="T0" fmla="*/ 569 w 721"/>
              <a:gd name="T1" fmla="*/ 480 h 722"/>
              <a:gd name="T2" fmla="*/ 148 w 721"/>
              <a:gd name="T3" fmla="*/ 478 h 722"/>
              <a:gd name="T4" fmla="*/ 146 w 721"/>
              <a:gd name="T5" fmla="*/ 176 h 722"/>
              <a:gd name="T6" fmla="*/ 565 w 721"/>
              <a:gd name="T7" fmla="*/ 169 h 722"/>
              <a:gd name="T8" fmla="*/ 577 w 721"/>
              <a:gd name="T9" fmla="*/ 181 h 722"/>
              <a:gd name="T10" fmla="*/ 440 w 721"/>
              <a:gd name="T11" fmla="*/ 576 h 722"/>
              <a:gd name="T12" fmla="*/ 434 w 721"/>
              <a:gd name="T13" fmla="*/ 561 h 722"/>
              <a:gd name="T14" fmla="*/ 517 w 721"/>
              <a:gd name="T15" fmla="*/ 553 h 722"/>
              <a:gd name="T16" fmla="*/ 529 w 721"/>
              <a:gd name="T17" fmla="*/ 565 h 722"/>
              <a:gd name="T18" fmla="*/ 517 w 721"/>
              <a:gd name="T19" fmla="*/ 577 h 722"/>
              <a:gd name="T20" fmla="*/ 529 w 721"/>
              <a:gd name="T21" fmla="*/ 673 h 722"/>
              <a:gd name="T22" fmla="*/ 201 w 721"/>
              <a:gd name="T23" fmla="*/ 576 h 722"/>
              <a:gd name="T24" fmla="*/ 193 w 721"/>
              <a:gd name="T25" fmla="*/ 561 h 722"/>
              <a:gd name="T26" fmla="*/ 277 w 721"/>
              <a:gd name="T27" fmla="*/ 553 h 722"/>
              <a:gd name="T28" fmla="*/ 289 w 721"/>
              <a:gd name="T29" fmla="*/ 565 h 722"/>
              <a:gd name="T30" fmla="*/ 277 w 721"/>
              <a:gd name="T31" fmla="*/ 577 h 722"/>
              <a:gd name="T32" fmla="*/ 241 w 721"/>
              <a:gd name="T33" fmla="*/ 673 h 722"/>
              <a:gd name="T34" fmla="*/ 244 w 721"/>
              <a:gd name="T35" fmla="*/ 52 h 722"/>
              <a:gd name="T36" fmla="*/ 474 w 721"/>
              <a:gd name="T37" fmla="*/ 50 h 722"/>
              <a:gd name="T38" fmla="*/ 481 w 721"/>
              <a:gd name="T39" fmla="*/ 132 h 722"/>
              <a:gd name="T40" fmla="*/ 469 w 721"/>
              <a:gd name="T41" fmla="*/ 145 h 722"/>
              <a:gd name="T42" fmla="*/ 241 w 721"/>
              <a:gd name="T43" fmla="*/ 137 h 722"/>
              <a:gd name="T44" fmla="*/ 638 w 721"/>
              <a:gd name="T45" fmla="*/ 193 h 722"/>
              <a:gd name="T46" fmla="*/ 599 w 721"/>
              <a:gd name="T47" fmla="*/ 97 h 722"/>
              <a:gd name="T48" fmla="*/ 581 w 721"/>
              <a:gd name="T49" fmla="*/ 54 h 722"/>
              <a:gd name="T50" fmla="*/ 547 w 721"/>
              <a:gd name="T51" fmla="*/ 22 h 722"/>
              <a:gd name="T52" fmla="*/ 504 w 721"/>
              <a:gd name="T53" fmla="*/ 3 h 722"/>
              <a:gd name="T54" fmla="*/ 229 w 721"/>
              <a:gd name="T55" fmla="*/ 1 h 722"/>
              <a:gd name="T56" fmla="*/ 184 w 721"/>
              <a:gd name="T57" fmla="*/ 16 h 722"/>
              <a:gd name="T58" fmla="*/ 149 w 721"/>
              <a:gd name="T59" fmla="*/ 45 h 722"/>
              <a:gd name="T60" fmla="*/ 126 w 721"/>
              <a:gd name="T61" fmla="*/ 86 h 722"/>
              <a:gd name="T62" fmla="*/ 120 w 721"/>
              <a:gd name="T63" fmla="*/ 193 h 722"/>
              <a:gd name="T64" fmla="*/ 4 w 721"/>
              <a:gd name="T65" fmla="*/ 196 h 722"/>
              <a:gd name="T66" fmla="*/ 1 w 721"/>
              <a:gd name="T67" fmla="*/ 426 h 722"/>
              <a:gd name="T68" fmla="*/ 85 w 721"/>
              <a:gd name="T69" fmla="*/ 433 h 722"/>
              <a:gd name="T70" fmla="*/ 97 w 721"/>
              <a:gd name="T71" fmla="*/ 421 h 722"/>
              <a:gd name="T72" fmla="*/ 121 w 721"/>
              <a:gd name="T73" fmla="*/ 634 h 722"/>
              <a:gd name="T74" fmla="*/ 144 w 721"/>
              <a:gd name="T75" fmla="*/ 665 h 722"/>
              <a:gd name="T76" fmla="*/ 169 w 721"/>
              <a:gd name="T77" fmla="*/ 709 h 722"/>
              <a:gd name="T78" fmla="*/ 180 w 721"/>
              <a:gd name="T79" fmla="*/ 722 h 722"/>
              <a:gd name="T80" fmla="*/ 264 w 721"/>
              <a:gd name="T81" fmla="*/ 715 h 722"/>
              <a:gd name="T82" fmla="*/ 457 w 721"/>
              <a:gd name="T83" fmla="*/ 709 h 722"/>
              <a:gd name="T84" fmla="*/ 469 w 721"/>
              <a:gd name="T85" fmla="*/ 722 h 722"/>
              <a:gd name="T86" fmla="*/ 552 w 721"/>
              <a:gd name="T87" fmla="*/ 715 h 722"/>
              <a:gd name="T88" fmla="*/ 570 w 721"/>
              <a:gd name="T89" fmla="*/ 669 h 722"/>
              <a:gd name="T90" fmla="*/ 597 w 721"/>
              <a:gd name="T91" fmla="*/ 642 h 722"/>
              <a:gd name="T92" fmla="*/ 625 w 721"/>
              <a:gd name="T93" fmla="*/ 217 h 722"/>
              <a:gd name="T94" fmla="*/ 632 w 721"/>
              <a:gd name="T95" fmla="*/ 432 h 722"/>
              <a:gd name="T96" fmla="*/ 718 w 721"/>
              <a:gd name="T97" fmla="*/ 430 h 722"/>
              <a:gd name="T98" fmla="*/ 720 w 721"/>
              <a:gd name="T99" fmla="*/ 200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21" h="722">
                <a:moveTo>
                  <a:pt x="577" y="469"/>
                </a:moveTo>
                <a:lnTo>
                  <a:pt x="577" y="474"/>
                </a:lnTo>
                <a:lnTo>
                  <a:pt x="574" y="478"/>
                </a:lnTo>
                <a:lnTo>
                  <a:pt x="569" y="480"/>
                </a:lnTo>
                <a:lnTo>
                  <a:pt x="565" y="481"/>
                </a:lnTo>
                <a:lnTo>
                  <a:pt x="157" y="481"/>
                </a:lnTo>
                <a:lnTo>
                  <a:pt x="152" y="480"/>
                </a:lnTo>
                <a:lnTo>
                  <a:pt x="148" y="478"/>
                </a:lnTo>
                <a:lnTo>
                  <a:pt x="146" y="474"/>
                </a:lnTo>
                <a:lnTo>
                  <a:pt x="145" y="469"/>
                </a:lnTo>
                <a:lnTo>
                  <a:pt x="145" y="181"/>
                </a:lnTo>
                <a:lnTo>
                  <a:pt x="146" y="176"/>
                </a:lnTo>
                <a:lnTo>
                  <a:pt x="148" y="173"/>
                </a:lnTo>
                <a:lnTo>
                  <a:pt x="152" y="170"/>
                </a:lnTo>
                <a:lnTo>
                  <a:pt x="157" y="169"/>
                </a:lnTo>
                <a:lnTo>
                  <a:pt x="565" y="169"/>
                </a:lnTo>
                <a:lnTo>
                  <a:pt x="569" y="170"/>
                </a:lnTo>
                <a:lnTo>
                  <a:pt x="574" y="173"/>
                </a:lnTo>
                <a:lnTo>
                  <a:pt x="577" y="176"/>
                </a:lnTo>
                <a:lnTo>
                  <a:pt x="577" y="181"/>
                </a:lnTo>
                <a:lnTo>
                  <a:pt x="577" y="469"/>
                </a:lnTo>
                <a:close/>
                <a:moveTo>
                  <a:pt x="517" y="577"/>
                </a:moveTo>
                <a:lnTo>
                  <a:pt x="444" y="577"/>
                </a:lnTo>
                <a:lnTo>
                  <a:pt x="440" y="576"/>
                </a:lnTo>
                <a:lnTo>
                  <a:pt x="436" y="573"/>
                </a:lnTo>
                <a:lnTo>
                  <a:pt x="434" y="570"/>
                </a:lnTo>
                <a:lnTo>
                  <a:pt x="433" y="565"/>
                </a:lnTo>
                <a:lnTo>
                  <a:pt x="434" y="561"/>
                </a:lnTo>
                <a:lnTo>
                  <a:pt x="436" y="557"/>
                </a:lnTo>
                <a:lnTo>
                  <a:pt x="440" y="554"/>
                </a:lnTo>
                <a:lnTo>
                  <a:pt x="444" y="553"/>
                </a:lnTo>
                <a:lnTo>
                  <a:pt x="517" y="553"/>
                </a:lnTo>
                <a:lnTo>
                  <a:pt x="522" y="554"/>
                </a:lnTo>
                <a:lnTo>
                  <a:pt x="526" y="557"/>
                </a:lnTo>
                <a:lnTo>
                  <a:pt x="528" y="561"/>
                </a:lnTo>
                <a:lnTo>
                  <a:pt x="529" y="565"/>
                </a:lnTo>
                <a:lnTo>
                  <a:pt x="528" y="570"/>
                </a:lnTo>
                <a:lnTo>
                  <a:pt x="526" y="573"/>
                </a:lnTo>
                <a:lnTo>
                  <a:pt x="522" y="576"/>
                </a:lnTo>
                <a:lnTo>
                  <a:pt x="517" y="577"/>
                </a:lnTo>
                <a:close/>
                <a:moveTo>
                  <a:pt x="529" y="697"/>
                </a:moveTo>
                <a:lnTo>
                  <a:pt x="481" y="697"/>
                </a:lnTo>
                <a:lnTo>
                  <a:pt x="481" y="673"/>
                </a:lnTo>
                <a:lnTo>
                  <a:pt x="529" y="673"/>
                </a:lnTo>
                <a:lnTo>
                  <a:pt x="529" y="697"/>
                </a:lnTo>
                <a:close/>
                <a:moveTo>
                  <a:pt x="277" y="577"/>
                </a:moveTo>
                <a:lnTo>
                  <a:pt x="205" y="577"/>
                </a:lnTo>
                <a:lnTo>
                  <a:pt x="201" y="576"/>
                </a:lnTo>
                <a:lnTo>
                  <a:pt x="197" y="573"/>
                </a:lnTo>
                <a:lnTo>
                  <a:pt x="193" y="570"/>
                </a:lnTo>
                <a:lnTo>
                  <a:pt x="192" y="565"/>
                </a:lnTo>
                <a:lnTo>
                  <a:pt x="193" y="561"/>
                </a:lnTo>
                <a:lnTo>
                  <a:pt x="197" y="557"/>
                </a:lnTo>
                <a:lnTo>
                  <a:pt x="201" y="554"/>
                </a:lnTo>
                <a:lnTo>
                  <a:pt x="205" y="553"/>
                </a:lnTo>
                <a:lnTo>
                  <a:pt x="277" y="553"/>
                </a:lnTo>
                <a:lnTo>
                  <a:pt x="282" y="554"/>
                </a:lnTo>
                <a:lnTo>
                  <a:pt x="285" y="557"/>
                </a:lnTo>
                <a:lnTo>
                  <a:pt x="288" y="561"/>
                </a:lnTo>
                <a:lnTo>
                  <a:pt x="289" y="565"/>
                </a:lnTo>
                <a:lnTo>
                  <a:pt x="288" y="570"/>
                </a:lnTo>
                <a:lnTo>
                  <a:pt x="285" y="573"/>
                </a:lnTo>
                <a:lnTo>
                  <a:pt x="282" y="576"/>
                </a:lnTo>
                <a:lnTo>
                  <a:pt x="277" y="577"/>
                </a:lnTo>
                <a:close/>
                <a:moveTo>
                  <a:pt x="241" y="697"/>
                </a:moveTo>
                <a:lnTo>
                  <a:pt x="192" y="697"/>
                </a:lnTo>
                <a:lnTo>
                  <a:pt x="192" y="673"/>
                </a:lnTo>
                <a:lnTo>
                  <a:pt x="241" y="673"/>
                </a:lnTo>
                <a:lnTo>
                  <a:pt x="241" y="697"/>
                </a:lnTo>
                <a:close/>
                <a:moveTo>
                  <a:pt x="241" y="61"/>
                </a:moveTo>
                <a:lnTo>
                  <a:pt x="241" y="56"/>
                </a:lnTo>
                <a:lnTo>
                  <a:pt x="244" y="52"/>
                </a:lnTo>
                <a:lnTo>
                  <a:pt x="248" y="50"/>
                </a:lnTo>
                <a:lnTo>
                  <a:pt x="252" y="49"/>
                </a:lnTo>
                <a:lnTo>
                  <a:pt x="469" y="49"/>
                </a:lnTo>
                <a:lnTo>
                  <a:pt x="474" y="50"/>
                </a:lnTo>
                <a:lnTo>
                  <a:pt x="477" y="52"/>
                </a:lnTo>
                <a:lnTo>
                  <a:pt x="480" y="56"/>
                </a:lnTo>
                <a:lnTo>
                  <a:pt x="481" y="61"/>
                </a:lnTo>
                <a:lnTo>
                  <a:pt x="481" y="132"/>
                </a:lnTo>
                <a:lnTo>
                  <a:pt x="480" y="137"/>
                </a:lnTo>
                <a:lnTo>
                  <a:pt x="477" y="141"/>
                </a:lnTo>
                <a:lnTo>
                  <a:pt x="474" y="144"/>
                </a:lnTo>
                <a:lnTo>
                  <a:pt x="469" y="145"/>
                </a:lnTo>
                <a:lnTo>
                  <a:pt x="252" y="145"/>
                </a:lnTo>
                <a:lnTo>
                  <a:pt x="248" y="144"/>
                </a:lnTo>
                <a:lnTo>
                  <a:pt x="244" y="141"/>
                </a:lnTo>
                <a:lnTo>
                  <a:pt x="241" y="137"/>
                </a:lnTo>
                <a:lnTo>
                  <a:pt x="241" y="132"/>
                </a:lnTo>
                <a:lnTo>
                  <a:pt x="241" y="61"/>
                </a:lnTo>
                <a:close/>
                <a:moveTo>
                  <a:pt x="710" y="193"/>
                </a:moveTo>
                <a:lnTo>
                  <a:pt x="638" y="193"/>
                </a:lnTo>
                <a:lnTo>
                  <a:pt x="601" y="193"/>
                </a:lnTo>
                <a:lnTo>
                  <a:pt x="601" y="121"/>
                </a:lnTo>
                <a:lnTo>
                  <a:pt x="601" y="109"/>
                </a:lnTo>
                <a:lnTo>
                  <a:pt x="599" y="97"/>
                </a:lnTo>
                <a:lnTo>
                  <a:pt x="596" y="86"/>
                </a:lnTo>
                <a:lnTo>
                  <a:pt x="592" y="74"/>
                </a:lnTo>
                <a:lnTo>
                  <a:pt x="587" y="64"/>
                </a:lnTo>
                <a:lnTo>
                  <a:pt x="581" y="54"/>
                </a:lnTo>
                <a:lnTo>
                  <a:pt x="574" y="45"/>
                </a:lnTo>
                <a:lnTo>
                  <a:pt x="565" y="37"/>
                </a:lnTo>
                <a:lnTo>
                  <a:pt x="557" y="29"/>
                </a:lnTo>
                <a:lnTo>
                  <a:pt x="547" y="22"/>
                </a:lnTo>
                <a:lnTo>
                  <a:pt x="538" y="16"/>
                </a:lnTo>
                <a:lnTo>
                  <a:pt x="527" y="10"/>
                </a:lnTo>
                <a:lnTo>
                  <a:pt x="517" y="6"/>
                </a:lnTo>
                <a:lnTo>
                  <a:pt x="504" y="3"/>
                </a:lnTo>
                <a:lnTo>
                  <a:pt x="493" y="1"/>
                </a:lnTo>
                <a:lnTo>
                  <a:pt x="481" y="0"/>
                </a:lnTo>
                <a:lnTo>
                  <a:pt x="241" y="0"/>
                </a:lnTo>
                <a:lnTo>
                  <a:pt x="229" y="1"/>
                </a:lnTo>
                <a:lnTo>
                  <a:pt x="217" y="3"/>
                </a:lnTo>
                <a:lnTo>
                  <a:pt x="206" y="6"/>
                </a:lnTo>
                <a:lnTo>
                  <a:pt x="194" y="10"/>
                </a:lnTo>
                <a:lnTo>
                  <a:pt x="184" y="16"/>
                </a:lnTo>
                <a:lnTo>
                  <a:pt x="174" y="22"/>
                </a:lnTo>
                <a:lnTo>
                  <a:pt x="165" y="29"/>
                </a:lnTo>
                <a:lnTo>
                  <a:pt x="156" y="37"/>
                </a:lnTo>
                <a:lnTo>
                  <a:pt x="149" y="45"/>
                </a:lnTo>
                <a:lnTo>
                  <a:pt x="142" y="54"/>
                </a:lnTo>
                <a:lnTo>
                  <a:pt x="136" y="64"/>
                </a:lnTo>
                <a:lnTo>
                  <a:pt x="130" y="74"/>
                </a:lnTo>
                <a:lnTo>
                  <a:pt x="126" y="86"/>
                </a:lnTo>
                <a:lnTo>
                  <a:pt x="123" y="97"/>
                </a:lnTo>
                <a:lnTo>
                  <a:pt x="121" y="109"/>
                </a:lnTo>
                <a:lnTo>
                  <a:pt x="120" y="121"/>
                </a:lnTo>
                <a:lnTo>
                  <a:pt x="120" y="193"/>
                </a:lnTo>
                <a:lnTo>
                  <a:pt x="85" y="193"/>
                </a:lnTo>
                <a:lnTo>
                  <a:pt x="13" y="193"/>
                </a:lnTo>
                <a:lnTo>
                  <a:pt x="8" y="194"/>
                </a:lnTo>
                <a:lnTo>
                  <a:pt x="4" y="196"/>
                </a:lnTo>
                <a:lnTo>
                  <a:pt x="1" y="200"/>
                </a:lnTo>
                <a:lnTo>
                  <a:pt x="0" y="204"/>
                </a:lnTo>
                <a:lnTo>
                  <a:pt x="0" y="421"/>
                </a:lnTo>
                <a:lnTo>
                  <a:pt x="1" y="426"/>
                </a:lnTo>
                <a:lnTo>
                  <a:pt x="4" y="430"/>
                </a:lnTo>
                <a:lnTo>
                  <a:pt x="8" y="432"/>
                </a:lnTo>
                <a:lnTo>
                  <a:pt x="13" y="433"/>
                </a:lnTo>
                <a:lnTo>
                  <a:pt x="85" y="433"/>
                </a:lnTo>
                <a:lnTo>
                  <a:pt x="90" y="432"/>
                </a:lnTo>
                <a:lnTo>
                  <a:pt x="93" y="430"/>
                </a:lnTo>
                <a:lnTo>
                  <a:pt x="96" y="426"/>
                </a:lnTo>
                <a:lnTo>
                  <a:pt x="97" y="421"/>
                </a:lnTo>
                <a:lnTo>
                  <a:pt x="97" y="217"/>
                </a:lnTo>
                <a:lnTo>
                  <a:pt x="120" y="217"/>
                </a:lnTo>
                <a:lnTo>
                  <a:pt x="120" y="625"/>
                </a:lnTo>
                <a:lnTo>
                  <a:pt x="121" y="634"/>
                </a:lnTo>
                <a:lnTo>
                  <a:pt x="125" y="642"/>
                </a:lnTo>
                <a:lnTo>
                  <a:pt x="129" y="651"/>
                </a:lnTo>
                <a:lnTo>
                  <a:pt x="136" y="658"/>
                </a:lnTo>
                <a:lnTo>
                  <a:pt x="144" y="665"/>
                </a:lnTo>
                <a:lnTo>
                  <a:pt x="152" y="669"/>
                </a:lnTo>
                <a:lnTo>
                  <a:pt x="160" y="672"/>
                </a:lnTo>
                <a:lnTo>
                  <a:pt x="169" y="673"/>
                </a:lnTo>
                <a:lnTo>
                  <a:pt x="169" y="709"/>
                </a:lnTo>
                <a:lnTo>
                  <a:pt x="170" y="715"/>
                </a:lnTo>
                <a:lnTo>
                  <a:pt x="172" y="718"/>
                </a:lnTo>
                <a:lnTo>
                  <a:pt x="176" y="721"/>
                </a:lnTo>
                <a:lnTo>
                  <a:pt x="180" y="722"/>
                </a:lnTo>
                <a:lnTo>
                  <a:pt x="252" y="722"/>
                </a:lnTo>
                <a:lnTo>
                  <a:pt x="257" y="721"/>
                </a:lnTo>
                <a:lnTo>
                  <a:pt x="262" y="718"/>
                </a:lnTo>
                <a:lnTo>
                  <a:pt x="264" y="715"/>
                </a:lnTo>
                <a:lnTo>
                  <a:pt x="265" y="709"/>
                </a:lnTo>
                <a:lnTo>
                  <a:pt x="265" y="673"/>
                </a:lnTo>
                <a:lnTo>
                  <a:pt x="457" y="673"/>
                </a:lnTo>
                <a:lnTo>
                  <a:pt x="457" y="709"/>
                </a:lnTo>
                <a:lnTo>
                  <a:pt x="458" y="715"/>
                </a:lnTo>
                <a:lnTo>
                  <a:pt x="461" y="718"/>
                </a:lnTo>
                <a:lnTo>
                  <a:pt x="465" y="721"/>
                </a:lnTo>
                <a:lnTo>
                  <a:pt x="469" y="722"/>
                </a:lnTo>
                <a:lnTo>
                  <a:pt x="541" y="722"/>
                </a:lnTo>
                <a:lnTo>
                  <a:pt x="546" y="721"/>
                </a:lnTo>
                <a:lnTo>
                  <a:pt x="549" y="718"/>
                </a:lnTo>
                <a:lnTo>
                  <a:pt x="552" y="715"/>
                </a:lnTo>
                <a:lnTo>
                  <a:pt x="553" y="709"/>
                </a:lnTo>
                <a:lnTo>
                  <a:pt x="553" y="673"/>
                </a:lnTo>
                <a:lnTo>
                  <a:pt x="561" y="672"/>
                </a:lnTo>
                <a:lnTo>
                  <a:pt x="570" y="669"/>
                </a:lnTo>
                <a:lnTo>
                  <a:pt x="579" y="665"/>
                </a:lnTo>
                <a:lnTo>
                  <a:pt x="586" y="658"/>
                </a:lnTo>
                <a:lnTo>
                  <a:pt x="592" y="651"/>
                </a:lnTo>
                <a:lnTo>
                  <a:pt x="597" y="642"/>
                </a:lnTo>
                <a:lnTo>
                  <a:pt x="600" y="634"/>
                </a:lnTo>
                <a:lnTo>
                  <a:pt x="601" y="625"/>
                </a:lnTo>
                <a:lnTo>
                  <a:pt x="601" y="217"/>
                </a:lnTo>
                <a:lnTo>
                  <a:pt x="625" y="217"/>
                </a:lnTo>
                <a:lnTo>
                  <a:pt x="625" y="421"/>
                </a:lnTo>
                <a:lnTo>
                  <a:pt x="626" y="426"/>
                </a:lnTo>
                <a:lnTo>
                  <a:pt x="628" y="430"/>
                </a:lnTo>
                <a:lnTo>
                  <a:pt x="632" y="432"/>
                </a:lnTo>
                <a:lnTo>
                  <a:pt x="638" y="433"/>
                </a:lnTo>
                <a:lnTo>
                  <a:pt x="710" y="433"/>
                </a:lnTo>
                <a:lnTo>
                  <a:pt x="714" y="432"/>
                </a:lnTo>
                <a:lnTo>
                  <a:pt x="718" y="430"/>
                </a:lnTo>
                <a:lnTo>
                  <a:pt x="720" y="426"/>
                </a:lnTo>
                <a:lnTo>
                  <a:pt x="721" y="421"/>
                </a:lnTo>
                <a:lnTo>
                  <a:pt x="721" y="204"/>
                </a:lnTo>
                <a:lnTo>
                  <a:pt x="720" y="200"/>
                </a:lnTo>
                <a:lnTo>
                  <a:pt x="718" y="196"/>
                </a:lnTo>
                <a:lnTo>
                  <a:pt x="714" y="194"/>
                </a:lnTo>
                <a:lnTo>
                  <a:pt x="710" y="1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Group 55"/>
          <p:cNvGrpSpPr/>
          <p:nvPr/>
        </p:nvGrpSpPr>
        <p:grpSpPr>
          <a:xfrm>
            <a:off x="10471402" y="3487929"/>
            <a:ext cx="238125" cy="287338"/>
            <a:chOff x="5505450" y="5364163"/>
            <a:chExt cx="238125" cy="287338"/>
          </a:xfrm>
          <a:solidFill>
            <a:schemeClr val="bg1"/>
          </a:solidFill>
        </p:grpSpPr>
        <p:sp>
          <p:nvSpPr>
            <p:cNvPr id="57" name="Freeform 2822"/>
            <p:cNvSpPr>
              <a:spLocks noEditPoints="1"/>
            </p:cNvSpPr>
            <p:nvPr/>
          </p:nvSpPr>
          <p:spPr bwMode="auto">
            <a:xfrm>
              <a:off x="5505450" y="5392738"/>
              <a:ext cx="238125" cy="258763"/>
            </a:xfrm>
            <a:custGeom>
              <a:avLst/>
              <a:gdLst>
                <a:gd name="T0" fmla="*/ 300 w 601"/>
                <a:gd name="T1" fmla="*/ 541 h 650"/>
                <a:gd name="T2" fmla="*/ 96 w 601"/>
                <a:gd name="T3" fmla="*/ 376 h 650"/>
                <a:gd name="T4" fmla="*/ 81 w 601"/>
                <a:gd name="T5" fmla="*/ 368 h 650"/>
                <a:gd name="T6" fmla="*/ 90 w 601"/>
                <a:gd name="T7" fmla="*/ 354 h 650"/>
                <a:gd name="T8" fmla="*/ 146 w 601"/>
                <a:gd name="T9" fmla="*/ 119 h 650"/>
                <a:gd name="T10" fmla="*/ 180 w 601"/>
                <a:gd name="T11" fmla="*/ 97 h 650"/>
                <a:gd name="T12" fmla="*/ 449 w 601"/>
                <a:gd name="T13" fmla="*/ 113 h 650"/>
                <a:gd name="T14" fmla="*/ 312 w 601"/>
                <a:gd name="T15" fmla="*/ 293 h 650"/>
                <a:gd name="T16" fmla="*/ 511 w 601"/>
                <a:gd name="T17" fmla="*/ 372 h 650"/>
                <a:gd name="T18" fmla="*/ 312 w 601"/>
                <a:gd name="T19" fmla="*/ 317 h 650"/>
                <a:gd name="T20" fmla="*/ 387 w 601"/>
                <a:gd name="T21" fmla="*/ 625 h 650"/>
                <a:gd name="T22" fmla="*/ 222 w 601"/>
                <a:gd name="T23" fmla="*/ 625 h 650"/>
                <a:gd name="T24" fmla="*/ 577 w 601"/>
                <a:gd name="T25" fmla="*/ 597 h 650"/>
                <a:gd name="T26" fmla="*/ 566 w 601"/>
                <a:gd name="T27" fmla="*/ 621 h 650"/>
                <a:gd name="T28" fmla="*/ 540 w 601"/>
                <a:gd name="T29" fmla="*/ 621 h 650"/>
                <a:gd name="T30" fmla="*/ 528 w 601"/>
                <a:gd name="T31" fmla="*/ 595 h 650"/>
                <a:gd name="T32" fmla="*/ 515 w 601"/>
                <a:gd name="T33" fmla="*/ 563 h 650"/>
                <a:gd name="T34" fmla="*/ 487 w 601"/>
                <a:gd name="T35" fmla="*/ 544 h 650"/>
                <a:gd name="T36" fmla="*/ 551 w 601"/>
                <a:gd name="T37" fmla="*/ 289 h 650"/>
                <a:gd name="T38" fmla="*/ 564 w 601"/>
                <a:gd name="T39" fmla="*/ 276 h 650"/>
                <a:gd name="T40" fmla="*/ 480 w 601"/>
                <a:gd name="T41" fmla="*/ 132 h 650"/>
                <a:gd name="T42" fmla="*/ 470 w 601"/>
                <a:gd name="T43" fmla="*/ 100 h 650"/>
                <a:gd name="T44" fmla="*/ 443 w 601"/>
                <a:gd name="T45" fmla="*/ 78 h 650"/>
                <a:gd name="T46" fmla="*/ 360 w 601"/>
                <a:gd name="T47" fmla="*/ 0 h 650"/>
                <a:gd name="T48" fmla="*/ 162 w 601"/>
                <a:gd name="T49" fmla="*/ 76 h 650"/>
                <a:gd name="T50" fmla="*/ 133 w 601"/>
                <a:gd name="T51" fmla="*/ 95 h 650"/>
                <a:gd name="T52" fmla="*/ 120 w 601"/>
                <a:gd name="T53" fmla="*/ 126 h 650"/>
                <a:gd name="T54" fmla="*/ 38 w 601"/>
                <a:gd name="T55" fmla="*/ 271 h 650"/>
                <a:gd name="T56" fmla="*/ 50 w 601"/>
                <a:gd name="T57" fmla="*/ 289 h 650"/>
                <a:gd name="T58" fmla="*/ 86 w 601"/>
                <a:gd name="T59" fmla="*/ 563 h 650"/>
                <a:gd name="T60" fmla="*/ 70 w 601"/>
                <a:gd name="T61" fmla="*/ 610 h 650"/>
                <a:gd name="T62" fmla="*/ 48 w 601"/>
                <a:gd name="T63" fmla="*/ 625 h 650"/>
                <a:gd name="T64" fmla="*/ 27 w 601"/>
                <a:gd name="T65" fmla="*/ 610 h 650"/>
                <a:gd name="T66" fmla="*/ 12 w 601"/>
                <a:gd name="T67" fmla="*/ 589 h 650"/>
                <a:gd name="T68" fmla="*/ 4 w 601"/>
                <a:gd name="T69" fmla="*/ 620 h 650"/>
                <a:gd name="T70" fmla="*/ 48 w 601"/>
                <a:gd name="T71" fmla="*/ 650 h 650"/>
                <a:gd name="T72" fmla="*/ 93 w 601"/>
                <a:gd name="T73" fmla="*/ 620 h 650"/>
                <a:gd name="T74" fmla="*/ 107 w 601"/>
                <a:gd name="T75" fmla="*/ 575 h 650"/>
                <a:gd name="T76" fmla="*/ 146 w 601"/>
                <a:gd name="T77" fmla="*/ 568 h 650"/>
                <a:gd name="T78" fmla="*/ 169 w 601"/>
                <a:gd name="T79" fmla="*/ 601 h 650"/>
                <a:gd name="T80" fmla="*/ 198 w 601"/>
                <a:gd name="T81" fmla="*/ 646 h 650"/>
                <a:gd name="T82" fmla="*/ 250 w 601"/>
                <a:gd name="T83" fmla="*/ 635 h 650"/>
                <a:gd name="T84" fmla="*/ 267 w 601"/>
                <a:gd name="T85" fmla="*/ 588 h 650"/>
                <a:gd name="T86" fmla="*/ 301 w 601"/>
                <a:gd name="T87" fmla="*/ 565 h 650"/>
                <a:gd name="T88" fmla="*/ 333 w 601"/>
                <a:gd name="T89" fmla="*/ 588 h 650"/>
                <a:gd name="T90" fmla="*/ 351 w 601"/>
                <a:gd name="T91" fmla="*/ 635 h 650"/>
                <a:gd name="T92" fmla="*/ 404 w 601"/>
                <a:gd name="T93" fmla="*/ 646 h 650"/>
                <a:gd name="T94" fmla="*/ 433 w 601"/>
                <a:gd name="T95" fmla="*/ 601 h 650"/>
                <a:gd name="T96" fmla="*/ 454 w 601"/>
                <a:gd name="T97" fmla="*/ 568 h 650"/>
                <a:gd name="T98" fmla="*/ 494 w 601"/>
                <a:gd name="T99" fmla="*/ 575 h 650"/>
                <a:gd name="T100" fmla="*/ 508 w 601"/>
                <a:gd name="T101" fmla="*/ 620 h 650"/>
                <a:gd name="T102" fmla="*/ 553 w 601"/>
                <a:gd name="T103" fmla="*/ 650 h 650"/>
                <a:gd name="T104" fmla="*/ 597 w 601"/>
                <a:gd name="T105" fmla="*/ 620 h 650"/>
                <a:gd name="T106" fmla="*/ 588 w 601"/>
                <a:gd name="T107" fmla="*/ 58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1" h="650">
                  <a:moveTo>
                    <a:pt x="312" y="317"/>
                  </a:moveTo>
                  <a:lnTo>
                    <a:pt x="312" y="529"/>
                  </a:lnTo>
                  <a:lnTo>
                    <a:pt x="311" y="534"/>
                  </a:lnTo>
                  <a:lnTo>
                    <a:pt x="308" y="538"/>
                  </a:lnTo>
                  <a:lnTo>
                    <a:pt x="304" y="540"/>
                  </a:lnTo>
                  <a:lnTo>
                    <a:pt x="300" y="541"/>
                  </a:lnTo>
                  <a:lnTo>
                    <a:pt x="295" y="540"/>
                  </a:lnTo>
                  <a:lnTo>
                    <a:pt x="292" y="538"/>
                  </a:lnTo>
                  <a:lnTo>
                    <a:pt x="289" y="534"/>
                  </a:lnTo>
                  <a:lnTo>
                    <a:pt x="288" y="529"/>
                  </a:lnTo>
                  <a:lnTo>
                    <a:pt x="288" y="317"/>
                  </a:lnTo>
                  <a:lnTo>
                    <a:pt x="96" y="376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0" y="377"/>
                  </a:lnTo>
                  <a:lnTo>
                    <a:pt x="86" y="376"/>
                  </a:lnTo>
                  <a:lnTo>
                    <a:pt x="83" y="373"/>
                  </a:lnTo>
                  <a:lnTo>
                    <a:pt x="81" y="368"/>
                  </a:lnTo>
                  <a:lnTo>
                    <a:pt x="80" y="363"/>
                  </a:lnTo>
                  <a:lnTo>
                    <a:pt x="82" y="359"/>
                  </a:lnTo>
                  <a:lnTo>
                    <a:pt x="83" y="357"/>
                  </a:lnTo>
                  <a:lnTo>
                    <a:pt x="84" y="356"/>
                  </a:lnTo>
                  <a:lnTo>
                    <a:pt x="86" y="355"/>
                  </a:lnTo>
                  <a:lnTo>
                    <a:pt x="90" y="354"/>
                  </a:lnTo>
                  <a:lnTo>
                    <a:pt x="288" y="293"/>
                  </a:lnTo>
                  <a:lnTo>
                    <a:pt x="288" y="208"/>
                  </a:lnTo>
                  <a:lnTo>
                    <a:pt x="143" y="242"/>
                  </a:lnTo>
                  <a:lnTo>
                    <a:pt x="143" y="132"/>
                  </a:lnTo>
                  <a:lnTo>
                    <a:pt x="144" y="125"/>
                  </a:lnTo>
                  <a:lnTo>
                    <a:pt x="146" y="119"/>
                  </a:lnTo>
                  <a:lnTo>
                    <a:pt x="149" y="113"/>
                  </a:lnTo>
                  <a:lnTo>
                    <a:pt x="155" y="108"/>
                  </a:lnTo>
                  <a:lnTo>
                    <a:pt x="160" y="103"/>
                  </a:lnTo>
                  <a:lnTo>
                    <a:pt x="166" y="100"/>
                  </a:lnTo>
                  <a:lnTo>
                    <a:pt x="173" y="98"/>
                  </a:lnTo>
                  <a:lnTo>
                    <a:pt x="180" y="97"/>
                  </a:lnTo>
                  <a:lnTo>
                    <a:pt x="420" y="97"/>
                  </a:lnTo>
                  <a:lnTo>
                    <a:pt x="427" y="98"/>
                  </a:lnTo>
                  <a:lnTo>
                    <a:pt x="434" y="100"/>
                  </a:lnTo>
                  <a:lnTo>
                    <a:pt x="440" y="103"/>
                  </a:lnTo>
                  <a:lnTo>
                    <a:pt x="445" y="108"/>
                  </a:lnTo>
                  <a:lnTo>
                    <a:pt x="449" y="113"/>
                  </a:lnTo>
                  <a:lnTo>
                    <a:pt x="453" y="119"/>
                  </a:lnTo>
                  <a:lnTo>
                    <a:pt x="455" y="125"/>
                  </a:lnTo>
                  <a:lnTo>
                    <a:pt x="456" y="132"/>
                  </a:lnTo>
                  <a:lnTo>
                    <a:pt x="456" y="242"/>
                  </a:lnTo>
                  <a:lnTo>
                    <a:pt x="312" y="208"/>
                  </a:lnTo>
                  <a:lnTo>
                    <a:pt x="312" y="293"/>
                  </a:lnTo>
                  <a:lnTo>
                    <a:pt x="505" y="354"/>
                  </a:lnTo>
                  <a:lnTo>
                    <a:pt x="509" y="356"/>
                  </a:lnTo>
                  <a:lnTo>
                    <a:pt x="512" y="360"/>
                  </a:lnTo>
                  <a:lnTo>
                    <a:pt x="513" y="364"/>
                  </a:lnTo>
                  <a:lnTo>
                    <a:pt x="513" y="368"/>
                  </a:lnTo>
                  <a:lnTo>
                    <a:pt x="511" y="372"/>
                  </a:lnTo>
                  <a:lnTo>
                    <a:pt x="508" y="374"/>
                  </a:lnTo>
                  <a:lnTo>
                    <a:pt x="505" y="376"/>
                  </a:lnTo>
                  <a:lnTo>
                    <a:pt x="501" y="376"/>
                  </a:lnTo>
                  <a:lnTo>
                    <a:pt x="500" y="376"/>
                  </a:lnTo>
                  <a:lnTo>
                    <a:pt x="498" y="376"/>
                  </a:lnTo>
                  <a:lnTo>
                    <a:pt x="312" y="317"/>
                  </a:lnTo>
                  <a:close/>
                  <a:moveTo>
                    <a:pt x="384" y="625"/>
                  </a:moveTo>
                  <a:lnTo>
                    <a:pt x="384" y="625"/>
                  </a:lnTo>
                  <a:lnTo>
                    <a:pt x="384" y="625"/>
                  </a:lnTo>
                  <a:lnTo>
                    <a:pt x="387" y="625"/>
                  </a:lnTo>
                  <a:lnTo>
                    <a:pt x="389" y="625"/>
                  </a:lnTo>
                  <a:lnTo>
                    <a:pt x="387" y="625"/>
                  </a:lnTo>
                  <a:lnTo>
                    <a:pt x="384" y="625"/>
                  </a:lnTo>
                  <a:close/>
                  <a:moveTo>
                    <a:pt x="217" y="625"/>
                  </a:moveTo>
                  <a:lnTo>
                    <a:pt x="217" y="625"/>
                  </a:lnTo>
                  <a:lnTo>
                    <a:pt x="217" y="625"/>
                  </a:lnTo>
                  <a:lnTo>
                    <a:pt x="219" y="625"/>
                  </a:lnTo>
                  <a:lnTo>
                    <a:pt x="222" y="625"/>
                  </a:lnTo>
                  <a:lnTo>
                    <a:pt x="219" y="625"/>
                  </a:lnTo>
                  <a:lnTo>
                    <a:pt x="217" y="625"/>
                  </a:lnTo>
                  <a:close/>
                  <a:moveTo>
                    <a:pt x="588" y="589"/>
                  </a:moveTo>
                  <a:lnTo>
                    <a:pt x="584" y="590"/>
                  </a:lnTo>
                  <a:lnTo>
                    <a:pt x="580" y="593"/>
                  </a:lnTo>
                  <a:lnTo>
                    <a:pt x="577" y="597"/>
                  </a:lnTo>
                  <a:lnTo>
                    <a:pt x="576" y="601"/>
                  </a:lnTo>
                  <a:lnTo>
                    <a:pt x="576" y="606"/>
                  </a:lnTo>
                  <a:lnTo>
                    <a:pt x="575" y="610"/>
                  </a:lnTo>
                  <a:lnTo>
                    <a:pt x="572" y="614"/>
                  </a:lnTo>
                  <a:lnTo>
                    <a:pt x="569" y="618"/>
                  </a:lnTo>
                  <a:lnTo>
                    <a:pt x="566" y="621"/>
                  </a:lnTo>
                  <a:lnTo>
                    <a:pt x="562" y="623"/>
                  </a:lnTo>
                  <a:lnTo>
                    <a:pt x="558" y="624"/>
                  </a:lnTo>
                  <a:lnTo>
                    <a:pt x="553" y="625"/>
                  </a:lnTo>
                  <a:lnTo>
                    <a:pt x="548" y="624"/>
                  </a:lnTo>
                  <a:lnTo>
                    <a:pt x="544" y="623"/>
                  </a:lnTo>
                  <a:lnTo>
                    <a:pt x="540" y="621"/>
                  </a:lnTo>
                  <a:lnTo>
                    <a:pt x="536" y="618"/>
                  </a:lnTo>
                  <a:lnTo>
                    <a:pt x="533" y="614"/>
                  </a:lnTo>
                  <a:lnTo>
                    <a:pt x="531" y="610"/>
                  </a:lnTo>
                  <a:lnTo>
                    <a:pt x="530" y="606"/>
                  </a:lnTo>
                  <a:lnTo>
                    <a:pt x="528" y="601"/>
                  </a:lnTo>
                  <a:lnTo>
                    <a:pt x="528" y="595"/>
                  </a:lnTo>
                  <a:lnTo>
                    <a:pt x="527" y="590"/>
                  </a:lnTo>
                  <a:lnTo>
                    <a:pt x="525" y="584"/>
                  </a:lnTo>
                  <a:lnTo>
                    <a:pt x="524" y="579"/>
                  </a:lnTo>
                  <a:lnTo>
                    <a:pt x="521" y="572"/>
                  </a:lnTo>
                  <a:lnTo>
                    <a:pt x="518" y="568"/>
                  </a:lnTo>
                  <a:lnTo>
                    <a:pt x="515" y="563"/>
                  </a:lnTo>
                  <a:lnTo>
                    <a:pt x="511" y="559"/>
                  </a:lnTo>
                  <a:lnTo>
                    <a:pt x="507" y="555"/>
                  </a:lnTo>
                  <a:lnTo>
                    <a:pt x="502" y="551"/>
                  </a:lnTo>
                  <a:lnTo>
                    <a:pt x="497" y="548"/>
                  </a:lnTo>
                  <a:lnTo>
                    <a:pt x="492" y="546"/>
                  </a:lnTo>
                  <a:lnTo>
                    <a:pt x="487" y="544"/>
                  </a:lnTo>
                  <a:lnTo>
                    <a:pt x="481" y="542"/>
                  </a:lnTo>
                  <a:lnTo>
                    <a:pt x="475" y="541"/>
                  </a:lnTo>
                  <a:lnTo>
                    <a:pt x="469" y="541"/>
                  </a:lnTo>
                  <a:lnTo>
                    <a:pt x="536" y="285"/>
                  </a:lnTo>
                  <a:lnTo>
                    <a:pt x="549" y="289"/>
                  </a:lnTo>
                  <a:lnTo>
                    <a:pt x="551" y="289"/>
                  </a:lnTo>
                  <a:lnTo>
                    <a:pt x="552" y="289"/>
                  </a:lnTo>
                  <a:lnTo>
                    <a:pt x="556" y="288"/>
                  </a:lnTo>
                  <a:lnTo>
                    <a:pt x="559" y="287"/>
                  </a:lnTo>
                  <a:lnTo>
                    <a:pt x="562" y="284"/>
                  </a:lnTo>
                  <a:lnTo>
                    <a:pt x="564" y="281"/>
                  </a:lnTo>
                  <a:lnTo>
                    <a:pt x="564" y="276"/>
                  </a:lnTo>
                  <a:lnTo>
                    <a:pt x="562" y="271"/>
                  </a:lnTo>
                  <a:lnTo>
                    <a:pt x="559" y="268"/>
                  </a:lnTo>
                  <a:lnTo>
                    <a:pt x="555" y="267"/>
                  </a:lnTo>
                  <a:lnTo>
                    <a:pt x="542" y="263"/>
                  </a:lnTo>
                  <a:lnTo>
                    <a:pt x="480" y="248"/>
                  </a:lnTo>
                  <a:lnTo>
                    <a:pt x="480" y="132"/>
                  </a:lnTo>
                  <a:lnTo>
                    <a:pt x="480" y="126"/>
                  </a:lnTo>
                  <a:lnTo>
                    <a:pt x="479" y="121"/>
                  </a:lnTo>
                  <a:lnTo>
                    <a:pt x="478" y="115"/>
                  </a:lnTo>
                  <a:lnTo>
                    <a:pt x="476" y="110"/>
                  </a:lnTo>
                  <a:lnTo>
                    <a:pt x="473" y="104"/>
                  </a:lnTo>
                  <a:lnTo>
                    <a:pt x="470" y="100"/>
                  </a:lnTo>
                  <a:lnTo>
                    <a:pt x="467" y="95"/>
                  </a:lnTo>
                  <a:lnTo>
                    <a:pt x="462" y="91"/>
                  </a:lnTo>
                  <a:lnTo>
                    <a:pt x="458" y="87"/>
                  </a:lnTo>
                  <a:lnTo>
                    <a:pt x="453" y="84"/>
                  </a:lnTo>
                  <a:lnTo>
                    <a:pt x="448" y="81"/>
                  </a:lnTo>
                  <a:lnTo>
                    <a:pt x="443" y="78"/>
                  </a:lnTo>
                  <a:lnTo>
                    <a:pt x="438" y="76"/>
                  </a:lnTo>
                  <a:lnTo>
                    <a:pt x="432" y="74"/>
                  </a:lnTo>
                  <a:lnTo>
                    <a:pt x="426" y="74"/>
                  </a:lnTo>
                  <a:lnTo>
                    <a:pt x="420" y="73"/>
                  </a:lnTo>
                  <a:lnTo>
                    <a:pt x="360" y="73"/>
                  </a:lnTo>
                  <a:lnTo>
                    <a:pt x="360" y="0"/>
                  </a:lnTo>
                  <a:lnTo>
                    <a:pt x="240" y="0"/>
                  </a:lnTo>
                  <a:lnTo>
                    <a:pt x="240" y="73"/>
                  </a:lnTo>
                  <a:lnTo>
                    <a:pt x="180" y="73"/>
                  </a:lnTo>
                  <a:lnTo>
                    <a:pt x="174" y="74"/>
                  </a:lnTo>
                  <a:lnTo>
                    <a:pt x="168" y="74"/>
                  </a:lnTo>
                  <a:lnTo>
                    <a:pt x="162" y="76"/>
                  </a:lnTo>
                  <a:lnTo>
                    <a:pt x="157" y="78"/>
                  </a:lnTo>
                  <a:lnTo>
                    <a:pt x="152" y="81"/>
                  </a:lnTo>
                  <a:lnTo>
                    <a:pt x="146" y="84"/>
                  </a:lnTo>
                  <a:lnTo>
                    <a:pt x="141" y="87"/>
                  </a:lnTo>
                  <a:lnTo>
                    <a:pt x="137" y="91"/>
                  </a:lnTo>
                  <a:lnTo>
                    <a:pt x="133" y="95"/>
                  </a:lnTo>
                  <a:lnTo>
                    <a:pt x="130" y="100"/>
                  </a:lnTo>
                  <a:lnTo>
                    <a:pt x="127" y="104"/>
                  </a:lnTo>
                  <a:lnTo>
                    <a:pt x="124" y="110"/>
                  </a:lnTo>
                  <a:lnTo>
                    <a:pt x="122" y="115"/>
                  </a:lnTo>
                  <a:lnTo>
                    <a:pt x="121" y="121"/>
                  </a:lnTo>
                  <a:lnTo>
                    <a:pt x="120" y="126"/>
                  </a:lnTo>
                  <a:lnTo>
                    <a:pt x="120" y="132"/>
                  </a:lnTo>
                  <a:lnTo>
                    <a:pt x="120" y="248"/>
                  </a:lnTo>
                  <a:lnTo>
                    <a:pt x="55" y="264"/>
                  </a:lnTo>
                  <a:lnTo>
                    <a:pt x="45" y="267"/>
                  </a:lnTo>
                  <a:lnTo>
                    <a:pt x="41" y="268"/>
                  </a:lnTo>
                  <a:lnTo>
                    <a:pt x="38" y="271"/>
                  </a:lnTo>
                  <a:lnTo>
                    <a:pt x="36" y="276"/>
                  </a:lnTo>
                  <a:lnTo>
                    <a:pt x="36" y="281"/>
                  </a:lnTo>
                  <a:lnTo>
                    <a:pt x="38" y="285"/>
                  </a:lnTo>
                  <a:lnTo>
                    <a:pt x="42" y="287"/>
                  </a:lnTo>
                  <a:lnTo>
                    <a:pt x="46" y="289"/>
                  </a:lnTo>
                  <a:lnTo>
                    <a:pt x="50" y="289"/>
                  </a:lnTo>
                  <a:lnTo>
                    <a:pt x="61" y="287"/>
                  </a:lnTo>
                  <a:lnTo>
                    <a:pt x="120" y="542"/>
                  </a:lnTo>
                  <a:lnTo>
                    <a:pt x="111" y="545"/>
                  </a:lnTo>
                  <a:lnTo>
                    <a:pt x="102" y="550"/>
                  </a:lnTo>
                  <a:lnTo>
                    <a:pt x="94" y="556"/>
                  </a:lnTo>
                  <a:lnTo>
                    <a:pt x="86" y="563"/>
                  </a:lnTo>
                  <a:lnTo>
                    <a:pt x="80" y="571"/>
                  </a:lnTo>
                  <a:lnTo>
                    <a:pt x="76" y="581"/>
                  </a:lnTo>
                  <a:lnTo>
                    <a:pt x="73" y="591"/>
                  </a:lnTo>
                  <a:lnTo>
                    <a:pt x="72" y="601"/>
                  </a:lnTo>
                  <a:lnTo>
                    <a:pt x="72" y="606"/>
                  </a:lnTo>
                  <a:lnTo>
                    <a:pt x="70" y="610"/>
                  </a:lnTo>
                  <a:lnTo>
                    <a:pt x="68" y="614"/>
                  </a:lnTo>
                  <a:lnTo>
                    <a:pt x="65" y="618"/>
                  </a:lnTo>
                  <a:lnTo>
                    <a:pt x="62" y="621"/>
                  </a:lnTo>
                  <a:lnTo>
                    <a:pt x="58" y="623"/>
                  </a:lnTo>
                  <a:lnTo>
                    <a:pt x="53" y="624"/>
                  </a:lnTo>
                  <a:lnTo>
                    <a:pt x="48" y="625"/>
                  </a:lnTo>
                  <a:lnTo>
                    <a:pt x="44" y="624"/>
                  </a:lnTo>
                  <a:lnTo>
                    <a:pt x="39" y="623"/>
                  </a:lnTo>
                  <a:lnTo>
                    <a:pt x="35" y="621"/>
                  </a:lnTo>
                  <a:lnTo>
                    <a:pt x="32" y="618"/>
                  </a:lnTo>
                  <a:lnTo>
                    <a:pt x="29" y="614"/>
                  </a:lnTo>
                  <a:lnTo>
                    <a:pt x="27" y="610"/>
                  </a:lnTo>
                  <a:lnTo>
                    <a:pt x="24" y="606"/>
                  </a:lnTo>
                  <a:lnTo>
                    <a:pt x="24" y="601"/>
                  </a:lnTo>
                  <a:lnTo>
                    <a:pt x="23" y="597"/>
                  </a:lnTo>
                  <a:lnTo>
                    <a:pt x="20" y="593"/>
                  </a:lnTo>
                  <a:lnTo>
                    <a:pt x="17" y="590"/>
                  </a:lnTo>
                  <a:lnTo>
                    <a:pt x="12" y="589"/>
                  </a:lnTo>
                  <a:lnTo>
                    <a:pt x="7" y="590"/>
                  </a:lnTo>
                  <a:lnTo>
                    <a:pt x="4" y="593"/>
                  </a:lnTo>
                  <a:lnTo>
                    <a:pt x="1" y="597"/>
                  </a:lnTo>
                  <a:lnTo>
                    <a:pt x="0" y="601"/>
                  </a:lnTo>
                  <a:lnTo>
                    <a:pt x="1" y="611"/>
                  </a:lnTo>
                  <a:lnTo>
                    <a:pt x="4" y="620"/>
                  </a:lnTo>
                  <a:lnTo>
                    <a:pt x="8" y="628"/>
                  </a:lnTo>
                  <a:lnTo>
                    <a:pt x="14" y="635"/>
                  </a:lnTo>
                  <a:lnTo>
                    <a:pt x="21" y="640"/>
                  </a:lnTo>
                  <a:lnTo>
                    <a:pt x="30" y="646"/>
                  </a:lnTo>
                  <a:lnTo>
                    <a:pt x="39" y="649"/>
                  </a:lnTo>
                  <a:lnTo>
                    <a:pt x="48" y="650"/>
                  </a:lnTo>
                  <a:lnTo>
                    <a:pt x="58" y="649"/>
                  </a:lnTo>
                  <a:lnTo>
                    <a:pt x="67" y="646"/>
                  </a:lnTo>
                  <a:lnTo>
                    <a:pt x="75" y="640"/>
                  </a:lnTo>
                  <a:lnTo>
                    <a:pt x="82" y="635"/>
                  </a:lnTo>
                  <a:lnTo>
                    <a:pt x="89" y="628"/>
                  </a:lnTo>
                  <a:lnTo>
                    <a:pt x="93" y="620"/>
                  </a:lnTo>
                  <a:lnTo>
                    <a:pt x="96" y="611"/>
                  </a:lnTo>
                  <a:lnTo>
                    <a:pt x="97" y="601"/>
                  </a:lnTo>
                  <a:lnTo>
                    <a:pt x="97" y="594"/>
                  </a:lnTo>
                  <a:lnTo>
                    <a:pt x="99" y="588"/>
                  </a:lnTo>
                  <a:lnTo>
                    <a:pt x="103" y="582"/>
                  </a:lnTo>
                  <a:lnTo>
                    <a:pt x="107" y="575"/>
                  </a:lnTo>
                  <a:lnTo>
                    <a:pt x="112" y="571"/>
                  </a:lnTo>
                  <a:lnTo>
                    <a:pt x="118" y="568"/>
                  </a:lnTo>
                  <a:lnTo>
                    <a:pt x="125" y="566"/>
                  </a:lnTo>
                  <a:lnTo>
                    <a:pt x="132" y="565"/>
                  </a:lnTo>
                  <a:lnTo>
                    <a:pt x="139" y="566"/>
                  </a:lnTo>
                  <a:lnTo>
                    <a:pt x="146" y="568"/>
                  </a:lnTo>
                  <a:lnTo>
                    <a:pt x="153" y="571"/>
                  </a:lnTo>
                  <a:lnTo>
                    <a:pt x="158" y="575"/>
                  </a:lnTo>
                  <a:lnTo>
                    <a:pt x="163" y="582"/>
                  </a:lnTo>
                  <a:lnTo>
                    <a:pt x="166" y="588"/>
                  </a:lnTo>
                  <a:lnTo>
                    <a:pt x="168" y="594"/>
                  </a:lnTo>
                  <a:lnTo>
                    <a:pt x="169" y="601"/>
                  </a:lnTo>
                  <a:lnTo>
                    <a:pt x="170" y="611"/>
                  </a:lnTo>
                  <a:lnTo>
                    <a:pt x="172" y="620"/>
                  </a:lnTo>
                  <a:lnTo>
                    <a:pt x="177" y="628"/>
                  </a:lnTo>
                  <a:lnTo>
                    <a:pt x="182" y="635"/>
                  </a:lnTo>
                  <a:lnTo>
                    <a:pt x="189" y="640"/>
                  </a:lnTo>
                  <a:lnTo>
                    <a:pt x="198" y="646"/>
                  </a:lnTo>
                  <a:lnTo>
                    <a:pt x="206" y="649"/>
                  </a:lnTo>
                  <a:lnTo>
                    <a:pt x="217" y="650"/>
                  </a:lnTo>
                  <a:lnTo>
                    <a:pt x="226" y="649"/>
                  </a:lnTo>
                  <a:lnTo>
                    <a:pt x="235" y="646"/>
                  </a:lnTo>
                  <a:lnTo>
                    <a:pt x="243" y="640"/>
                  </a:lnTo>
                  <a:lnTo>
                    <a:pt x="250" y="635"/>
                  </a:lnTo>
                  <a:lnTo>
                    <a:pt x="256" y="628"/>
                  </a:lnTo>
                  <a:lnTo>
                    <a:pt x="260" y="620"/>
                  </a:lnTo>
                  <a:lnTo>
                    <a:pt x="263" y="611"/>
                  </a:lnTo>
                  <a:lnTo>
                    <a:pt x="264" y="601"/>
                  </a:lnTo>
                  <a:lnTo>
                    <a:pt x="265" y="594"/>
                  </a:lnTo>
                  <a:lnTo>
                    <a:pt x="267" y="588"/>
                  </a:lnTo>
                  <a:lnTo>
                    <a:pt x="270" y="582"/>
                  </a:lnTo>
                  <a:lnTo>
                    <a:pt x="275" y="575"/>
                  </a:lnTo>
                  <a:lnTo>
                    <a:pt x="281" y="571"/>
                  </a:lnTo>
                  <a:lnTo>
                    <a:pt x="287" y="568"/>
                  </a:lnTo>
                  <a:lnTo>
                    <a:pt x="293" y="566"/>
                  </a:lnTo>
                  <a:lnTo>
                    <a:pt x="301" y="565"/>
                  </a:lnTo>
                  <a:lnTo>
                    <a:pt x="308" y="566"/>
                  </a:lnTo>
                  <a:lnTo>
                    <a:pt x="314" y="568"/>
                  </a:lnTo>
                  <a:lnTo>
                    <a:pt x="320" y="571"/>
                  </a:lnTo>
                  <a:lnTo>
                    <a:pt x="326" y="575"/>
                  </a:lnTo>
                  <a:lnTo>
                    <a:pt x="330" y="582"/>
                  </a:lnTo>
                  <a:lnTo>
                    <a:pt x="333" y="588"/>
                  </a:lnTo>
                  <a:lnTo>
                    <a:pt x="335" y="594"/>
                  </a:lnTo>
                  <a:lnTo>
                    <a:pt x="336" y="601"/>
                  </a:lnTo>
                  <a:lnTo>
                    <a:pt x="337" y="611"/>
                  </a:lnTo>
                  <a:lnTo>
                    <a:pt x="341" y="620"/>
                  </a:lnTo>
                  <a:lnTo>
                    <a:pt x="345" y="628"/>
                  </a:lnTo>
                  <a:lnTo>
                    <a:pt x="351" y="635"/>
                  </a:lnTo>
                  <a:lnTo>
                    <a:pt x="358" y="640"/>
                  </a:lnTo>
                  <a:lnTo>
                    <a:pt x="366" y="646"/>
                  </a:lnTo>
                  <a:lnTo>
                    <a:pt x="375" y="649"/>
                  </a:lnTo>
                  <a:lnTo>
                    <a:pt x="384" y="650"/>
                  </a:lnTo>
                  <a:lnTo>
                    <a:pt x="394" y="649"/>
                  </a:lnTo>
                  <a:lnTo>
                    <a:pt x="404" y="646"/>
                  </a:lnTo>
                  <a:lnTo>
                    <a:pt x="412" y="640"/>
                  </a:lnTo>
                  <a:lnTo>
                    <a:pt x="419" y="635"/>
                  </a:lnTo>
                  <a:lnTo>
                    <a:pt x="425" y="628"/>
                  </a:lnTo>
                  <a:lnTo>
                    <a:pt x="429" y="620"/>
                  </a:lnTo>
                  <a:lnTo>
                    <a:pt x="432" y="611"/>
                  </a:lnTo>
                  <a:lnTo>
                    <a:pt x="433" y="601"/>
                  </a:lnTo>
                  <a:lnTo>
                    <a:pt x="433" y="594"/>
                  </a:lnTo>
                  <a:lnTo>
                    <a:pt x="435" y="588"/>
                  </a:lnTo>
                  <a:lnTo>
                    <a:pt x="439" y="582"/>
                  </a:lnTo>
                  <a:lnTo>
                    <a:pt x="443" y="575"/>
                  </a:lnTo>
                  <a:lnTo>
                    <a:pt x="448" y="571"/>
                  </a:lnTo>
                  <a:lnTo>
                    <a:pt x="454" y="568"/>
                  </a:lnTo>
                  <a:lnTo>
                    <a:pt x="461" y="566"/>
                  </a:lnTo>
                  <a:lnTo>
                    <a:pt x="469" y="565"/>
                  </a:lnTo>
                  <a:lnTo>
                    <a:pt x="476" y="566"/>
                  </a:lnTo>
                  <a:lnTo>
                    <a:pt x="483" y="568"/>
                  </a:lnTo>
                  <a:lnTo>
                    <a:pt x="489" y="571"/>
                  </a:lnTo>
                  <a:lnTo>
                    <a:pt x="494" y="575"/>
                  </a:lnTo>
                  <a:lnTo>
                    <a:pt x="498" y="582"/>
                  </a:lnTo>
                  <a:lnTo>
                    <a:pt x="502" y="588"/>
                  </a:lnTo>
                  <a:lnTo>
                    <a:pt x="504" y="594"/>
                  </a:lnTo>
                  <a:lnTo>
                    <a:pt x="505" y="601"/>
                  </a:lnTo>
                  <a:lnTo>
                    <a:pt x="505" y="611"/>
                  </a:lnTo>
                  <a:lnTo>
                    <a:pt x="508" y="620"/>
                  </a:lnTo>
                  <a:lnTo>
                    <a:pt x="513" y="628"/>
                  </a:lnTo>
                  <a:lnTo>
                    <a:pt x="518" y="635"/>
                  </a:lnTo>
                  <a:lnTo>
                    <a:pt x="525" y="640"/>
                  </a:lnTo>
                  <a:lnTo>
                    <a:pt x="534" y="646"/>
                  </a:lnTo>
                  <a:lnTo>
                    <a:pt x="543" y="649"/>
                  </a:lnTo>
                  <a:lnTo>
                    <a:pt x="553" y="650"/>
                  </a:lnTo>
                  <a:lnTo>
                    <a:pt x="562" y="649"/>
                  </a:lnTo>
                  <a:lnTo>
                    <a:pt x="571" y="646"/>
                  </a:lnTo>
                  <a:lnTo>
                    <a:pt x="579" y="640"/>
                  </a:lnTo>
                  <a:lnTo>
                    <a:pt x="586" y="635"/>
                  </a:lnTo>
                  <a:lnTo>
                    <a:pt x="593" y="628"/>
                  </a:lnTo>
                  <a:lnTo>
                    <a:pt x="597" y="620"/>
                  </a:lnTo>
                  <a:lnTo>
                    <a:pt x="600" y="611"/>
                  </a:lnTo>
                  <a:lnTo>
                    <a:pt x="601" y="601"/>
                  </a:lnTo>
                  <a:lnTo>
                    <a:pt x="600" y="597"/>
                  </a:lnTo>
                  <a:lnTo>
                    <a:pt x="598" y="593"/>
                  </a:lnTo>
                  <a:lnTo>
                    <a:pt x="594" y="590"/>
                  </a:lnTo>
                  <a:lnTo>
                    <a:pt x="588" y="5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23"/>
            <p:cNvSpPr>
              <a:spLocks/>
            </p:cNvSpPr>
            <p:nvPr/>
          </p:nvSpPr>
          <p:spPr bwMode="auto">
            <a:xfrm>
              <a:off x="5586413" y="5449888"/>
              <a:ext cx="76200" cy="11113"/>
            </a:xfrm>
            <a:custGeom>
              <a:avLst/>
              <a:gdLst>
                <a:gd name="T0" fmla="*/ 192 w 192"/>
                <a:gd name="T1" fmla="*/ 12 h 24"/>
                <a:gd name="T2" fmla="*/ 192 w 192"/>
                <a:gd name="T3" fmla="*/ 8 h 24"/>
                <a:gd name="T4" fmla="*/ 189 w 192"/>
                <a:gd name="T5" fmla="*/ 4 h 24"/>
                <a:gd name="T6" fmla="*/ 185 w 192"/>
                <a:gd name="T7" fmla="*/ 1 h 24"/>
                <a:gd name="T8" fmla="*/ 181 w 192"/>
                <a:gd name="T9" fmla="*/ 0 h 24"/>
                <a:gd name="T10" fmla="*/ 13 w 192"/>
                <a:gd name="T11" fmla="*/ 0 h 24"/>
                <a:gd name="T12" fmla="*/ 8 w 192"/>
                <a:gd name="T13" fmla="*/ 1 h 24"/>
                <a:gd name="T14" fmla="*/ 4 w 192"/>
                <a:gd name="T15" fmla="*/ 4 h 24"/>
                <a:gd name="T16" fmla="*/ 1 w 192"/>
                <a:gd name="T17" fmla="*/ 8 h 24"/>
                <a:gd name="T18" fmla="*/ 0 w 192"/>
                <a:gd name="T19" fmla="*/ 12 h 24"/>
                <a:gd name="T20" fmla="*/ 1 w 192"/>
                <a:gd name="T21" fmla="*/ 17 h 24"/>
                <a:gd name="T22" fmla="*/ 4 w 192"/>
                <a:gd name="T23" fmla="*/ 21 h 24"/>
                <a:gd name="T24" fmla="*/ 8 w 192"/>
                <a:gd name="T25" fmla="*/ 23 h 24"/>
                <a:gd name="T26" fmla="*/ 13 w 192"/>
                <a:gd name="T27" fmla="*/ 24 h 24"/>
                <a:gd name="T28" fmla="*/ 181 w 192"/>
                <a:gd name="T29" fmla="*/ 24 h 24"/>
                <a:gd name="T30" fmla="*/ 185 w 192"/>
                <a:gd name="T31" fmla="*/ 23 h 24"/>
                <a:gd name="T32" fmla="*/ 189 w 192"/>
                <a:gd name="T33" fmla="*/ 21 h 24"/>
                <a:gd name="T34" fmla="*/ 192 w 192"/>
                <a:gd name="T35" fmla="*/ 17 h 24"/>
                <a:gd name="T36" fmla="*/ 192 w 192"/>
                <a:gd name="T3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lnTo>
                    <a:pt x="192" y="8"/>
                  </a:lnTo>
                  <a:lnTo>
                    <a:pt x="189" y="4"/>
                  </a:lnTo>
                  <a:lnTo>
                    <a:pt x="185" y="1"/>
                  </a:lnTo>
                  <a:lnTo>
                    <a:pt x="181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81" y="24"/>
                  </a:lnTo>
                  <a:lnTo>
                    <a:pt x="185" y="23"/>
                  </a:lnTo>
                  <a:lnTo>
                    <a:pt x="189" y="21"/>
                  </a:lnTo>
                  <a:lnTo>
                    <a:pt x="192" y="17"/>
                  </a:lnTo>
                  <a:lnTo>
                    <a:pt x="1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824"/>
            <p:cNvSpPr>
              <a:spLocks/>
            </p:cNvSpPr>
            <p:nvPr/>
          </p:nvSpPr>
          <p:spPr bwMode="auto">
            <a:xfrm>
              <a:off x="5600700" y="5364163"/>
              <a:ext cx="47625" cy="20638"/>
            </a:xfrm>
            <a:custGeom>
              <a:avLst/>
              <a:gdLst>
                <a:gd name="T0" fmla="*/ 120 w 120"/>
                <a:gd name="T1" fmla="*/ 12 h 49"/>
                <a:gd name="T2" fmla="*/ 119 w 120"/>
                <a:gd name="T3" fmla="*/ 8 h 49"/>
                <a:gd name="T4" fmla="*/ 117 w 120"/>
                <a:gd name="T5" fmla="*/ 4 h 49"/>
                <a:gd name="T6" fmla="*/ 113 w 120"/>
                <a:gd name="T7" fmla="*/ 1 h 49"/>
                <a:gd name="T8" fmla="*/ 108 w 120"/>
                <a:gd name="T9" fmla="*/ 0 h 49"/>
                <a:gd name="T10" fmla="*/ 12 w 120"/>
                <a:gd name="T11" fmla="*/ 0 h 49"/>
                <a:gd name="T12" fmla="*/ 7 w 120"/>
                <a:gd name="T13" fmla="*/ 1 h 49"/>
                <a:gd name="T14" fmla="*/ 3 w 120"/>
                <a:gd name="T15" fmla="*/ 4 h 49"/>
                <a:gd name="T16" fmla="*/ 1 w 120"/>
                <a:gd name="T17" fmla="*/ 8 h 49"/>
                <a:gd name="T18" fmla="*/ 0 w 120"/>
                <a:gd name="T19" fmla="*/ 12 h 49"/>
                <a:gd name="T20" fmla="*/ 0 w 120"/>
                <a:gd name="T21" fmla="*/ 49 h 49"/>
                <a:gd name="T22" fmla="*/ 120 w 120"/>
                <a:gd name="T23" fmla="*/ 49 h 49"/>
                <a:gd name="T24" fmla="*/ 120 w 120"/>
                <a:gd name="T25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49">
                  <a:moveTo>
                    <a:pt x="120" y="12"/>
                  </a:moveTo>
                  <a:lnTo>
                    <a:pt x="119" y="8"/>
                  </a:lnTo>
                  <a:lnTo>
                    <a:pt x="117" y="4"/>
                  </a:lnTo>
                  <a:lnTo>
                    <a:pt x="113" y="1"/>
                  </a:lnTo>
                  <a:lnTo>
                    <a:pt x="108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49"/>
                  </a:lnTo>
                  <a:lnTo>
                    <a:pt x="120" y="49"/>
                  </a:lnTo>
                  <a:lnTo>
                    <a:pt x="12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16755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rgbClr val="0C344C"/>
                </a:solidFill>
                <a:latin typeface="+mj-lt"/>
              </a:rPr>
              <a:t>Sales Charts</a:t>
            </a:r>
          </a:p>
        </p:txBody>
      </p:sp>
      <p:graphicFrame>
        <p:nvGraphicFramePr>
          <p:cNvPr id="8" name="Chart 7"/>
          <p:cNvGraphicFramePr/>
          <p:nvPr/>
        </p:nvGraphicFramePr>
        <p:xfrm>
          <a:off x="839787" y="2574980"/>
          <a:ext cx="10512425" cy="3403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25"/>
          <p:cNvSpPr txBox="1"/>
          <p:nvPr/>
        </p:nvSpPr>
        <p:spPr>
          <a:xfrm>
            <a:off x="1938466" y="1951616"/>
            <a:ext cx="3879721" cy="4847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 </a:t>
            </a:r>
          </a:p>
        </p:txBody>
      </p:sp>
      <p:sp>
        <p:nvSpPr>
          <p:cNvPr id="19" name="TextBox 25"/>
          <p:cNvSpPr txBox="1"/>
          <p:nvPr/>
        </p:nvSpPr>
        <p:spPr>
          <a:xfrm>
            <a:off x="1938466" y="1620733"/>
            <a:ext cx="26512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936303" y="1724748"/>
            <a:ext cx="731771" cy="559571"/>
            <a:chOff x="936303" y="1724748"/>
            <a:chExt cx="731771" cy="559571"/>
          </a:xfrm>
        </p:grpSpPr>
        <p:sp>
          <p:nvSpPr>
            <p:cNvPr id="20" name="Rectangle: Rounded Corners 19"/>
            <p:cNvSpPr/>
            <p:nvPr/>
          </p:nvSpPr>
          <p:spPr>
            <a:xfrm rot="18900000">
              <a:off x="1300213" y="1820604"/>
              <a:ext cx="367861" cy="36786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: Rounded Corners 20"/>
            <p:cNvSpPr/>
            <p:nvPr/>
          </p:nvSpPr>
          <p:spPr>
            <a:xfrm rot="2700000">
              <a:off x="936303" y="1724748"/>
              <a:ext cx="559571" cy="55957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051582" y="1864661"/>
            <a:ext cx="303349" cy="263126"/>
            <a:chOff x="2598738" y="2530475"/>
            <a:chExt cx="287338" cy="249238"/>
          </a:xfrm>
          <a:solidFill>
            <a:schemeClr val="bg1"/>
          </a:solidFill>
        </p:grpSpPr>
        <p:sp>
          <p:nvSpPr>
            <p:cNvPr id="10" name="Freeform 527"/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" name="Freeform 528"/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" name="Freeform 529"/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" name="Freeform 530"/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4" name="Freeform 531"/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5" name="Freeform 532"/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6" name="Freeform 533"/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7" name="Freeform 534"/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783203" y="3474957"/>
            <a:ext cx="221898" cy="221898"/>
            <a:chOff x="1783203" y="3474957"/>
            <a:chExt cx="221898" cy="221898"/>
          </a:xfrm>
        </p:grpSpPr>
        <p:sp>
          <p:nvSpPr>
            <p:cNvPr id="23" name="Rectangle: Rounded Corners 22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6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816767" y="4031069"/>
            <a:ext cx="221898" cy="221898"/>
            <a:chOff x="1783203" y="3474957"/>
            <a:chExt cx="221898" cy="221898"/>
          </a:xfrm>
        </p:grpSpPr>
        <p:sp>
          <p:nvSpPr>
            <p:cNvPr id="28" name="Rectangle: Rounded Corners 27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4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862196" y="3742812"/>
            <a:ext cx="221898" cy="221898"/>
            <a:chOff x="1783203" y="3474957"/>
            <a:chExt cx="221898" cy="221898"/>
          </a:xfrm>
        </p:grpSpPr>
        <p:sp>
          <p:nvSpPr>
            <p:cNvPr id="31" name="Rectangle: Rounded Corners 30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5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900546" y="3184806"/>
            <a:ext cx="221898" cy="221898"/>
            <a:chOff x="1783203" y="3474957"/>
            <a:chExt cx="221898" cy="221898"/>
          </a:xfrm>
        </p:grpSpPr>
        <p:sp>
          <p:nvSpPr>
            <p:cNvPr id="34" name="Rectangle: Rounded Corners 33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7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9943586" y="3469073"/>
            <a:ext cx="221898" cy="221898"/>
            <a:chOff x="1783203" y="3474957"/>
            <a:chExt cx="221898" cy="221898"/>
          </a:xfrm>
        </p:grpSpPr>
        <p:sp>
          <p:nvSpPr>
            <p:cNvPr id="37" name="Rectangle: Rounded Corners 36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6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323747" y="4310831"/>
            <a:ext cx="221898" cy="221898"/>
            <a:chOff x="1783203" y="3474957"/>
            <a:chExt cx="221898" cy="221898"/>
          </a:xfrm>
        </p:grpSpPr>
        <p:sp>
          <p:nvSpPr>
            <p:cNvPr id="40" name="Rectangle: Rounded Corners 39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3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367799" y="4031069"/>
            <a:ext cx="221898" cy="221898"/>
            <a:chOff x="1783203" y="3474957"/>
            <a:chExt cx="221898" cy="221898"/>
          </a:xfrm>
        </p:grpSpPr>
        <p:sp>
          <p:nvSpPr>
            <p:cNvPr id="46" name="Rectangle: Rounded Corners 45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4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6410500" y="3742812"/>
            <a:ext cx="221898" cy="221898"/>
            <a:chOff x="1783203" y="3474957"/>
            <a:chExt cx="221898" cy="221898"/>
          </a:xfrm>
        </p:grpSpPr>
        <p:sp>
          <p:nvSpPr>
            <p:cNvPr id="52" name="Rectangle: Rounded Corners 51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5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8443985" y="3469073"/>
            <a:ext cx="221898" cy="221898"/>
            <a:chOff x="1783203" y="3474957"/>
            <a:chExt cx="221898" cy="221898"/>
          </a:xfrm>
        </p:grpSpPr>
        <p:sp>
          <p:nvSpPr>
            <p:cNvPr id="55" name="Rectangle: Rounded Corners 54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6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10487538" y="2902866"/>
            <a:ext cx="221898" cy="221898"/>
            <a:chOff x="1783203" y="3474957"/>
            <a:chExt cx="221898" cy="221898"/>
          </a:xfrm>
        </p:grpSpPr>
        <p:sp>
          <p:nvSpPr>
            <p:cNvPr id="58" name="Rectangle: Rounded Corners 57"/>
            <p:cNvSpPr/>
            <p:nvPr/>
          </p:nvSpPr>
          <p:spPr>
            <a:xfrm rot="2700000">
              <a:off x="1783203" y="3474957"/>
              <a:ext cx="221898" cy="221898"/>
            </a:xfrm>
            <a:prstGeom prst="roundRect">
              <a:avLst>
                <a:gd name="adj" fmla="val 914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TextBox 25"/>
            <p:cNvSpPr txBox="1"/>
            <p:nvPr/>
          </p:nvSpPr>
          <p:spPr>
            <a:xfrm>
              <a:off x="1833572" y="3501268"/>
              <a:ext cx="12116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04851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15580"/>
          <a:stretch/>
        </p:blipFill>
        <p:spPr>
          <a:xfrm>
            <a:off x="0" y="0"/>
            <a:ext cx="12192000" cy="62342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0"/>
            <a:ext cx="12192000" cy="6234249"/>
          </a:xfrm>
          <a:prstGeom prst="rect">
            <a:avLst/>
          </a:prstGeom>
          <a:solidFill>
            <a:srgbClr val="0C344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Image Slid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139119" y="3061729"/>
            <a:ext cx="1166638" cy="734542"/>
            <a:chOff x="920816" y="2053524"/>
            <a:chExt cx="1294484" cy="815037"/>
          </a:xfrm>
        </p:grpSpPr>
        <p:sp>
          <p:nvSpPr>
            <p:cNvPr id="10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49" name="TextBox 25"/>
          <p:cNvSpPr txBox="1"/>
          <p:nvPr/>
        </p:nvSpPr>
        <p:spPr>
          <a:xfrm>
            <a:off x="839788" y="4475393"/>
            <a:ext cx="176530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50" name="TextBox 25"/>
          <p:cNvSpPr txBox="1"/>
          <p:nvPr/>
        </p:nvSpPr>
        <p:spPr>
          <a:xfrm>
            <a:off x="839788" y="4144510"/>
            <a:ext cx="17653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3325900" y="3061729"/>
            <a:ext cx="1166638" cy="734542"/>
            <a:chOff x="920816" y="2053524"/>
            <a:chExt cx="1294484" cy="815037"/>
          </a:xfrm>
        </p:grpSpPr>
        <p:sp>
          <p:nvSpPr>
            <p:cNvPr id="58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56" name="TextBox 25"/>
          <p:cNvSpPr txBox="1"/>
          <p:nvPr/>
        </p:nvSpPr>
        <p:spPr>
          <a:xfrm>
            <a:off x="3026569" y="4475393"/>
            <a:ext cx="176530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57" name="TextBox 25"/>
          <p:cNvSpPr txBox="1"/>
          <p:nvPr/>
        </p:nvSpPr>
        <p:spPr>
          <a:xfrm>
            <a:off x="3026569" y="4144510"/>
            <a:ext cx="17653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5512681" y="3061729"/>
            <a:ext cx="1166638" cy="734542"/>
            <a:chOff x="920816" y="2053524"/>
            <a:chExt cx="1294484" cy="815037"/>
          </a:xfrm>
        </p:grpSpPr>
        <p:sp>
          <p:nvSpPr>
            <p:cNvPr id="65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63" name="TextBox 25"/>
          <p:cNvSpPr txBox="1"/>
          <p:nvPr/>
        </p:nvSpPr>
        <p:spPr>
          <a:xfrm>
            <a:off x="5213350" y="4475393"/>
            <a:ext cx="176530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64" name="TextBox 25"/>
          <p:cNvSpPr txBox="1"/>
          <p:nvPr/>
        </p:nvSpPr>
        <p:spPr>
          <a:xfrm>
            <a:off x="5213350" y="4144510"/>
            <a:ext cx="17653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7699462" y="3061729"/>
            <a:ext cx="1166638" cy="734542"/>
            <a:chOff x="920816" y="2053524"/>
            <a:chExt cx="1294484" cy="815037"/>
          </a:xfrm>
        </p:grpSpPr>
        <p:sp>
          <p:nvSpPr>
            <p:cNvPr id="72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0" name="TextBox 25"/>
          <p:cNvSpPr txBox="1"/>
          <p:nvPr/>
        </p:nvSpPr>
        <p:spPr>
          <a:xfrm>
            <a:off x="7400131" y="4475393"/>
            <a:ext cx="176530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71" name="TextBox 25"/>
          <p:cNvSpPr txBox="1"/>
          <p:nvPr/>
        </p:nvSpPr>
        <p:spPr>
          <a:xfrm>
            <a:off x="7400131" y="4144510"/>
            <a:ext cx="17653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9886244" y="3061729"/>
            <a:ext cx="1166638" cy="734542"/>
            <a:chOff x="920816" y="2053524"/>
            <a:chExt cx="1294484" cy="815037"/>
          </a:xfrm>
        </p:grpSpPr>
        <p:sp>
          <p:nvSpPr>
            <p:cNvPr id="79" name="Rectangle: Rounded Corners 12"/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Rectangle: Rounded Corners 13"/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: Rounded Corners 14"/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7" name="TextBox 25"/>
          <p:cNvSpPr txBox="1"/>
          <p:nvPr/>
        </p:nvSpPr>
        <p:spPr>
          <a:xfrm>
            <a:off x="9586913" y="4475393"/>
            <a:ext cx="176530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78" name="TextBox 25"/>
          <p:cNvSpPr txBox="1"/>
          <p:nvPr/>
        </p:nvSpPr>
        <p:spPr>
          <a:xfrm>
            <a:off x="9586913" y="4144510"/>
            <a:ext cx="176530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4549860" y="1657485"/>
            <a:ext cx="1026740" cy="886905"/>
            <a:chOff x="4859710" y="1476475"/>
            <a:chExt cx="1236290" cy="1067916"/>
          </a:xfrm>
          <a:gradFill>
            <a:gsLst>
              <a:gs pos="0">
                <a:srgbClr val="0C344C"/>
              </a:gs>
              <a:gs pos="100000">
                <a:srgbClr val="D80F79"/>
              </a:gs>
            </a:gsLst>
            <a:lin ang="13500000" scaled="1"/>
          </a:gradFill>
        </p:grpSpPr>
        <p:sp>
          <p:nvSpPr>
            <p:cNvPr id="85" name="Freeform 5"/>
            <p:cNvSpPr>
              <a:spLocks/>
            </p:cNvSpPr>
            <p:nvPr/>
          </p:nvSpPr>
          <p:spPr bwMode="auto">
            <a:xfrm>
              <a:off x="4859710" y="1476475"/>
              <a:ext cx="536371" cy="1067916"/>
            </a:xfrm>
            <a:custGeom>
              <a:avLst/>
              <a:gdLst>
                <a:gd name="T0" fmla="*/ 151 w 328"/>
                <a:gd name="T1" fmla="*/ 326 h 653"/>
                <a:gd name="T2" fmla="*/ 227 w 328"/>
                <a:gd name="T3" fmla="*/ 104 h 653"/>
                <a:gd name="T4" fmla="*/ 227 w 328"/>
                <a:gd name="T5" fmla="*/ 0 h 653"/>
                <a:gd name="T6" fmla="*/ 0 w 328"/>
                <a:gd name="T7" fmla="*/ 326 h 653"/>
                <a:gd name="T8" fmla="*/ 0 w 328"/>
                <a:gd name="T9" fmla="*/ 653 h 653"/>
                <a:gd name="T10" fmla="*/ 328 w 328"/>
                <a:gd name="T11" fmla="*/ 653 h 653"/>
                <a:gd name="T12" fmla="*/ 328 w 328"/>
                <a:gd name="T13" fmla="*/ 326 h 653"/>
                <a:gd name="T14" fmla="*/ 151 w 328"/>
                <a:gd name="T15" fmla="*/ 326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653">
                  <a:moveTo>
                    <a:pt x="151" y="326"/>
                  </a:moveTo>
                  <a:cubicBezTo>
                    <a:pt x="125" y="122"/>
                    <a:pt x="227" y="104"/>
                    <a:pt x="227" y="104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09" y="0"/>
                    <a:pt x="0" y="93"/>
                    <a:pt x="0" y="326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328" y="653"/>
                    <a:pt x="328" y="653"/>
                    <a:pt x="328" y="653"/>
                  </a:cubicBezTo>
                  <a:cubicBezTo>
                    <a:pt x="328" y="326"/>
                    <a:pt x="328" y="326"/>
                    <a:pt x="328" y="326"/>
                  </a:cubicBezTo>
                  <a:lnTo>
                    <a:pt x="151" y="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5559629" y="1476475"/>
              <a:ext cx="536371" cy="1067916"/>
            </a:xfrm>
            <a:custGeom>
              <a:avLst/>
              <a:gdLst>
                <a:gd name="T0" fmla="*/ 151 w 328"/>
                <a:gd name="T1" fmla="*/ 326 h 653"/>
                <a:gd name="T2" fmla="*/ 227 w 328"/>
                <a:gd name="T3" fmla="*/ 104 h 653"/>
                <a:gd name="T4" fmla="*/ 227 w 328"/>
                <a:gd name="T5" fmla="*/ 0 h 653"/>
                <a:gd name="T6" fmla="*/ 0 w 328"/>
                <a:gd name="T7" fmla="*/ 326 h 653"/>
                <a:gd name="T8" fmla="*/ 0 w 328"/>
                <a:gd name="T9" fmla="*/ 653 h 653"/>
                <a:gd name="T10" fmla="*/ 328 w 328"/>
                <a:gd name="T11" fmla="*/ 653 h 653"/>
                <a:gd name="T12" fmla="*/ 328 w 328"/>
                <a:gd name="T13" fmla="*/ 326 h 653"/>
                <a:gd name="T14" fmla="*/ 151 w 328"/>
                <a:gd name="T15" fmla="*/ 326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653">
                  <a:moveTo>
                    <a:pt x="151" y="326"/>
                  </a:moveTo>
                  <a:cubicBezTo>
                    <a:pt x="125" y="122"/>
                    <a:pt x="227" y="104"/>
                    <a:pt x="227" y="104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09" y="0"/>
                    <a:pt x="0" y="93"/>
                    <a:pt x="0" y="326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328" y="653"/>
                    <a:pt x="328" y="653"/>
                    <a:pt x="328" y="653"/>
                  </a:cubicBezTo>
                  <a:cubicBezTo>
                    <a:pt x="328" y="326"/>
                    <a:pt x="328" y="326"/>
                    <a:pt x="328" y="326"/>
                  </a:cubicBezTo>
                  <a:lnTo>
                    <a:pt x="151" y="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TextBox 25"/>
          <p:cNvSpPr txBox="1"/>
          <p:nvPr/>
        </p:nvSpPr>
        <p:spPr>
          <a:xfrm>
            <a:off x="5841221" y="1607299"/>
            <a:ext cx="5510991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Contrary to popular belief, Lorem Ipsum is not simply random text. It has roots in a piece of classical Latin literature from 45 BC, making it over 2000 years old. Richard McClintock.</a:t>
            </a:r>
          </a:p>
        </p:txBody>
      </p:sp>
      <p:grpSp>
        <p:nvGrpSpPr>
          <p:cNvPr id="89" name="Group 88"/>
          <p:cNvGrpSpPr/>
          <p:nvPr/>
        </p:nvGrpSpPr>
        <p:grpSpPr>
          <a:xfrm>
            <a:off x="1542257" y="3248025"/>
            <a:ext cx="360362" cy="361951"/>
            <a:chOff x="5554663" y="3971925"/>
            <a:chExt cx="360362" cy="361951"/>
          </a:xfrm>
          <a:solidFill>
            <a:srgbClr val="0C344C"/>
          </a:solidFill>
        </p:grpSpPr>
        <p:sp>
          <p:nvSpPr>
            <p:cNvPr id="90" name="Freeform 89"/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90"/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2" name="Freeform 91"/>
          <p:cNvSpPr>
            <a:spLocks noEditPoints="1"/>
          </p:cNvSpPr>
          <p:nvPr/>
        </p:nvSpPr>
        <p:spPr bwMode="auto">
          <a:xfrm>
            <a:off x="3729038" y="3247231"/>
            <a:ext cx="360363" cy="363538"/>
          </a:xfrm>
          <a:custGeom>
            <a:avLst/>
            <a:gdLst>
              <a:gd name="T0" fmla="*/ 30 w 96"/>
              <a:gd name="T1" fmla="*/ 96 h 96"/>
              <a:gd name="T2" fmla="*/ 60 w 96"/>
              <a:gd name="T3" fmla="*/ 66 h 96"/>
              <a:gd name="T4" fmla="*/ 57 w 96"/>
              <a:gd name="T5" fmla="*/ 54 h 96"/>
              <a:gd name="T6" fmla="*/ 69 w 96"/>
              <a:gd name="T7" fmla="*/ 42 h 96"/>
              <a:gd name="T8" fmla="*/ 76 w 96"/>
              <a:gd name="T9" fmla="*/ 42 h 96"/>
              <a:gd name="T10" fmla="*/ 76 w 96"/>
              <a:gd name="T11" fmla="*/ 35 h 96"/>
              <a:gd name="T12" fmla="*/ 77 w 96"/>
              <a:gd name="T13" fmla="*/ 34 h 96"/>
              <a:gd name="T14" fmla="*/ 84 w 96"/>
              <a:gd name="T15" fmla="*/ 34 h 96"/>
              <a:gd name="T16" fmla="*/ 84 w 96"/>
              <a:gd name="T17" fmla="*/ 27 h 96"/>
              <a:gd name="T18" fmla="*/ 85 w 96"/>
              <a:gd name="T19" fmla="*/ 26 h 96"/>
              <a:gd name="T20" fmla="*/ 92 w 96"/>
              <a:gd name="T21" fmla="*/ 26 h 96"/>
              <a:gd name="T22" fmla="*/ 92 w 96"/>
              <a:gd name="T23" fmla="*/ 19 h 96"/>
              <a:gd name="T24" fmla="*/ 96 w 96"/>
              <a:gd name="T25" fmla="*/ 15 h 96"/>
              <a:gd name="T26" fmla="*/ 96 w 96"/>
              <a:gd name="T27" fmla="*/ 0 h 96"/>
              <a:gd name="T28" fmla="*/ 81 w 96"/>
              <a:gd name="T29" fmla="*/ 0 h 96"/>
              <a:gd name="T30" fmla="*/ 42 w 96"/>
              <a:gd name="T31" fmla="*/ 39 h 96"/>
              <a:gd name="T32" fmla="*/ 30 w 96"/>
              <a:gd name="T33" fmla="*/ 36 h 96"/>
              <a:gd name="T34" fmla="*/ 0 w 96"/>
              <a:gd name="T35" fmla="*/ 66 h 96"/>
              <a:gd name="T36" fmla="*/ 30 w 96"/>
              <a:gd name="T37" fmla="*/ 96 h 96"/>
              <a:gd name="T38" fmla="*/ 22 w 96"/>
              <a:gd name="T39" fmla="*/ 66 h 96"/>
              <a:gd name="T40" fmla="*/ 30 w 96"/>
              <a:gd name="T41" fmla="*/ 74 h 96"/>
              <a:gd name="T42" fmla="*/ 22 w 96"/>
              <a:gd name="T43" fmla="*/ 82 h 96"/>
              <a:gd name="T44" fmla="*/ 14 w 96"/>
              <a:gd name="T45" fmla="*/ 74 h 96"/>
              <a:gd name="T46" fmla="*/ 22 w 96"/>
              <a:gd name="T47" fmla="*/ 6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6" h="96">
                <a:moveTo>
                  <a:pt x="30" y="96"/>
                </a:moveTo>
                <a:cubicBezTo>
                  <a:pt x="47" y="96"/>
                  <a:pt x="60" y="83"/>
                  <a:pt x="60" y="66"/>
                </a:cubicBezTo>
                <a:cubicBezTo>
                  <a:pt x="60" y="62"/>
                  <a:pt x="59" y="57"/>
                  <a:pt x="57" y="54"/>
                </a:cubicBezTo>
                <a:cubicBezTo>
                  <a:pt x="69" y="42"/>
                  <a:pt x="69" y="42"/>
                  <a:pt x="69" y="42"/>
                </a:cubicBezTo>
                <a:cubicBezTo>
                  <a:pt x="76" y="42"/>
                  <a:pt x="76" y="42"/>
                  <a:pt x="76" y="42"/>
                </a:cubicBezTo>
                <a:cubicBezTo>
                  <a:pt x="76" y="35"/>
                  <a:pt x="76" y="35"/>
                  <a:pt x="76" y="35"/>
                </a:cubicBezTo>
                <a:cubicBezTo>
                  <a:pt x="77" y="34"/>
                  <a:pt x="77" y="34"/>
                  <a:pt x="77" y="34"/>
                </a:cubicBezTo>
                <a:cubicBezTo>
                  <a:pt x="84" y="34"/>
                  <a:pt x="84" y="34"/>
                  <a:pt x="84" y="34"/>
                </a:cubicBezTo>
                <a:cubicBezTo>
                  <a:pt x="84" y="27"/>
                  <a:pt x="84" y="27"/>
                  <a:pt x="84" y="27"/>
                </a:cubicBezTo>
                <a:cubicBezTo>
                  <a:pt x="85" y="26"/>
                  <a:pt x="85" y="26"/>
                  <a:pt x="85" y="2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19"/>
                  <a:pt x="92" y="19"/>
                  <a:pt x="92" y="19"/>
                </a:cubicBezTo>
                <a:cubicBezTo>
                  <a:pt x="96" y="15"/>
                  <a:pt x="96" y="15"/>
                  <a:pt x="96" y="15"/>
                </a:cubicBezTo>
                <a:cubicBezTo>
                  <a:pt x="96" y="0"/>
                  <a:pt x="96" y="0"/>
                  <a:pt x="96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42" y="39"/>
                  <a:pt x="42" y="39"/>
                  <a:pt x="42" y="39"/>
                </a:cubicBezTo>
                <a:cubicBezTo>
                  <a:pt x="39" y="37"/>
                  <a:pt x="34" y="36"/>
                  <a:pt x="30" y="36"/>
                </a:cubicBezTo>
                <a:cubicBezTo>
                  <a:pt x="13" y="36"/>
                  <a:pt x="0" y="49"/>
                  <a:pt x="0" y="66"/>
                </a:cubicBezTo>
                <a:cubicBezTo>
                  <a:pt x="0" y="83"/>
                  <a:pt x="13" y="96"/>
                  <a:pt x="30" y="96"/>
                </a:cubicBezTo>
                <a:close/>
                <a:moveTo>
                  <a:pt x="22" y="66"/>
                </a:moveTo>
                <a:cubicBezTo>
                  <a:pt x="26" y="66"/>
                  <a:pt x="30" y="70"/>
                  <a:pt x="30" y="74"/>
                </a:cubicBezTo>
                <a:cubicBezTo>
                  <a:pt x="30" y="78"/>
                  <a:pt x="26" y="82"/>
                  <a:pt x="22" y="82"/>
                </a:cubicBezTo>
                <a:cubicBezTo>
                  <a:pt x="18" y="82"/>
                  <a:pt x="14" y="78"/>
                  <a:pt x="14" y="74"/>
                </a:cubicBezTo>
                <a:cubicBezTo>
                  <a:pt x="14" y="70"/>
                  <a:pt x="18" y="66"/>
                  <a:pt x="22" y="66"/>
                </a:cubicBezTo>
                <a:close/>
              </a:path>
            </a:pathLst>
          </a:custGeom>
          <a:solidFill>
            <a:srgbClr val="0C344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3" name="Group 92"/>
          <p:cNvGrpSpPr/>
          <p:nvPr/>
        </p:nvGrpSpPr>
        <p:grpSpPr>
          <a:xfrm>
            <a:off x="10288588" y="3256202"/>
            <a:ext cx="361950" cy="361950"/>
            <a:chOff x="3390900" y="3248025"/>
            <a:chExt cx="361950" cy="361950"/>
          </a:xfrm>
          <a:solidFill>
            <a:srgbClr val="0C344C"/>
          </a:solidFill>
        </p:grpSpPr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3436938" y="3324225"/>
              <a:ext cx="269875" cy="225425"/>
            </a:xfrm>
            <a:custGeom>
              <a:avLst/>
              <a:gdLst>
                <a:gd name="T0" fmla="*/ 70 w 72"/>
                <a:gd name="T1" fmla="*/ 56 h 60"/>
                <a:gd name="T2" fmla="*/ 64 w 72"/>
                <a:gd name="T3" fmla="*/ 50 h 60"/>
                <a:gd name="T4" fmla="*/ 64 w 72"/>
                <a:gd name="T5" fmla="*/ 36 h 60"/>
                <a:gd name="T6" fmla="*/ 48 w 72"/>
                <a:gd name="T7" fmla="*/ 11 h 60"/>
                <a:gd name="T8" fmla="*/ 36 w 72"/>
                <a:gd name="T9" fmla="*/ 0 h 60"/>
                <a:gd name="T10" fmla="*/ 24 w 72"/>
                <a:gd name="T11" fmla="*/ 11 h 60"/>
                <a:gd name="T12" fmla="*/ 8 w 72"/>
                <a:gd name="T13" fmla="*/ 36 h 60"/>
                <a:gd name="T14" fmla="*/ 8 w 72"/>
                <a:gd name="T15" fmla="*/ 50 h 60"/>
                <a:gd name="T16" fmla="*/ 2 w 72"/>
                <a:gd name="T17" fmla="*/ 56 h 60"/>
                <a:gd name="T18" fmla="*/ 0 w 72"/>
                <a:gd name="T19" fmla="*/ 58 h 60"/>
                <a:gd name="T20" fmla="*/ 2 w 72"/>
                <a:gd name="T21" fmla="*/ 60 h 60"/>
                <a:gd name="T22" fmla="*/ 70 w 72"/>
                <a:gd name="T23" fmla="*/ 60 h 60"/>
                <a:gd name="T24" fmla="*/ 72 w 72"/>
                <a:gd name="T25" fmla="*/ 58 h 60"/>
                <a:gd name="T26" fmla="*/ 70 w 72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60">
                  <a:moveTo>
                    <a:pt x="70" y="56"/>
                  </a:moveTo>
                  <a:cubicBezTo>
                    <a:pt x="67" y="56"/>
                    <a:pt x="64" y="53"/>
                    <a:pt x="64" y="50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25"/>
                    <a:pt x="58" y="15"/>
                    <a:pt x="48" y="11"/>
                  </a:cubicBezTo>
                  <a:cubicBezTo>
                    <a:pt x="47" y="5"/>
                    <a:pt x="42" y="0"/>
                    <a:pt x="36" y="0"/>
                  </a:cubicBezTo>
                  <a:cubicBezTo>
                    <a:pt x="30" y="0"/>
                    <a:pt x="25" y="5"/>
                    <a:pt x="24" y="11"/>
                  </a:cubicBezTo>
                  <a:cubicBezTo>
                    <a:pt x="14" y="15"/>
                    <a:pt x="8" y="25"/>
                    <a:pt x="8" y="36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3"/>
                    <a:pt x="5" y="56"/>
                    <a:pt x="2" y="56"/>
                  </a:cubicBezTo>
                  <a:cubicBezTo>
                    <a:pt x="1" y="56"/>
                    <a:pt x="0" y="57"/>
                    <a:pt x="0" y="58"/>
                  </a:cubicBezTo>
                  <a:cubicBezTo>
                    <a:pt x="0" y="59"/>
                    <a:pt x="1" y="60"/>
                    <a:pt x="2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60"/>
                    <a:pt x="72" y="59"/>
                    <a:pt x="72" y="58"/>
                  </a:cubicBezTo>
                  <a:cubicBezTo>
                    <a:pt x="72" y="57"/>
                    <a:pt x="71" y="56"/>
                    <a:pt x="7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3533775" y="3565525"/>
              <a:ext cx="76200" cy="44450"/>
            </a:xfrm>
            <a:custGeom>
              <a:avLst/>
              <a:gdLst>
                <a:gd name="T0" fmla="*/ 18 w 20"/>
                <a:gd name="T1" fmla="*/ 0 h 12"/>
                <a:gd name="T2" fmla="*/ 2 w 20"/>
                <a:gd name="T3" fmla="*/ 0 h 12"/>
                <a:gd name="T4" fmla="*/ 0 w 20"/>
                <a:gd name="T5" fmla="*/ 2 h 12"/>
                <a:gd name="T6" fmla="*/ 10 w 20"/>
                <a:gd name="T7" fmla="*/ 12 h 12"/>
                <a:gd name="T8" fmla="*/ 20 w 20"/>
                <a:gd name="T9" fmla="*/ 2 h 12"/>
                <a:gd name="T10" fmla="*/ 18 w 2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2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"/>
                    <a:pt x="4" y="12"/>
                    <a:pt x="10" y="12"/>
                  </a:cubicBezTo>
                  <a:cubicBezTo>
                    <a:pt x="16" y="12"/>
                    <a:pt x="20" y="8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3436938" y="3294063"/>
              <a:ext cx="96838" cy="96838"/>
            </a:xfrm>
            <a:custGeom>
              <a:avLst/>
              <a:gdLst>
                <a:gd name="T0" fmla="*/ 24 w 26"/>
                <a:gd name="T1" fmla="*/ 0 h 26"/>
                <a:gd name="T2" fmla="*/ 0 w 26"/>
                <a:gd name="T3" fmla="*/ 24 h 26"/>
                <a:gd name="T4" fmla="*/ 2 w 26"/>
                <a:gd name="T5" fmla="*/ 26 h 26"/>
                <a:gd name="T6" fmla="*/ 4 w 26"/>
                <a:gd name="T7" fmla="*/ 24 h 26"/>
                <a:gd name="T8" fmla="*/ 24 w 26"/>
                <a:gd name="T9" fmla="*/ 4 h 26"/>
                <a:gd name="T10" fmla="*/ 26 w 26"/>
                <a:gd name="T11" fmla="*/ 2 h 26"/>
                <a:gd name="T12" fmla="*/ 24 w 26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3" y="26"/>
                    <a:pt x="4" y="25"/>
                    <a:pt x="4" y="24"/>
                  </a:cubicBezTo>
                  <a:cubicBezTo>
                    <a:pt x="4" y="13"/>
                    <a:pt x="13" y="4"/>
                    <a:pt x="24" y="4"/>
                  </a:cubicBezTo>
                  <a:cubicBezTo>
                    <a:pt x="25" y="4"/>
                    <a:pt x="26" y="3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3390900" y="3248025"/>
              <a:ext cx="142875" cy="142875"/>
            </a:xfrm>
            <a:custGeom>
              <a:avLst/>
              <a:gdLst>
                <a:gd name="T0" fmla="*/ 36 w 38"/>
                <a:gd name="T1" fmla="*/ 4 h 38"/>
                <a:gd name="T2" fmla="*/ 38 w 38"/>
                <a:gd name="T3" fmla="*/ 2 h 38"/>
                <a:gd name="T4" fmla="*/ 36 w 38"/>
                <a:gd name="T5" fmla="*/ 0 h 38"/>
                <a:gd name="T6" fmla="*/ 0 w 38"/>
                <a:gd name="T7" fmla="*/ 36 h 38"/>
                <a:gd name="T8" fmla="*/ 2 w 38"/>
                <a:gd name="T9" fmla="*/ 38 h 38"/>
                <a:gd name="T10" fmla="*/ 4 w 38"/>
                <a:gd name="T11" fmla="*/ 36 h 38"/>
                <a:gd name="T12" fmla="*/ 36 w 38"/>
                <a:gd name="T13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8">
                  <a:moveTo>
                    <a:pt x="36" y="4"/>
                  </a:moveTo>
                  <a:cubicBezTo>
                    <a:pt x="37" y="4"/>
                    <a:pt x="38" y="3"/>
                    <a:pt x="38" y="2"/>
                  </a:cubicBezTo>
                  <a:cubicBezTo>
                    <a:pt x="38" y="1"/>
                    <a:pt x="37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37"/>
                    <a:pt x="1" y="38"/>
                    <a:pt x="2" y="38"/>
                  </a:cubicBezTo>
                  <a:cubicBezTo>
                    <a:pt x="3" y="38"/>
                    <a:pt x="4" y="37"/>
                    <a:pt x="4" y="36"/>
                  </a:cubicBezTo>
                  <a:cubicBezTo>
                    <a:pt x="4" y="18"/>
                    <a:pt x="18" y="4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3609975" y="3294063"/>
              <a:ext cx="96838" cy="96838"/>
            </a:xfrm>
            <a:custGeom>
              <a:avLst/>
              <a:gdLst>
                <a:gd name="T0" fmla="*/ 2 w 26"/>
                <a:gd name="T1" fmla="*/ 0 h 26"/>
                <a:gd name="T2" fmla="*/ 0 w 26"/>
                <a:gd name="T3" fmla="*/ 2 h 26"/>
                <a:gd name="T4" fmla="*/ 2 w 26"/>
                <a:gd name="T5" fmla="*/ 4 h 26"/>
                <a:gd name="T6" fmla="*/ 22 w 26"/>
                <a:gd name="T7" fmla="*/ 24 h 26"/>
                <a:gd name="T8" fmla="*/ 24 w 26"/>
                <a:gd name="T9" fmla="*/ 26 h 26"/>
                <a:gd name="T10" fmla="*/ 26 w 26"/>
                <a:gd name="T11" fmla="*/ 24 h 26"/>
                <a:gd name="T12" fmla="*/ 2 w 26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3" y="4"/>
                    <a:pt x="22" y="13"/>
                    <a:pt x="22" y="24"/>
                  </a:cubicBezTo>
                  <a:cubicBezTo>
                    <a:pt x="22" y="25"/>
                    <a:pt x="23" y="26"/>
                    <a:pt x="24" y="26"/>
                  </a:cubicBezTo>
                  <a:cubicBezTo>
                    <a:pt x="25" y="26"/>
                    <a:pt x="26" y="25"/>
                    <a:pt x="26" y="24"/>
                  </a:cubicBezTo>
                  <a:cubicBezTo>
                    <a:pt x="26" y="11"/>
                    <a:pt x="15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3609975" y="3248025"/>
              <a:ext cx="142875" cy="142875"/>
            </a:xfrm>
            <a:custGeom>
              <a:avLst/>
              <a:gdLst>
                <a:gd name="T0" fmla="*/ 2 w 38"/>
                <a:gd name="T1" fmla="*/ 0 h 38"/>
                <a:gd name="T2" fmla="*/ 0 w 38"/>
                <a:gd name="T3" fmla="*/ 2 h 38"/>
                <a:gd name="T4" fmla="*/ 2 w 38"/>
                <a:gd name="T5" fmla="*/ 4 h 38"/>
                <a:gd name="T6" fmla="*/ 34 w 38"/>
                <a:gd name="T7" fmla="*/ 36 h 38"/>
                <a:gd name="T8" fmla="*/ 36 w 38"/>
                <a:gd name="T9" fmla="*/ 38 h 38"/>
                <a:gd name="T10" fmla="*/ 38 w 38"/>
                <a:gd name="T11" fmla="*/ 36 h 38"/>
                <a:gd name="T12" fmla="*/ 2 w 38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0" y="4"/>
                    <a:pt x="34" y="18"/>
                    <a:pt x="34" y="36"/>
                  </a:cubicBezTo>
                  <a:cubicBezTo>
                    <a:pt x="34" y="37"/>
                    <a:pt x="35" y="38"/>
                    <a:pt x="36" y="38"/>
                  </a:cubicBezTo>
                  <a:cubicBezTo>
                    <a:pt x="37" y="38"/>
                    <a:pt x="38" y="37"/>
                    <a:pt x="38" y="36"/>
                  </a:cubicBezTo>
                  <a:cubicBezTo>
                    <a:pt x="38" y="16"/>
                    <a:pt x="2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5915819" y="3248025"/>
            <a:ext cx="360363" cy="361950"/>
            <a:chOff x="5554663" y="3248025"/>
            <a:chExt cx="360363" cy="361950"/>
          </a:xfrm>
          <a:solidFill>
            <a:srgbClr val="0C344C"/>
          </a:solidFill>
        </p:grpSpPr>
        <p:sp>
          <p:nvSpPr>
            <p:cNvPr id="101" name="Rectangle 100"/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Rectangle 101"/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Rectangle 102"/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Rectangle 103"/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104"/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105"/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8130381" y="3248025"/>
            <a:ext cx="361951" cy="361951"/>
            <a:chOff x="3390900" y="3248025"/>
            <a:chExt cx="361951" cy="361951"/>
          </a:xfrm>
          <a:solidFill>
            <a:srgbClr val="0C344C"/>
          </a:solidFill>
        </p:grpSpPr>
        <p:sp>
          <p:nvSpPr>
            <p:cNvPr id="108" name="Freeform 31"/>
            <p:cNvSpPr>
              <a:spLocks/>
            </p:cNvSpPr>
            <p:nvPr/>
          </p:nvSpPr>
          <p:spPr bwMode="auto">
            <a:xfrm>
              <a:off x="3390900" y="3248025"/>
              <a:ext cx="241300" cy="301625"/>
            </a:xfrm>
            <a:custGeom>
              <a:avLst/>
              <a:gdLst>
                <a:gd name="T0" fmla="*/ 64 w 64"/>
                <a:gd name="T1" fmla="*/ 54 h 80"/>
                <a:gd name="T2" fmla="*/ 56 w 64"/>
                <a:gd name="T3" fmla="*/ 51 h 80"/>
                <a:gd name="T4" fmla="*/ 48 w 64"/>
                <a:gd name="T5" fmla="*/ 48 h 80"/>
                <a:gd name="T6" fmla="*/ 48 w 64"/>
                <a:gd name="T7" fmla="*/ 41 h 80"/>
                <a:gd name="T8" fmla="*/ 54 w 64"/>
                <a:gd name="T9" fmla="*/ 29 h 80"/>
                <a:gd name="T10" fmla="*/ 56 w 64"/>
                <a:gd name="T11" fmla="*/ 24 h 80"/>
                <a:gd name="T12" fmla="*/ 54 w 64"/>
                <a:gd name="T13" fmla="*/ 18 h 80"/>
                <a:gd name="T14" fmla="*/ 56 w 64"/>
                <a:gd name="T15" fmla="*/ 7 h 80"/>
                <a:gd name="T16" fmla="*/ 41 w 64"/>
                <a:gd name="T17" fmla="*/ 0 h 80"/>
                <a:gd name="T18" fmla="*/ 41 w 64"/>
                <a:gd name="T19" fmla="*/ 0 h 80"/>
                <a:gd name="T20" fmla="*/ 27 w 64"/>
                <a:gd name="T21" fmla="*/ 6 h 80"/>
                <a:gd name="T22" fmla="*/ 22 w 64"/>
                <a:gd name="T23" fmla="*/ 7 h 80"/>
                <a:gd name="T24" fmla="*/ 22 w 64"/>
                <a:gd name="T25" fmla="*/ 19 h 80"/>
                <a:gd name="T26" fmla="*/ 20 w 64"/>
                <a:gd name="T27" fmla="*/ 20 h 80"/>
                <a:gd name="T28" fmla="*/ 20 w 64"/>
                <a:gd name="T29" fmla="*/ 24 h 80"/>
                <a:gd name="T30" fmla="*/ 22 w 64"/>
                <a:gd name="T31" fmla="*/ 29 h 80"/>
                <a:gd name="T32" fmla="*/ 28 w 64"/>
                <a:gd name="T33" fmla="*/ 41 h 80"/>
                <a:gd name="T34" fmla="*/ 28 w 64"/>
                <a:gd name="T35" fmla="*/ 48 h 80"/>
                <a:gd name="T36" fmla="*/ 20 w 64"/>
                <a:gd name="T37" fmla="*/ 51 h 80"/>
                <a:gd name="T38" fmla="*/ 2 w 64"/>
                <a:gd name="T39" fmla="*/ 61 h 80"/>
                <a:gd name="T40" fmla="*/ 0 w 64"/>
                <a:gd name="T41" fmla="*/ 78 h 80"/>
                <a:gd name="T42" fmla="*/ 1 w 64"/>
                <a:gd name="T43" fmla="*/ 79 h 80"/>
                <a:gd name="T44" fmla="*/ 2 w 64"/>
                <a:gd name="T45" fmla="*/ 80 h 80"/>
                <a:gd name="T46" fmla="*/ 54 w 64"/>
                <a:gd name="T47" fmla="*/ 80 h 80"/>
                <a:gd name="T48" fmla="*/ 52 w 64"/>
                <a:gd name="T49" fmla="*/ 72 h 80"/>
                <a:gd name="T50" fmla="*/ 64 w 64"/>
                <a:gd name="T51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80">
                  <a:moveTo>
                    <a:pt x="64" y="54"/>
                  </a:moveTo>
                  <a:cubicBezTo>
                    <a:pt x="61" y="53"/>
                    <a:pt x="59" y="52"/>
                    <a:pt x="56" y="51"/>
                  </a:cubicBezTo>
                  <a:cubicBezTo>
                    <a:pt x="53" y="50"/>
                    <a:pt x="50" y="49"/>
                    <a:pt x="48" y="48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5" y="28"/>
                    <a:pt x="56" y="26"/>
                    <a:pt x="56" y="24"/>
                  </a:cubicBezTo>
                  <a:cubicBezTo>
                    <a:pt x="56" y="21"/>
                    <a:pt x="56" y="19"/>
                    <a:pt x="54" y="18"/>
                  </a:cubicBezTo>
                  <a:cubicBezTo>
                    <a:pt x="55" y="16"/>
                    <a:pt x="57" y="12"/>
                    <a:pt x="56" y="7"/>
                  </a:cubicBezTo>
                  <a:cubicBezTo>
                    <a:pt x="55" y="2"/>
                    <a:pt x="47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6" y="0"/>
                    <a:pt x="29" y="1"/>
                    <a:pt x="27" y="6"/>
                  </a:cubicBezTo>
                  <a:cubicBezTo>
                    <a:pt x="25" y="5"/>
                    <a:pt x="23" y="6"/>
                    <a:pt x="22" y="7"/>
                  </a:cubicBezTo>
                  <a:cubicBezTo>
                    <a:pt x="19" y="10"/>
                    <a:pt x="21" y="16"/>
                    <a:pt x="22" y="19"/>
                  </a:cubicBezTo>
                  <a:cubicBezTo>
                    <a:pt x="21" y="19"/>
                    <a:pt x="21" y="19"/>
                    <a:pt x="20" y="20"/>
                  </a:cubicBezTo>
                  <a:cubicBezTo>
                    <a:pt x="20" y="21"/>
                    <a:pt x="20" y="22"/>
                    <a:pt x="20" y="24"/>
                  </a:cubicBezTo>
                  <a:cubicBezTo>
                    <a:pt x="20" y="26"/>
                    <a:pt x="21" y="28"/>
                    <a:pt x="22" y="29"/>
                  </a:cubicBezTo>
                  <a:cubicBezTo>
                    <a:pt x="22" y="36"/>
                    <a:pt x="26" y="40"/>
                    <a:pt x="28" y="41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6" y="49"/>
                    <a:pt x="23" y="50"/>
                    <a:pt x="20" y="51"/>
                  </a:cubicBezTo>
                  <a:cubicBezTo>
                    <a:pt x="11" y="54"/>
                    <a:pt x="4" y="56"/>
                    <a:pt x="2" y="61"/>
                  </a:cubicBezTo>
                  <a:cubicBezTo>
                    <a:pt x="0" y="67"/>
                    <a:pt x="0" y="78"/>
                    <a:pt x="0" y="78"/>
                  </a:cubicBezTo>
                  <a:cubicBezTo>
                    <a:pt x="0" y="79"/>
                    <a:pt x="0" y="79"/>
                    <a:pt x="1" y="79"/>
                  </a:cubicBezTo>
                  <a:cubicBezTo>
                    <a:pt x="1" y="80"/>
                    <a:pt x="1" y="80"/>
                    <a:pt x="2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3" y="78"/>
                    <a:pt x="52" y="75"/>
                    <a:pt x="52" y="72"/>
                  </a:cubicBezTo>
                  <a:cubicBezTo>
                    <a:pt x="52" y="64"/>
                    <a:pt x="57" y="57"/>
                    <a:pt x="6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32"/>
            <p:cNvSpPr>
              <a:spLocks noEditPoints="1"/>
            </p:cNvSpPr>
            <p:nvPr/>
          </p:nvSpPr>
          <p:spPr bwMode="auto">
            <a:xfrm>
              <a:off x="3602038" y="3459163"/>
              <a:ext cx="150813" cy="150813"/>
            </a:xfrm>
            <a:custGeom>
              <a:avLst/>
              <a:gdLst>
                <a:gd name="T0" fmla="*/ 39 w 40"/>
                <a:gd name="T1" fmla="*/ 37 h 40"/>
                <a:gd name="T2" fmla="*/ 31 w 40"/>
                <a:gd name="T3" fmla="*/ 29 h 40"/>
                <a:gd name="T4" fmla="*/ 29 w 40"/>
                <a:gd name="T5" fmla="*/ 26 h 40"/>
                <a:gd name="T6" fmla="*/ 32 w 40"/>
                <a:gd name="T7" fmla="*/ 16 h 40"/>
                <a:gd name="T8" fmla="*/ 16 w 40"/>
                <a:gd name="T9" fmla="*/ 0 h 40"/>
                <a:gd name="T10" fmla="*/ 0 w 40"/>
                <a:gd name="T11" fmla="*/ 16 h 40"/>
                <a:gd name="T12" fmla="*/ 16 w 40"/>
                <a:gd name="T13" fmla="*/ 32 h 40"/>
                <a:gd name="T14" fmla="*/ 26 w 40"/>
                <a:gd name="T15" fmla="*/ 29 h 40"/>
                <a:gd name="T16" fmla="*/ 29 w 40"/>
                <a:gd name="T17" fmla="*/ 31 h 40"/>
                <a:gd name="T18" fmla="*/ 37 w 40"/>
                <a:gd name="T19" fmla="*/ 39 h 40"/>
                <a:gd name="T20" fmla="*/ 38 w 40"/>
                <a:gd name="T21" fmla="*/ 40 h 40"/>
                <a:gd name="T22" fmla="*/ 39 w 40"/>
                <a:gd name="T23" fmla="*/ 39 h 40"/>
                <a:gd name="T24" fmla="*/ 39 w 40"/>
                <a:gd name="T25" fmla="*/ 37 h 40"/>
                <a:gd name="T26" fmla="*/ 16 w 40"/>
                <a:gd name="T27" fmla="*/ 28 h 40"/>
                <a:gd name="T28" fmla="*/ 4 w 40"/>
                <a:gd name="T29" fmla="*/ 16 h 40"/>
                <a:gd name="T30" fmla="*/ 16 w 40"/>
                <a:gd name="T31" fmla="*/ 4 h 40"/>
                <a:gd name="T32" fmla="*/ 28 w 40"/>
                <a:gd name="T33" fmla="*/ 16 h 40"/>
                <a:gd name="T34" fmla="*/ 16 w 40"/>
                <a:gd name="T3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39" y="37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1" y="23"/>
                    <a:pt x="32" y="20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cubicBezTo>
                    <a:pt x="20" y="32"/>
                    <a:pt x="23" y="31"/>
                    <a:pt x="26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40"/>
                    <a:pt x="37" y="40"/>
                    <a:pt x="38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40" y="39"/>
                    <a:pt x="40" y="37"/>
                    <a:pt x="39" y="37"/>
                  </a:cubicBezTo>
                  <a:close/>
                  <a:moveTo>
                    <a:pt x="16" y="28"/>
                  </a:moveTo>
                  <a:cubicBezTo>
                    <a:pt x="9" y="28"/>
                    <a:pt x="4" y="23"/>
                    <a:pt x="4" y="16"/>
                  </a:cubicBezTo>
                  <a:cubicBezTo>
                    <a:pt x="4" y="9"/>
                    <a:pt x="9" y="4"/>
                    <a:pt x="16" y="4"/>
                  </a:cubicBezTo>
                  <a:cubicBezTo>
                    <a:pt x="23" y="4"/>
                    <a:pt x="28" y="9"/>
                    <a:pt x="28" y="16"/>
                  </a:cubicBezTo>
                  <a:cubicBezTo>
                    <a:pt x="28" y="23"/>
                    <a:pt x="23" y="28"/>
                    <a:pt x="1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3162828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>
                <a:solidFill>
                  <a:srgbClr val="0C344C"/>
                </a:solidFill>
                <a:latin typeface="+mj-lt"/>
              </a:rPr>
              <a:t>3 Steps Graphic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6" name="TextBox 25"/>
          <p:cNvSpPr txBox="1"/>
          <p:nvPr/>
        </p:nvSpPr>
        <p:spPr>
          <a:xfrm>
            <a:off x="849215" y="1171543"/>
            <a:ext cx="616118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grpSp>
        <p:nvGrpSpPr>
          <p:cNvPr id="18" name="Group 14"/>
          <p:cNvGrpSpPr>
            <a:grpSpLocks noChangeAspect="1"/>
          </p:cNvGrpSpPr>
          <p:nvPr/>
        </p:nvGrpSpPr>
        <p:grpSpPr bwMode="auto">
          <a:xfrm>
            <a:off x="6366797" y="1529468"/>
            <a:ext cx="4834690" cy="4325331"/>
            <a:chOff x="4" y="-1"/>
            <a:chExt cx="7451" cy="6666"/>
          </a:xfrm>
        </p:grpSpPr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5660" y="-1"/>
              <a:ext cx="1795" cy="3159"/>
            </a:xfrm>
            <a:custGeom>
              <a:avLst/>
              <a:gdLst>
                <a:gd name="T0" fmla="*/ 1795 w 1795"/>
                <a:gd name="T1" fmla="*/ 636 h 3159"/>
                <a:gd name="T2" fmla="*/ 1374 w 1795"/>
                <a:gd name="T3" fmla="*/ 0 h 3159"/>
                <a:gd name="T4" fmla="*/ 660 w 1795"/>
                <a:gd name="T5" fmla="*/ 636 h 3159"/>
                <a:gd name="T6" fmla="*/ 854 w 1795"/>
                <a:gd name="T7" fmla="*/ 636 h 3159"/>
                <a:gd name="T8" fmla="*/ 0 w 1795"/>
                <a:gd name="T9" fmla="*/ 3159 h 3159"/>
                <a:gd name="T10" fmla="*/ 728 w 1795"/>
                <a:gd name="T11" fmla="*/ 3159 h 3159"/>
                <a:gd name="T12" fmla="*/ 1582 w 1795"/>
                <a:gd name="T13" fmla="*/ 636 h 3159"/>
                <a:gd name="T14" fmla="*/ 1795 w 1795"/>
                <a:gd name="T15" fmla="*/ 636 h 3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5" h="3159">
                  <a:moveTo>
                    <a:pt x="1795" y="636"/>
                  </a:moveTo>
                  <a:lnTo>
                    <a:pt x="1374" y="0"/>
                  </a:lnTo>
                  <a:lnTo>
                    <a:pt x="660" y="636"/>
                  </a:lnTo>
                  <a:lnTo>
                    <a:pt x="854" y="636"/>
                  </a:lnTo>
                  <a:lnTo>
                    <a:pt x="0" y="3159"/>
                  </a:lnTo>
                  <a:lnTo>
                    <a:pt x="728" y="3159"/>
                  </a:lnTo>
                  <a:lnTo>
                    <a:pt x="1582" y="636"/>
                  </a:lnTo>
                  <a:lnTo>
                    <a:pt x="1795" y="63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4785" y="1328"/>
              <a:ext cx="1603" cy="1830"/>
            </a:xfrm>
            <a:custGeom>
              <a:avLst/>
              <a:gdLst>
                <a:gd name="T0" fmla="*/ 728 w 1603"/>
                <a:gd name="T1" fmla="*/ 0 h 1830"/>
                <a:gd name="T2" fmla="*/ 1603 w 1603"/>
                <a:gd name="T3" fmla="*/ 1830 h 1830"/>
                <a:gd name="T4" fmla="*/ 875 w 1603"/>
                <a:gd name="T5" fmla="*/ 1830 h 1830"/>
                <a:gd name="T6" fmla="*/ 0 w 1603"/>
                <a:gd name="T7" fmla="*/ 0 h 1830"/>
                <a:gd name="T8" fmla="*/ 728 w 1603"/>
                <a:gd name="T9" fmla="*/ 0 h 1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3" h="1830">
                  <a:moveTo>
                    <a:pt x="728" y="0"/>
                  </a:moveTo>
                  <a:lnTo>
                    <a:pt x="1603" y="1830"/>
                  </a:lnTo>
                  <a:lnTo>
                    <a:pt x="875" y="1830"/>
                  </a:lnTo>
                  <a:lnTo>
                    <a:pt x="0" y="0"/>
                  </a:lnTo>
                  <a:lnTo>
                    <a:pt x="728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3719" y="1328"/>
              <a:ext cx="1794" cy="3159"/>
            </a:xfrm>
            <a:custGeom>
              <a:avLst/>
              <a:gdLst>
                <a:gd name="T0" fmla="*/ 726 w 1794"/>
                <a:gd name="T1" fmla="*/ 3159 h 3159"/>
                <a:gd name="T2" fmla="*/ 1794 w 1794"/>
                <a:gd name="T3" fmla="*/ 0 h 3159"/>
                <a:gd name="T4" fmla="*/ 1066 w 1794"/>
                <a:gd name="T5" fmla="*/ 0 h 3159"/>
                <a:gd name="T6" fmla="*/ 0 w 1794"/>
                <a:gd name="T7" fmla="*/ 3159 h 3159"/>
                <a:gd name="T8" fmla="*/ 726 w 1794"/>
                <a:gd name="T9" fmla="*/ 3159 h 3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4" h="3159">
                  <a:moveTo>
                    <a:pt x="726" y="3159"/>
                  </a:moveTo>
                  <a:lnTo>
                    <a:pt x="1794" y="0"/>
                  </a:lnTo>
                  <a:lnTo>
                    <a:pt x="1066" y="0"/>
                  </a:lnTo>
                  <a:lnTo>
                    <a:pt x="0" y="3159"/>
                  </a:lnTo>
                  <a:lnTo>
                    <a:pt x="726" y="315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19627F"/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2844" y="2654"/>
              <a:ext cx="1601" cy="1833"/>
            </a:xfrm>
            <a:custGeom>
              <a:avLst/>
              <a:gdLst>
                <a:gd name="T0" fmla="*/ 728 w 1601"/>
                <a:gd name="T1" fmla="*/ 0 h 1833"/>
                <a:gd name="T2" fmla="*/ 1601 w 1601"/>
                <a:gd name="T3" fmla="*/ 1833 h 1833"/>
                <a:gd name="T4" fmla="*/ 875 w 1601"/>
                <a:gd name="T5" fmla="*/ 1833 h 1833"/>
                <a:gd name="T6" fmla="*/ 0 w 1601"/>
                <a:gd name="T7" fmla="*/ 0 h 1833"/>
                <a:gd name="T8" fmla="*/ 728 w 1601"/>
                <a:gd name="T9" fmla="*/ 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1" h="1833">
                  <a:moveTo>
                    <a:pt x="728" y="0"/>
                  </a:moveTo>
                  <a:lnTo>
                    <a:pt x="1601" y="1833"/>
                  </a:lnTo>
                  <a:lnTo>
                    <a:pt x="875" y="1833"/>
                  </a:lnTo>
                  <a:lnTo>
                    <a:pt x="0" y="0"/>
                  </a:lnTo>
                  <a:lnTo>
                    <a:pt x="728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1775" y="2654"/>
              <a:ext cx="1797" cy="3160"/>
            </a:xfrm>
            <a:custGeom>
              <a:avLst/>
              <a:gdLst>
                <a:gd name="T0" fmla="*/ 729 w 1797"/>
                <a:gd name="T1" fmla="*/ 3160 h 3160"/>
                <a:gd name="T2" fmla="*/ 1797 w 1797"/>
                <a:gd name="T3" fmla="*/ 0 h 3160"/>
                <a:gd name="T4" fmla="*/ 1069 w 1797"/>
                <a:gd name="T5" fmla="*/ 0 h 3160"/>
                <a:gd name="T6" fmla="*/ 0 w 1797"/>
                <a:gd name="T7" fmla="*/ 3160 h 3160"/>
                <a:gd name="T8" fmla="*/ 729 w 1797"/>
                <a:gd name="T9" fmla="*/ 3160 h 3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7" h="3160">
                  <a:moveTo>
                    <a:pt x="729" y="3160"/>
                  </a:moveTo>
                  <a:lnTo>
                    <a:pt x="1797" y="0"/>
                  </a:lnTo>
                  <a:lnTo>
                    <a:pt x="1069" y="0"/>
                  </a:lnTo>
                  <a:lnTo>
                    <a:pt x="0" y="3160"/>
                  </a:lnTo>
                  <a:lnTo>
                    <a:pt x="729" y="316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F878C"/>
                </a:gs>
                <a:gs pos="100000">
                  <a:srgbClr val="19627F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903" y="3983"/>
              <a:ext cx="1601" cy="1831"/>
            </a:xfrm>
            <a:custGeom>
              <a:avLst/>
              <a:gdLst>
                <a:gd name="T0" fmla="*/ 728 w 1601"/>
                <a:gd name="T1" fmla="*/ 0 h 1831"/>
                <a:gd name="T2" fmla="*/ 1601 w 1601"/>
                <a:gd name="T3" fmla="*/ 1831 h 1831"/>
                <a:gd name="T4" fmla="*/ 872 w 1601"/>
                <a:gd name="T5" fmla="*/ 1831 h 1831"/>
                <a:gd name="T6" fmla="*/ 0 w 1601"/>
                <a:gd name="T7" fmla="*/ 0 h 1831"/>
                <a:gd name="T8" fmla="*/ 728 w 1601"/>
                <a:gd name="T9" fmla="*/ 0 h 1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1" h="1831">
                  <a:moveTo>
                    <a:pt x="728" y="0"/>
                  </a:moveTo>
                  <a:lnTo>
                    <a:pt x="1601" y="1831"/>
                  </a:lnTo>
                  <a:lnTo>
                    <a:pt x="872" y="1831"/>
                  </a:lnTo>
                  <a:lnTo>
                    <a:pt x="0" y="0"/>
                  </a:lnTo>
                  <a:lnTo>
                    <a:pt x="728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4" y="3983"/>
              <a:ext cx="1627" cy="2682"/>
            </a:xfrm>
            <a:custGeom>
              <a:avLst/>
              <a:gdLst>
                <a:gd name="T0" fmla="*/ 729 w 1627"/>
                <a:gd name="T1" fmla="*/ 2682 h 2682"/>
                <a:gd name="T2" fmla="*/ 1627 w 1627"/>
                <a:gd name="T3" fmla="*/ 0 h 2682"/>
                <a:gd name="T4" fmla="*/ 899 w 1627"/>
                <a:gd name="T5" fmla="*/ 0 h 2682"/>
                <a:gd name="T6" fmla="*/ 0 w 1627"/>
                <a:gd name="T7" fmla="*/ 2682 h 2682"/>
                <a:gd name="T8" fmla="*/ 729 w 1627"/>
                <a:gd name="T9" fmla="*/ 2682 h 2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7" h="2682">
                  <a:moveTo>
                    <a:pt x="729" y="2682"/>
                  </a:moveTo>
                  <a:lnTo>
                    <a:pt x="1627" y="0"/>
                  </a:lnTo>
                  <a:lnTo>
                    <a:pt x="899" y="0"/>
                  </a:lnTo>
                  <a:lnTo>
                    <a:pt x="0" y="2682"/>
                  </a:lnTo>
                  <a:lnTo>
                    <a:pt x="729" y="2682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F878C"/>
                </a:gs>
                <a:gs pos="100000">
                  <a:srgbClr val="BFBEBE"/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8253284" y="2668724"/>
            <a:ext cx="360363" cy="361950"/>
            <a:chOff x="9161463" y="1803400"/>
            <a:chExt cx="360363" cy="361950"/>
          </a:xfrm>
          <a:solidFill>
            <a:srgbClr val="19627F"/>
          </a:solidFill>
        </p:grpSpPr>
        <p:sp>
          <p:nvSpPr>
            <p:cNvPr id="28" name="Freeform 101"/>
            <p:cNvSpPr>
              <a:spLocks/>
            </p:cNvSpPr>
            <p:nvPr/>
          </p:nvSpPr>
          <p:spPr bwMode="auto">
            <a:xfrm>
              <a:off x="9161463" y="1965325"/>
              <a:ext cx="168275" cy="93663"/>
            </a:xfrm>
            <a:custGeom>
              <a:avLst/>
              <a:gdLst>
                <a:gd name="T0" fmla="*/ 40 w 45"/>
                <a:gd name="T1" fmla="*/ 25 h 25"/>
                <a:gd name="T2" fmla="*/ 40 w 45"/>
                <a:gd name="T3" fmla="*/ 25 h 25"/>
                <a:gd name="T4" fmla="*/ 45 w 45"/>
                <a:gd name="T5" fmla="*/ 11 h 25"/>
                <a:gd name="T6" fmla="*/ 40 w 45"/>
                <a:gd name="T7" fmla="*/ 11 h 25"/>
                <a:gd name="T8" fmla="*/ 0 w 45"/>
                <a:gd name="T9" fmla="*/ 0 h 25"/>
                <a:gd name="T10" fmla="*/ 0 w 45"/>
                <a:gd name="T11" fmla="*/ 11 h 25"/>
                <a:gd name="T12" fmla="*/ 40 w 45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5"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0"/>
                    <a:pt x="42" y="15"/>
                    <a:pt x="45" y="11"/>
                  </a:cubicBezTo>
                  <a:cubicBezTo>
                    <a:pt x="43" y="11"/>
                    <a:pt x="42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02"/>
            <p:cNvSpPr>
              <a:spLocks/>
            </p:cNvSpPr>
            <p:nvPr/>
          </p:nvSpPr>
          <p:spPr bwMode="auto">
            <a:xfrm>
              <a:off x="9161463" y="1897063"/>
              <a:ext cx="300038" cy="95250"/>
            </a:xfrm>
            <a:custGeom>
              <a:avLst/>
              <a:gdLst>
                <a:gd name="T0" fmla="*/ 40 w 80"/>
                <a:gd name="T1" fmla="*/ 25 h 25"/>
                <a:gd name="T2" fmla="*/ 48 w 80"/>
                <a:gd name="T3" fmla="*/ 25 h 25"/>
                <a:gd name="T4" fmla="*/ 70 w 80"/>
                <a:gd name="T5" fmla="*/ 15 h 25"/>
                <a:gd name="T6" fmla="*/ 78 w 80"/>
                <a:gd name="T7" fmla="*/ 16 h 25"/>
                <a:gd name="T8" fmla="*/ 80 w 80"/>
                <a:gd name="T9" fmla="*/ 15 h 25"/>
                <a:gd name="T10" fmla="*/ 80 w 80"/>
                <a:gd name="T11" fmla="*/ 2 h 25"/>
                <a:gd name="T12" fmla="*/ 40 w 80"/>
                <a:gd name="T13" fmla="*/ 11 h 25"/>
                <a:gd name="T14" fmla="*/ 0 w 80"/>
                <a:gd name="T15" fmla="*/ 0 h 25"/>
                <a:gd name="T16" fmla="*/ 0 w 80"/>
                <a:gd name="T17" fmla="*/ 11 h 25"/>
                <a:gd name="T18" fmla="*/ 40 w 80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25">
                  <a:moveTo>
                    <a:pt x="40" y="25"/>
                  </a:moveTo>
                  <a:cubicBezTo>
                    <a:pt x="43" y="25"/>
                    <a:pt x="45" y="25"/>
                    <a:pt x="48" y="25"/>
                  </a:cubicBezTo>
                  <a:cubicBezTo>
                    <a:pt x="53" y="19"/>
                    <a:pt x="61" y="15"/>
                    <a:pt x="70" y="15"/>
                  </a:cubicBezTo>
                  <a:cubicBezTo>
                    <a:pt x="73" y="15"/>
                    <a:pt x="76" y="15"/>
                    <a:pt x="78" y="16"/>
                  </a:cubicBezTo>
                  <a:cubicBezTo>
                    <a:pt x="79" y="16"/>
                    <a:pt x="79" y="15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03"/>
            <p:cNvSpPr>
              <a:spLocks/>
            </p:cNvSpPr>
            <p:nvPr/>
          </p:nvSpPr>
          <p:spPr bwMode="auto">
            <a:xfrm>
              <a:off x="9161463" y="1803400"/>
              <a:ext cx="300038" cy="120650"/>
            </a:xfrm>
            <a:custGeom>
              <a:avLst/>
              <a:gdLst>
                <a:gd name="T0" fmla="*/ 40 w 80"/>
                <a:gd name="T1" fmla="*/ 32 h 32"/>
                <a:gd name="T2" fmla="*/ 80 w 80"/>
                <a:gd name="T3" fmla="*/ 22 h 32"/>
                <a:gd name="T4" fmla="*/ 80 w 80"/>
                <a:gd name="T5" fmla="*/ 18 h 32"/>
                <a:gd name="T6" fmla="*/ 40 w 80"/>
                <a:gd name="T7" fmla="*/ 0 h 32"/>
                <a:gd name="T8" fmla="*/ 0 w 80"/>
                <a:gd name="T9" fmla="*/ 18 h 32"/>
                <a:gd name="T10" fmla="*/ 40 w 80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2">
                  <a:moveTo>
                    <a:pt x="40" y="32"/>
                  </a:moveTo>
                  <a:cubicBezTo>
                    <a:pt x="58" y="32"/>
                    <a:pt x="74" y="27"/>
                    <a:pt x="80" y="22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8"/>
                    <a:pt x="62" y="0"/>
                    <a:pt x="40" y="0"/>
                  </a:cubicBezTo>
                  <a:cubicBezTo>
                    <a:pt x="18" y="0"/>
                    <a:pt x="0" y="8"/>
                    <a:pt x="0" y="18"/>
                  </a:cubicBezTo>
                  <a:cubicBezTo>
                    <a:pt x="0" y="24"/>
                    <a:pt x="18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04"/>
            <p:cNvSpPr>
              <a:spLocks/>
            </p:cNvSpPr>
            <p:nvPr/>
          </p:nvSpPr>
          <p:spPr bwMode="auto">
            <a:xfrm>
              <a:off x="9161463" y="2033588"/>
              <a:ext cx="173038" cy="101600"/>
            </a:xfrm>
            <a:custGeom>
              <a:avLst/>
              <a:gdLst>
                <a:gd name="T0" fmla="*/ 40 w 46"/>
                <a:gd name="T1" fmla="*/ 11 h 27"/>
                <a:gd name="T2" fmla="*/ 0 w 46"/>
                <a:gd name="T3" fmla="*/ 0 h 27"/>
                <a:gd name="T4" fmla="*/ 0 w 46"/>
                <a:gd name="T5" fmla="*/ 9 h 27"/>
                <a:gd name="T6" fmla="*/ 40 w 46"/>
                <a:gd name="T7" fmla="*/ 27 h 27"/>
                <a:gd name="T8" fmla="*/ 46 w 46"/>
                <a:gd name="T9" fmla="*/ 27 h 27"/>
                <a:gd name="T10" fmla="*/ 40 w 46"/>
                <a:gd name="T11" fmla="*/ 11 h 27"/>
                <a:gd name="T12" fmla="*/ 40 w 46"/>
                <a:gd name="T13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7">
                  <a:moveTo>
                    <a:pt x="40" y="11"/>
                  </a:moveTo>
                  <a:cubicBezTo>
                    <a:pt x="24" y="11"/>
                    <a:pt x="7" y="7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18" y="27"/>
                    <a:pt x="40" y="27"/>
                  </a:cubicBezTo>
                  <a:cubicBezTo>
                    <a:pt x="42" y="27"/>
                    <a:pt x="44" y="27"/>
                    <a:pt x="46" y="27"/>
                  </a:cubicBezTo>
                  <a:cubicBezTo>
                    <a:pt x="43" y="22"/>
                    <a:pt x="40" y="17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105"/>
            <p:cNvSpPr>
              <a:spLocks noEditPoints="1"/>
            </p:cNvSpPr>
            <p:nvPr/>
          </p:nvSpPr>
          <p:spPr bwMode="auto">
            <a:xfrm>
              <a:off x="9326563" y="1968500"/>
              <a:ext cx="195263" cy="196850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32 w 52"/>
                <a:gd name="T11" fmla="*/ 30 h 52"/>
                <a:gd name="T12" fmla="*/ 22 w 52"/>
                <a:gd name="T13" fmla="*/ 30 h 52"/>
                <a:gd name="T14" fmla="*/ 22 w 52"/>
                <a:gd name="T15" fmla="*/ 13 h 52"/>
                <a:gd name="T16" fmla="*/ 24 w 52"/>
                <a:gd name="T17" fmla="*/ 11 h 52"/>
                <a:gd name="T18" fmla="*/ 26 w 52"/>
                <a:gd name="T19" fmla="*/ 13 h 52"/>
                <a:gd name="T20" fmla="*/ 26 w 52"/>
                <a:gd name="T21" fmla="*/ 26 h 52"/>
                <a:gd name="T22" fmla="*/ 32 w 52"/>
                <a:gd name="T23" fmla="*/ 26 h 52"/>
                <a:gd name="T24" fmla="*/ 35 w 52"/>
                <a:gd name="T25" fmla="*/ 28 h 52"/>
                <a:gd name="T26" fmla="*/ 32 w 52"/>
                <a:gd name="T27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32" y="30"/>
                  </a:moveTo>
                  <a:cubicBezTo>
                    <a:pt x="22" y="30"/>
                    <a:pt x="22" y="30"/>
                    <a:pt x="22" y="30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3" y="11"/>
                    <a:pt x="24" y="11"/>
                  </a:cubicBezTo>
                  <a:cubicBezTo>
                    <a:pt x="25" y="11"/>
                    <a:pt x="26" y="12"/>
                    <a:pt x="26" y="1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6"/>
                    <a:pt x="35" y="27"/>
                    <a:pt x="35" y="28"/>
                  </a:cubicBezTo>
                  <a:cubicBezTo>
                    <a:pt x="35" y="29"/>
                    <a:pt x="34" y="30"/>
                    <a:pt x="3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018280" y="3625885"/>
            <a:ext cx="360363" cy="301626"/>
            <a:chOff x="2670175" y="2916238"/>
            <a:chExt cx="360363" cy="301626"/>
          </a:xfrm>
          <a:solidFill>
            <a:srgbClr val="6F878C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970213" y="3067051"/>
              <a:ext cx="60325" cy="136525"/>
            </a:xfrm>
            <a:custGeom>
              <a:avLst/>
              <a:gdLst>
                <a:gd name="T0" fmla="*/ 14 w 16"/>
                <a:gd name="T1" fmla="*/ 0 h 36"/>
                <a:gd name="T2" fmla="*/ 2 w 16"/>
                <a:gd name="T3" fmla="*/ 0 h 36"/>
                <a:gd name="T4" fmla="*/ 0 w 16"/>
                <a:gd name="T5" fmla="*/ 2 h 36"/>
                <a:gd name="T6" fmla="*/ 0 w 16"/>
                <a:gd name="T7" fmla="*/ 34 h 36"/>
                <a:gd name="T8" fmla="*/ 2 w 16"/>
                <a:gd name="T9" fmla="*/ 36 h 36"/>
                <a:gd name="T10" fmla="*/ 14 w 16"/>
                <a:gd name="T11" fmla="*/ 36 h 36"/>
                <a:gd name="T12" fmla="*/ 16 w 16"/>
                <a:gd name="T13" fmla="*/ 34 h 36"/>
                <a:gd name="T14" fmla="*/ 16 w 16"/>
                <a:gd name="T15" fmla="*/ 2 h 36"/>
                <a:gd name="T16" fmla="*/ 14 w 16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6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5" y="36"/>
                    <a:pt x="16" y="35"/>
                    <a:pt x="16" y="3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714625" y="2916238"/>
              <a:ext cx="225425" cy="196850"/>
            </a:xfrm>
            <a:custGeom>
              <a:avLst/>
              <a:gdLst>
                <a:gd name="T0" fmla="*/ 58 w 60"/>
                <a:gd name="T1" fmla="*/ 0 h 52"/>
                <a:gd name="T2" fmla="*/ 42 w 60"/>
                <a:gd name="T3" fmla="*/ 0 h 52"/>
                <a:gd name="T4" fmla="*/ 42 w 60"/>
                <a:gd name="T5" fmla="*/ 34 h 52"/>
                <a:gd name="T6" fmla="*/ 30 w 60"/>
                <a:gd name="T7" fmla="*/ 24 h 52"/>
                <a:gd name="T8" fmla="*/ 18 w 60"/>
                <a:gd name="T9" fmla="*/ 34 h 52"/>
                <a:gd name="T10" fmla="*/ 18 w 60"/>
                <a:gd name="T11" fmla="*/ 0 h 52"/>
                <a:gd name="T12" fmla="*/ 2 w 60"/>
                <a:gd name="T13" fmla="*/ 0 h 52"/>
                <a:gd name="T14" fmla="*/ 0 w 60"/>
                <a:gd name="T15" fmla="*/ 2 h 52"/>
                <a:gd name="T16" fmla="*/ 0 w 60"/>
                <a:gd name="T17" fmla="*/ 48 h 52"/>
                <a:gd name="T18" fmla="*/ 4 w 60"/>
                <a:gd name="T19" fmla="*/ 48 h 52"/>
                <a:gd name="T20" fmla="*/ 15 w 60"/>
                <a:gd name="T21" fmla="*/ 52 h 52"/>
                <a:gd name="T22" fmla="*/ 22 w 60"/>
                <a:gd name="T23" fmla="*/ 48 h 52"/>
                <a:gd name="T24" fmla="*/ 35 w 60"/>
                <a:gd name="T25" fmla="*/ 48 h 52"/>
                <a:gd name="T26" fmla="*/ 36 w 60"/>
                <a:gd name="T27" fmla="*/ 47 h 52"/>
                <a:gd name="T28" fmla="*/ 54 w 60"/>
                <a:gd name="T29" fmla="*/ 40 h 52"/>
                <a:gd name="T30" fmla="*/ 60 w 60"/>
                <a:gd name="T31" fmla="*/ 40 h 52"/>
                <a:gd name="T32" fmla="*/ 60 w 60"/>
                <a:gd name="T33" fmla="*/ 2 h 52"/>
                <a:gd name="T34" fmla="*/ 58 w 60"/>
                <a:gd name="T3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2">
                  <a:moveTo>
                    <a:pt x="58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" y="48"/>
                    <a:pt x="2" y="48"/>
                    <a:pt x="4" y="4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0"/>
                    <a:pt x="19" y="48"/>
                    <a:pt x="22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7"/>
                  </a:cubicBezTo>
                  <a:cubicBezTo>
                    <a:pt x="39" y="45"/>
                    <a:pt x="46" y="40"/>
                    <a:pt x="54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2670175" y="3082926"/>
              <a:ext cx="285750" cy="134938"/>
            </a:xfrm>
            <a:custGeom>
              <a:avLst/>
              <a:gdLst>
                <a:gd name="T0" fmla="*/ 76 w 76"/>
                <a:gd name="T1" fmla="*/ 0 h 36"/>
                <a:gd name="T2" fmla="*/ 66 w 76"/>
                <a:gd name="T3" fmla="*/ 0 h 36"/>
                <a:gd name="T4" fmla="*/ 50 w 76"/>
                <a:gd name="T5" fmla="*/ 6 h 36"/>
                <a:gd name="T6" fmla="*/ 48 w 76"/>
                <a:gd name="T7" fmla="*/ 8 h 36"/>
                <a:gd name="T8" fmla="*/ 46 w 76"/>
                <a:gd name="T9" fmla="*/ 8 h 36"/>
                <a:gd name="T10" fmla="*/ 34 w 76"/>
                <a:gd name="T11" fmla="*/ 8 h 36"/>
                <a:gd name="T12" fmla="*/ 32 w 76"/>
                <a:gd name="T13" fmla="*/ 8 h 36"/>
                <a:gd name="T14" fmla="*/ 32 w 76"/>
                <a:gd name="T15" fmla="*/ 8 h 36"/>
                <a:gd name="T16" fmla="*/ 31 w 76"/>
                <a:gd name="T17" fmla="*/ 9 h 36"/>
                <a:gd name="T18" fmla="*/ 30 w 76"/>
                <a:gd name="T19" fmla="*/ 12 h 36"/>
                <a:gd name="T20" fmla="*/ 34 w 76"/>
                <a:gd name="T21" fmla="*/ 16 h 36"/>
                <a:gd name="T22" fmla="*/ 56 w 76"/>
                <a:gd name="T23" fmla="*/ 16 h 36"/>
                <a:gd name="T24" fmla="*/ 58 w 76"/>
                <a:gd name="T25" fmla="*/ 18 h 36"/>
                <a:gd name="T26" fmla="*/ 56 w 76"/>
                <a:gd name="T27" fmla="*/ 20 h 36"/>
                <a:gd name="T28" fmla="*/ 34 w 76"/>
                <a:gd name="T29" fmla="*/ 20 h 36"/>
                <a:gd name="T30" fmla="*/ 26 w 76"/>
                <a:gd name="T31" fmla="*/ 12 h 36"/>
                <a:gd name="T32" fmla="*/ 26 w 76"/>
                <a:gd name="T33" fmla="*/ 12 h 36"/>
                <a:gd name="T34" fmla="*/ 15 w 76"/>
                <a:gd name="T35" fmla="*/ 8 h 36"/>
                <a:gd name="T36" fmla="*/ 1 w 76"/>
                <a:gd name="T37" fmla="*/ 13 h 36"/>
                <a:gd name="T38" fmla="*/ 0 w 76"/>
                <a:gd name="T39" fmla="*/ 15 h 36"/>
                <a:gd name="T40" fmla="*/ 1 w 76"/>
                <a:gd name="T41" fmla="*/ 16 h 36"/>
                <a:gd name="T42" fmla="*/ 21 w 76"/>
                <a:gd name="T43" fmla="*/ 26 h 36"/>
                <a:gd name="T44" fmla="*/ 45 w 76"/>
                <a:gd name="T45" fmla="*/ 36 h 36"/>
                <a:gd name="T46" fmla="*/ 67 w 76"/>
                <a:gd name="T47" fmla="*/ 30 h 36"/>
                <a:gd name="T48" fmla="*/ 76 w 76"/>
                <a:gd name="T49" fmla="*/ 27 h 36"/>
                <a:gd name="T50" fmla="*/ 76 w 76"/>
                <a:gd name="T5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36">
                  <a:moveTo>
                    <a:pt x="7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9" y="0"/>
                    <a:pt x="53" y="4"/>
                    <a:pt x="50" y="6"/>
                  </a:cubicBezTo>
                  <a:cubicBezTo>
                    <a:pt x="49" y="7"/>
                    <a:pt x="48" y="8"/>
                    <a:pt x="48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0" y="10"/>
                    <a:pt x="30" y="11"/>
                    <a:pt x="30" y="12"/>
                  </a:cubicBezTo>
                  <a:cubicBezTo>
                    <a:pt x="30" y="14"/>
                    <a:pt x="31" y="16"/>
                    <a:pt x="34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7" y="16"/>
                    <a:pt x="58" y="17"/>
                    <a:pt x="58" y="18"/>
                  </a:cubicBezTo>
                  <a:cubicBezTo>
                    <a:pt x="58" y="19"/>
                    <a:pt x="57" y="20"/>
                    <a:pt x="56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29" y="20"/>
                    <a:pt x="26" y="16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9" y="7"/>
                    <a:pt x="5" y="8"/>
                    <a:pt x="1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9" y="20"/>
                    <a:pt x="16" y="24"/>
                    <a:pt x="21" y="26"/>
                  </a:cubicBezTo>
                  <a:cubicBezTo>
                    <a:pt x="33" y="33"/>
                    <a:pt x="39" y="36"/>
                    <a:pt x="45" y="36"/>
                  </a:cubicBezTo>
                  <a:cubicBezTo>
                    <a:pt x="51" y="36"/>
                    <a:pt x="56" y="34"/>
                    <a:pt x="67" y="30"/>
                  </a:cubicBezTo>
                  <a:cubicBezTo>
                    <a:pt x="70" y="29"/>
                    <a:pt x="73" y="28"/>
                    <a:pt x="76" y="27"/>
                  </a:cubicBez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9469019" y="1781617"/>
            <a:ext cx="436166" cy="374950"/>
            <a:chOff x="5554663" y="2179638"/>
            <a:chExt cx="361950" cy="311151"/>
          </a:xfrm>
          <a:solidFill>
            <a:srgbClr val="0C344C"/>
          </a:solidFill>
        </p:grpSpPr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5630863" y="2298701"/>
              <a:ext cx="165100" cy="174625"/>
            </a:xfrm>
            <a:custGeom>
              <a:avLst/>
              <a:gdLst>
                <a:gd name="T0" fmla="*/ 42 w 44"/>
                <a:gd name="T1" fmla="*/ 0 h 46"/>
                <a:gd name="T2" fmla="*/ 21 w 44"/>
                <a:gd name="T3" fmla="*/ 0 h 46"/>
                <a:gd name="T4" fmla="*/ 0 w 44"/>
                <a:gd name="T5" fmla="*/ 12 h 46"/>
                <a:gd name="T6" fmla="*/ 0 w 44"/>
                <a:gd name="T7" fmla="*/ 12 h 46"/>
                <a:gd name="T8" fmla="*/ 0 w 44"/>
                <a:gd name="T9" fmla="*/ 44 h 46"/>
                <a:gd name="T10" fmla="*/ 1 w 44"/>
                <a:gd name="T11" fmla="*/ 45 h 46"/>
                <a:gd name="T12" fmla="*/ 2 w 44"/>
                <a:gd name="T13" fmla="*/ 46 h 46"/>
                <a:gd name="T14" fmla="*/ 9 w 44"/>
                <a:gd name="T15" fmla="*/ 46 h 46"/>
                <a:gd name="T16" fmla="*/ 9 w 44"/>
                <a:gd name="T17" fmla="*/ 44 h 46"/>
                <a:gd name="T18" fmla="*/ 18 w 44"/>
                <a:gd name="T19" fmla="*/ 35 h 46"/>
                <a:gd name="T20" fmla="*/ 27 w 44"/>
                <a:gd name="T21" fmla="*/ 44 h 46"/>
                <a:gd name="T22" fmla="*/ 27 w 44"/>
                <a:gd name="T23" fmla="*/ 46 h 46"/>
                <a:gd name="T24" fmla="*/ 42 w 44"/>
                <a:gd name="T25" fmla="*/ 46 h 46"/>
                <a:gd name="T26" fmla="*/ 44 w 44"/>
                <a:gd name="T27" fmla="*/ 44 h 46"/>
                <a:gd name="T28" fmla="*/ 44 w 44"/>
                <a:gd name="T29" fmla="*/ 2 h 46"/>
                <a:gd name="T30" fmla="*/ 42 w 44"/>
                <a:gd name="T3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6">
                  <a:moveTo>
                    <a:pt x="4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6" y="7"/>
                    <a:pt x="9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5"/>
                    <a:pt x="1" y="45"/>
                  </a:cubicBezTo>
                  <a:cubicBezTo>
                    <a:pt x="1" y="46"/>
                    <a:pt x="1" y="46"/>
                    <a:pt x="2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9" y="45"/>
                    <a:pt x="9" y="44"/>
                  </a:cubicBezTo>
                  <a:cubicBezTo>
                    <a:pt x="9" y="39"/>
                    <a:pt x="13" y="35"/>
                    <a:pt x="18" y="35"/>
                  </a:cubicBezTo>
                  <a:cubicBezTo>
                    <a:pt x="23" y="35"/>
                    <a:pt x="27" y="39"/>
                    <a:pt x="27" y="44"/>
                  </a:cubicBezTo>
                  <a:cubicBezTo>
                    <a:pt x="27" y="45"/>
                    <a:pt x="27" y="45"/>
                    <a:pt x="27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3" y="46"/>
                    <a:pt x="44" y="45"/>
                    <a:pt x="44" y="44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>
              <a:off x="5821363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>
              <a:off x="5672138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5554663" y="2179638"/>
              <a:ext cx="150813" cy="149225"/>
            </a:xfrm>
            <a:custGeom>
              <a:avLst/>
              <a:gdLst>
                <a:gd name="T0" fmla="*/ 20 w 40"/>
                <a:gd name="T1" fmla="*/ 40 h 40"/>
                <a:gd name="T2" fmla="*/ 40 w 40"/>
                <a:gd name="T3" fmla="*/ 20 h 40"/>
                <a:gd name="T4" fmla="*/ 20 w 40"/>
                <a:gd name="T5" fmla="*/ 0 h 40"/>
                <a:gd name="T6" fmla="*/ 0 w 40"/>
                <a:gd name="T7" fmla="*/ 20 h 40"/>
                <a:gd name="T8" fmla="*/ 20 w 40"/>
                <a:gd name="T9" fmla="*/ 40 h 40"/>
                <a:gd name="T10" fmla="*/ 16 w 40"/>
                <a:gd name="T11" fmla="*/ 10 h 40"/>
                <a:gd name="T12" fmla="*/ 18 w 40"/>
                <a:gd name="T13" fmla="*/ 8 h 40"/>
                <a:gd name="T14" fmla="*/ 20 w 40"/>
                <a:gd name="T15" fmla="*/ 10 h 40"/>
                <a:gd name="T16" fmla="*/ 20 w 40"/>
                <a:gd name="T17" fmla="*/ 20 h 40"/>
                <a:gd name="T18" fmla="*/ 26 w 40"/>
                <a:gd name="T19" fmla="*/ 20 h 40"/>
                <a:gd name="T20" fmla="*/ 28 w 40"/>
                <a:gd name="T21" fmla="*/ 22 h 40"/>
                <a:gd name="T22" fmla="*/ 26 w 40"/>
                <a:gd name="T23" fmla="*/ 24 h 40"/>
                <a:gd name="T24" fmla="*/ 18 w 40"/>
                <a:gd name="T25" fmla="*/ 24 h 40"/>
                <a:gd name="T26" fmla="*/ 16 w 40"/>
                <a:gd name="T27" fmla="*/ 22 h 40"/>
                <a:gd name="T28" fmla="*/ 16 w 40"/>
                <a:gd name="T2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  <a:moveTo>
                    <a:pt x="16" y="10"/>
                  </a:move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8" y="21"/>
                    <a:pt x="28" y="22"/>
                  </a:cubicBezTo>
                  <a:cubicBezTo>
                    <a:pt x="28" y="23"/>
                    <a:pt x="27" y="24"/>
                    <a:pt x="26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lnTo>
                    <a:pt x="1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554663" y="2371726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2 w 16"/>
                <a:gd name="T5" fmla="*/ 0 h 4"/>
                <a:gd name="T6" fmla="*/ 0 w 16"/>
                <a:gd name="T7" fmla="*/ 2 h 4"/>
                <a:gd name="T8" fmla="*/ 2 w 16"/>
                <a:gd name="T9" fmla="*/ 4 h 4"/>
                <a:gd name="T10" fmla="*/ 14 w 16"/>
                <a:gd name="T11" fmla="*/ 4 h 4"/>
                <a:gd name="T12" fmla="*/ 14 w 16"/>
                <a:gd name="T13" fmla="*/ 4 h 4"/>
                <a:gd name="T14" fmla="*/ 16 w 16"/>
                <a:gd name="T15" fmla="*/ 2 h 4"/>
                <a:gd name="T16" fmla="*/ 14 w 16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5578475" y="2401888"/>
              <a:ext cx="36513" cy="14288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592763" y="2430463"/>
              <a:ext cx="22225" cy="15875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5803900" y="2344738"/>
              <a:ext cx="112713" cy="128588"/>
            </a:xfrm>
            <a:custGeom>
              <a:avLst/>
              <a:gdLst>
                <a:gd name="T0" fmla="*/ 30 w 30"/>
                <a:gd name="T1" fmla="*/ 18 h 34"/>
                <a:gd name="T2" fmla="*/ 30 w 30"/>
                <a:gd name="T3" fmla="*/ 17 h 34"/>
                <a:gd name="T4" fmla="*/ 30 w 30"/>
                <a:gd name="T5" fmla="*/ 17 h 34"/>
                <a:gd name="T6" fmla="*/ 30 w 30"/>
                <a:gd name="T7" fmla="*/ 17 h 34"/>
                <a:gd name="T8" fmla="*/ 20 w 30"/>
                <a:gd name="T9" fmla="*/ 1 h 34"/>
                <a:gd name="T10" fmla="*/ 18 w 30"/>
                <a:gd name="T11" fmla="*/ 0 h 34"/>
                <a:gd name="T12" fmla="*/ 2 w 30"/>
                <a:gd name="T13" fmla="*/ 0 h 34"/>
                <a:gd name="T14" fmla="*/ 0 w 30"/>
                <a:gd name="T15" fmla="*/ 2 h 34"/>
                <a:gd name="T16" fmla="*/ 0 w 30"/>
                <a:gd name="T17" fmla="*/ 18 h 34"/>
                <a:gd name="T18" fmla="*/ 0 w 30"/>
                <a:gd name="T19" fmla="*/ 32 h 34"/>
                <a:gd name="T20" fmla="*/ 2 w 30"/>
                <a:gd name="T21" fmla="*/ 34 h 34"/>
                <a:gd name="T22" fmla="*/ 3 w 30"/>
                <a:gd name="T23" fmla="*/ 34 h 34"/>
                <a:gd name="T24" fmla="*/ 3 w 30"/>
                <a:gd name="T25" fmla="*/ 32 h 34"/>
                <a:gd name="T26" fmla="*/ 12 w 30"/>
                <a:gd name="T27" fmla="*/ 23 h 34"/>
                <a:gd name="T28" fmla="*/ 21 w 30"/>
                <a:gd name="T29" fmla="*/ 32 h 34"/>
                <a:gd name="T30" fmla="*/ 21 w 30"/>
                <a:gd name="T31" fmla="*/ 34 h 34"/>
                <a:gd name="T32" fmla="*/ 28 w 30"/>
                <a:gd name="T33" fmla="*/ 34 h 34"/>
                <a:gd name="T34" fmla="*/ 30 w 30"/>
                <a:gd name="T35" fmla="*/ 32 h 34"/>
                <a:gd name="T36" fmla="*/ 30 w 30"/>
                <a:gd name="T37" fmla="*/ 18 h 34"/>
                <a:gd name="T38" fmla="*/ 30 w 30"/>
                <a:gd name="T39" fmla="*/ 18 h 34"/>
                <a:gd name="T40" fmla="*/ 4 w 30"/>
                <a:gd name="T41" fmla="*/ 16 h 34"/>
                <a:gd name="T42" fmla="*/ 4 w 30"/>
                <a:gd name="T43" fmla="*/ 4 h 34"/>
                <a:gd name="T44" fmla="*/ 17 w 30"/>
                <a:gd name="T45" fmla="*/ 4 h 34"/>
                <a:gd name="T46" fmla="*/ 24 w 30"/>
                <a:gd name="T47" fmla="*/ 16 h 34"/>
                <a:gd name="T48" fmla="*/ 4 w 30"/>
                <a:gd name="T49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4">
                  <a:moveTo>
                    <a:pt x="30" y="18"/>
                  </a:moveTo>
                  <a:cubicBezTo>
                    <a:pt x="30" y="18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27"/>
                    <a:pt x="7" y="23"/>
                    <a:pt x="12" y="23"/>
                  </a:cubicBezTo>
                  <a:cubicBezTo>
                    <a:pt x="17" y="23"/>
                    <a:pt x="21" y="27"/>
                    <a:pt x="21" y="32"/>
                  </a:cubicBezTo>
                  <a:cubicBezTo>
                    <a:pt x="21" y="33"/>
                    <a:pt x="21" y="33"/>
                    <a:pt x="21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30" y="33"/>
                    <a:pt x="30" y="3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lose/>
                  <a:moveTo>
                    <a:pt x="4" y="16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4" y="16"/>
                    <a:pt x="24" y="16"/>
                    <a:pt x="24" y="16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6" name="TextBox 25"/>
          <p:cNvSpPr txBox="1"/>
          <p:nvPr/>
        </p:nvSpPr>
        <p:spPr>
          <a:xfrm>
            <a:off x="7894962" y="5384264"/>
            <a:ext cx="5131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6F878C"/>
                </a:solidFill>
                <a:latin typeface="+mj-lt"/>
                <a:cs typeface="Calibri Light" panose="020F0302020204030204" pitchFamily="34" charset="0"/>
              </a:rPr>
              <a:t>01</a:t>
            </a:r>
          </a:p>
        </p:txBody>
      </p:sp>
      <p:sp>
        <p:nvSpPr>
          <p:cNvPr id="47" name="TextBox 25"/>
          <p:cNvSpPr txBox="1"/>
          <p:nvPr/>
        </p:nvSpPr>
        <p:spPr>
          <a:xfrm>
            <a:off x="9154408" y="4535017"/>
            <a:ext cx="5131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19627F"/>
                </a:solidFill>
                <a:latin typeface="+mj-lt"/>
                <a:cs typeface="Calibri Light" panose="020F0302020204030204" pitchFamily="34" charset="0"/>
              </a:rPr>
              <a:t>02</a:t>
            </a:r>
          </a:p>
        </p:txBody>
      </p:sp>
      <p:sp>
        <p:nvSpPr>
          <p:cNvPr id="48" name="TextBox 25"/>
          <p:cNvSpPr txBox="1"/>
          <p:nvPr/>
        </p:nvSpPr>
        <p:spPr>
          <a:xfrm>
            <a:off x="10399901" y="3667001"/>
            <a:ext cx="5131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03</a:t>
            </a:r>
          </a:p>
        </p:txBody>
      </p:sp>
      <p:sp>
        <p:nvSpPr>
          <p:cNvPr id="49" name="Rectangle: Rounded Corners 74"/>
          <p:cNvSpPr/>
          <p:nvPr/>
        </p:nvSpPr>
        <p:spPr>
          <a:xfrm rot="18900000">
            <a:off x="1299700" y="3147558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: Rounded Corners 51"/>
          <p:cNvSpPr/>
          <p:nvPr/>
        </p:nvSpPr>
        <p:spPr>
          <a:xfrm rot="2700000">
            <a:off x="935790" y="3051703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1896322" y="3037701"/>
            <a:ext cx="3503612" cy="607017"/>
            <a:chOff x="7748833" y="2577037"/>
            <a:chExt cx="3603380" cy="607017"/>
          </a:xfrm>
        </p:grpSpPr>
        <p:sp>
          <p:nvSpPr>
            <p:cNvPr id="70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71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19627F"/>
                  </a:solidFill>
                  <a:latin typeface="+mj-lt"/>
                  <a:cs typeface="Calibri Light" panose="020F0302020204030204" pitchFamily="34" charset="0"/>
                </a:rPr>
                <a:t>Step 2</a:t>
              </a: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1094383" y="3209763"/>
            <a:ext cx="242385" cy="243452"/>
            <a:chOff x="9161463" y="1803400"/>
            <a:chExt cx="360363" cy="361950"/>
          </a:xfrm>
          <a:solidFill>
            <a:schemeClr val="bg1"/>
          </a:solidFill>
        </p:grpSpPr>
        <p:sp>
          <p:nvSpPr>
            <p:cNvPr id="76" name="Freeform 101"/>
            <p:cNvSpPr>
              <a:spLocks/>
            </p:cNvSpPr>
            <p:nvPr/>
          </p:nvSpPr>
          <p:spPr bwMode="auto">
            <a:xfrm>
              <a:off x="9161463" y="1965325"/>
              <a:ext cx="168275" cy="93663"/>
            </a:xfrm>
            <a:custGeom>
              <a:avLst/>
              <a:gdLst>
                <a:gd name="T0" fmla="*/ 40 w 45"/>
                <a:gd name="T1" fmla="*/ 25 h 25"/>
                <a:gd name="T2" fmla="*/ 40 w 45"/>
                <a:gd name="T3" fmla="*/ 25 h 25"/>
                <a:gd name="T4" fmla="*/ 45 w 45"/>
                <a:gd name="T5" fmla="*/ 11 h 25"/>
                <a:gd name="T6" fmla="*/ 40 w 45"/>
                <a:gd name="T7" fmla="*/ 11 h 25"/>
                <a:gd name="T8" fmla="*/ 0 w 45"/>
                <a:gd name="T9" fmla="*/ 0 h 25"/>
                <a:gd name="T10" fmla="*/ 0 w 45"/>
                <a:gd name="T11" fmla="*/ 11 h 25"/>
                <a:gd name="T12" fmla="*/ 40 w 45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5"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0"/>
                    <a:pt x="42" y="15"/>
                    <a:pt x="45" y="11"/>
                  </a:cubicBezTo>
                  <a:cubicBezTo>
                    <a:pt x="43" y="11"/>
                    <a:pt x="42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102"/>
            <p:cNvSpPr>
              <a:spLocks/>
            </p:cNvSpPr>
            <p:nvPr/>
          </p:nvSpPr>
          <p:spPr bwMode="auto">
            <a:xfrm>
              <a:off x="9161463" y="1897063"/>
              <a:ext cx="300038" cy="95250"/>
            </a:xfrm>
            <a:custGeom>
              <a:avLst/>
              <a:gdLst>
                <a:gd name="T0" fmla="*/ 40 w 80"/>
                <a:gd name="T1" fmla="*/ 25 h 25"/>
                <a:gd name="T2" fmla="*/ 48 w 80"/>
                <a:gd name="T3" fmla="*/ 25 h 25"/>
                <a:gd name="T4" fmla="*/ 70 w 80"/>
                <a:gd name="T5" fmla="*/ 15 h 25"/>
                <a:gd name="T6" fmla="*/ 78 w 80"/>
                <a:gd name="T7" fmla="*/ 16 h 25"/>
                <a:gd name="T8" fmla="*/ 80 w 80"/>
                <a:gd name="T9" fmla="*/ 15 h 25"/>
                <a:gd name="T10" fmla="*/ 80 w 80"/>
                <a:gd name="T11" fmla="*/ 2 h 25"/>
                <a:gd name="T12" fmla="*/ 40 w 80"/>
                <a:gd name="T13" fmla="*/ 11 h 25"/>
                <a:gd name="T14" fmla="*/ 0 w 80"/>
                <a:gd name="T15" fmla="*/ 0 h 25"/>
                <a:gd name="T16" fmla="*/ 0 w 80"/>
                <a:gd name="T17" fmla="*/ 11 h 25"/>
                <a:gd name="T18" fmla="*/ 40 w 80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25">
                  <a:moveTo>
                    <a:pt x="40" y="25"/>
                  </a:moveTo>
                  <a:cubicBezTo>
                    <a:pt x="43" y="25"/>
                    <a:pt x="45" y="25"/>
                    <a:pt x="48" y="25"/>
                  </a:cubicBezTo>
                  <a:cubicBezTo>
                    <a:pt x="53" y="19"/>
                    <a:pt x="61" y="15"/>
                    <a:pt x="70" y="15"/>
                  </a:cubicBezTo>
                  <a:cubicBezTo>
                    <a:pt x="73" y="15"/>
                    <a:pt x="76" y="15"/>
                    <a:pt x="78" y="16"/>
                  </a:cubicBezTo>
                  <a:cubicBezTo>
                    <a:pt x="79" y="16"/>
                    <a:pt x="79" y="15"/>
                    <a:pt x="80" y="1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1" y="7"/>
                    <a:pt x="55" y="11"/>
                    <a:pt x="40" y="11"/>
                  </a:cubicBezTo>
                  <a:cubicBezTo>
                    <a:pt x="24" y="11"/>
                    <a:pt x="7" y="7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18" y="25"/>
                    <a:pt x="4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03"/>
            <p:cNvSpPr>
              <a:spLocks/>
            </p:cNvSpPr>
            <p:nvPr/>
          </p:nvSpPr>
          <p:spPr bwMode="auto">
            <a:xfrm>
              <a:off x="9161463" y="1803400"/>
              <a:ext cx="300038" cy="120650"/>
            </a:xfrm>
            <a:custGeom>
              <a:avLst/>
              <a:gdLst>
                <a:gd name="T0" fmla="*/ 40 w 80"/>
                <a:gd name="T1" fmla="*/ 32 h 32"/>
                <a:gd name="T2" fmla="*/ 80 w 80"/>
                <a:gd name="T3" fmla="*/ 22 h 32"/>
                <a:gd name="T4" fmla="*/ 80 w 80"/>
                <a:gd name="T5" fmla="*/ 18 h 32"/>
                <a:gd name="T6" fmla="*/ 40 w 80"/>
                <a:gd name="T7" fmla="*/ 0 h 32"/>
                <a:gd name="T8" fmla="*/ 0 w 80"/>
                <a:gd name="T9" fmla="*/ 18 h 32"/>
                <a:gd name="T10" fmla="*/ 40 w 80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32">
                  <a:moveTo>
                    <a:pt x="40" y="32"/>
                  </a:moveTo>
                  <a:cubicBezTo>
                    <a:pt x="58" y="32"/>
                    <a:pt x="74" y="27"/>
                    <a:pt x="80" y="22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8"/>
                    <a:pt x="62" y="0"/>
                    <a:pt x="40" y="0"/>
                  </a:cubicBezTo>
                  <a:cubicBezTo>
                    <a:pt x="18" y="0"/>
                    <a:pt x="0" y="8"/>
                    <a:pt x="0" y="18"/>
                  </a:cubicBezTo>
                  <a:cubicBezTo>
                    <a:pt x="0" y="24"/>
                    <a:pt x="18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104"/>
            <p:cNvSpPr>
              <a:spLocks/>
            </p:cNvSpPr>
            <p:nvPr/>
          </p:nvSpPr>
          <p:spPr bwMode="auto">
            <a:xfrm>
              <a:off x="9161463" y="2033588"/>
              <a:ext cx="173038" cy="101600"/>
            </a:xfrm>
            <a:custGeom>
              <a:avLst/>
              <a:gdLst>
                <a:gd name="T0" fmla="*/ 40 w 46"/>
                <a:gd name="T1" fmla="*/ 11 h 27"/>
                <a:gd name="T2" fmla="*/ 0 w 46"/>
                <a:gd name="T3" fmla="*/ 0 h 27"/>
                <a:gd name="T4" fmla="*/ 0 w 46"/>
                <a:gd name="T5" fmla="*/ 9 h 27"/>
                <a:gd name="T6" fmla="*/ 40 w 46"/>
                <a:gd name="T7" fmla="*/ 27 h 27"/>
                <a:gd name="T8" fmla="*/ 46 w 46"/>
                <a:gd name="T9" fmla="*/ 27 h 27"/>
                <a:gd name="T10" fmla="*/ 40 w 46"/>
                <a:gd name="T11" fmla="*/ 11 h 27"/>
                <a:gd name="T12" fmla="*/ 40 w 46"/>
                <a:gd name="T13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7">
                  <a:moveTo>
                    <a:pt x="40" y="11"/>
                  </a:moveTo>
                  <a:cubicBezTo>
                    <a:pt x="24" y="11"/>
                    <a:pt x="7" y="7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18" y="27"/>
                    <a:pt x="40" y="27"/>
                  </a:cubicBezTo>
                  <a:cubicBezTo>
                    <a:pt x="42" y="27"/>
                    <a:pt x="44" y="27"/>
                    <a:pt x="46" y="27"/>
                  </a:cubicBezTo>
                  <a:cubicBezTo>
                    <a:pt x="43" y="22"/>
                    <a:pt x="40" y="17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105"/>
            <p:cNvSpPr>
              <a:spLocks noEditPoints="1"/>
            </p:cNvSpPr>
            <p:nvPr/>
          </p:nvSpPr>
          <p:spPr bwMode="auto">
            <a:xfrm>
              <a:off x="9326563" y="1968500"/>
              <a:ext cx="195263" cy="196850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32 w 52"/>
                <a:gd name="T11" fmla="*/ 30 h 52"/>
                <a:gd name="T12" fmla="*/ 22 w 52"/>
                <a:gd name="T13" fmla="*/ 30 h 52"/>
                <a:gd name="T14" fmla="*/ 22 w 52"/>
                <a:gd name="T15" fmla="*/ 13 h 52"/>
                <a:gd name="T16" fmla="*/ 24 w 52"/>
                <a:gd name="T17" fmla="*/ 11 h 52"/>
                <a:gd name="T18" fmla="*/ 26 w 52"/>
                <a:gd name="T19" fmla="*/ 13 h 52"/>
                <a:gd name="T20" fmla="*/ 26 w 52"/>
                <a:gd name="T21" fmla="*/ 26 h 52"/>
                <a:gd name="T22" fmla="*/ 32 w 52"/>
                <a:gd name="T23" fmla="*/ 26 h 52"/>
                <a:gd name="T24" fmla="*/ 35 w 52"/>
                <a:gd name="T25" fmla="*/ 28 h 52"/>
                <a:gd name="T26" fmla="*/ 32 w 52"/>
                <a:gd name="T27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32" y="30"/>
                  </a:moveTo>
                  <a:cubicBezTo>
                    <a:pt x="22" y="30"/>
                    <a:pt x="22" y="30"/>
                    <a:pt x="22" y="30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3" y="11"/>
                    <a:pt x="24" y="11"/>
                  </a:cubicBezTo>
                  <a:cubicBezTo>
                    <a:pt x="25" y="11"/>
                    <a:pt x="26" y="12"/>
                    <a:pt x="26" y="1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4" y="26"/>
                    <a:pt x="35" y="27"/>
                    <a:pt x="35" y="28"/>
                  </a:cubicBezTo>
                  <a:cubicBezTo>
                    <a:pt x="35" y="29"/>
                    <a:pt x="34" y="30"/>
                    <a:pt x="3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0" name="Rectangle: Rounded Corners 75"/>
          <p:cNvSpPr/>
          <p:nvPr/>
        </p:nvSpPr>
        <p:spPr>
          <a:xfrm rot="18900000">
            <a:off x="1299700" y="4123611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: Rounded Corners 52"/>
          <p:cNvSpPr/>
          <p:nvPr/>
        </p:nvSpPr>
        <p:spPr>
          <a:xfrm rot="2700000">
            <a:off x="935790" y="4027756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2" name="Group 71"/>
          <p:cNvGrpSpPr/>
          <p:nvPr/>
        </p:nvGrpSpPr>
        <p:grpSpPr>
          <a:xfrm>
            <a:off x="1896322" y="4004034"/>
            <a:ext cx="3503612" cy="607017"/>
            <a:chOff x="7748833" y="2577037"/>
            <a:chExt cx="3603380" cy="607017"/>
          </a:xfrm>
        </p:grpSpPr>
        <p:sp>
          <p:nvSpPr>
            <p:cNvPr id="73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74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0C344C"/>
                  </a:solidFill>
                  <a:latin typeface="+mj-lt"/>
                  <a:cs typeface="Calibri Light" panose="020F0302020204030204" pitchFamily="34" charset="0"/>
                </a:rPr>
                <a:t>Step 3</a:t>
              </a:r>
            </a:p>
          </p:txBody>
        </p:sp>
      </p:grpSp>
      <p:sp>
        <p:nvSpPr>
          <p:cNvPr id="51" name="Rectangle: Rounded Corners 73"/>
          <p:cNvSpPr/>
          <p:nvPr/>
        </p:nvSpPr>
        <p:spPr>
          <a:xfrm rot="18900000">
            <a:off x="1299700" y="2190947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: Rounded Corners 50"/>
          <p:cNvSpPr/>
          <p:nvPr/>
        </p:nvSpPr>
        <p:spPr>
          <a:xfrm rot="2700000">
            <a:off x="935790" y="2095091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6" name="Group 65"/>
          <p:cNvGrpSpPr/>
          <p:nvPr/>
        </p:nvGrpSpPr>
        <p:grpSpPr>
          <a:xfrm>
            <a:off x="1896322" y="2071369"/>
            <a:ext cx="3503612" cy="607017"/>
            <a:chOff x="7748833" y="2577037"/>
            <a:chExt cx="3603380" cy="607017"/>
          </a:xfrm>
        </p:grpSpPr>
        <p:sp>
          <p:nvSpPr>
            <p:cNvPr id="67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68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Step 1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068890" y="4181444"/>
            <a:ext cx="293371" cy="252196"/>
            <a:chOff x="5554663" y="2179638"/>
            <a:chExt cx="361950" cy="311151"/>
          </a:xfrm>
          <a:solidFill>
            <a:schemeClr val="bg1"/>
          </a:solidFill>
        </p:grpSpPr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5630863" y="2298701"/>
              <a:ext cx="165100" cy="174625"/>
            </a:xfrm>
            <a:custGeom>
              <a:avLst/>
              <a:gdLst>
                <a:gd name="T0" fmla="*/ 42 w 44"/>
                <a:gd name="T1" fmla="*/ 0 h 46"/>
                <a:gd name="T2" fmla="*/ 21 w 44"/>
                <a:gd name="T3" fmla="*/ 0 h 46"/>
                <a:gd name="T4" fmla="*/ 0 w 44"/>
                <a:gd name="T5" fmla="*/ 12 h 46"/>
                <a:gd name="T6" fmla="*/ 0 w 44"/>
                <a:gd name="T7" fmla="*/ 12 h 46"/>
                <a:gd name="T8" fmla="*/ 0 w 44"/>
                <a:gd name="T9" fmla="*/ 44 h 46"/>
                <a:gd name="T10" fmla="*/ 1 w 44"/>
                <a:gd name="T11" fmla="*/ 45 h 46"/>
                <a:gd name="T12" fmla="*/ 2 w 44"/>
                <a:gd name="T13" fmla="*/ 46 h 46"/>
                <a:gd name="T14" fmla="*/ 9 w 44"/>
                <a:gd name="T15" fmla="*/ 46 h 46"/>
                <a:gd name="T16" fmla="*/ 9 w 44"/>
                <a:gd name="T17" fmla="*/ 44 h 46"/>
                <a:gd name="T18" fmla="*/ 18 w 44"/>
                <a:gd name="T19" fmla="*/ 35 h 46"/>
                <a:gd name="T20" fmla="*/ 27 w 44"/>
                <a:gd name="T21" fmla="*/ 44 h 46"/>
                <a:gd name="T22" fmla="*/ 27 w 44"/>
                <a:gd name="T23" fmla="*/ 46 h 46"/>
                <a:gd name="T24" fmla="*/ 42 w 44"/>
                <a:gd name="T25" fmla="*/ 46 h 46"/>
                <a:gd name="T26" fmla="*/ 44 w 44"/>
                <a:gd name="T27" fmla="*/ 44 h 46"/>
                <a:gd name="T28" fmla="*/ 44 w 44"/>
                <a:gd name="T29" fmla="*/ 2 h 46"/>
                <a:gd name="T30" fmla="*/ 42 w 44"/>
                <a:gd name="T3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6">
                  <a:moveTo>
                    <a:pt x="4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6" y="7"/>
                    <a:pt x="9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5"/>
                    <a:pt x="1" y="45"/>
                  </a:cubicBezTo>
                  <a:cubicBezTo>
                    <a:pt x="1" y="46"/>
                    <a:pt x="1" y="46"/>
                    <a:pt x="2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9" y="45"/>
                    <a:pt x="9" y="44"/>
                  </a:cubicBezTo>
                  <a:cubicBezTo>
                    <a:pt x="9" y="39"/>
                    <a:pt x="13" y="35"/>
                    <a:pt x="18" y="35"/>
                  </a:cubicBezTo>
                  <a:cubicBezTo>
                    <a:pt x="23" y="35"/>
                    <a:pt x="27" y="39"/>
                    <a:pt x="27" y="44"/>
                  </a:cubicBezTo>
                  <a:cubicBezTo>
                    <a:pt x="27" y="45"/>
                    <a:pt x="27" y="45"/>
                    <a:pt x="27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3" y="46"/>
                    <a:pt x="44" y="45"/>
                    <a:pt x="44" y="44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Oval 86"/>
            <p:cNvSpPr>
              <a:spLocks noChangeArrowheads="1"/>
            </p:cNvSpPr>
            <p:nvPr/>
          </p:nvSpPr>
          <p:spPr bwMode="auto">
            <a:xfrm>
              <a:off x="5821363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Oval 87"/>
            <p:cNvSpPr>
              <a:spLocks noChangeArrowheads="1"/>
            </p:cNvSpPr>
            <p:nvPr/>
          </p:nvSpPr>
          <p:spPr bwMode="auto">
            <a:xfrm>
              <a:off x="5672138" y="2438401"/>
              <a:ext cx="52388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Freeform 88"/>
            <p:cNvSpPr>
              <a:spLocks noEditPoints="1"/>
            </p:cNvSpPr>
            <p:nvPr/>
          </p:nvSpPr>
          <p:spPr bwMode="auto">
            <a:xfrm>
              <a:off x="5554663" y="2179638"/>
              <a:ext cx="150813" cy="149225"/>
            </a:xfrm>
            <a:custGeom>
              <a:avLst/>
              <a:gdLst>
                <a:gd name="T0" fmla="*/ 20 w 40"/>
                <a:gd name="T1" fmla="*/ 40 h 40"/>
                <a:gd name="T2" fmla="*/ 40 w 40"/>
                <a:gd name="T3" fmla="*/ 20 h 40"/>
                <a:gd name="T4" fmla="*/ 20 w 40"/>
                <a:gd name="T5" fmla="*/ 0 h 40"/>
                <a:gd name="T6" fmla="*/ 0 w 40"/>
                <a:gd name="T7" fmla="*/ 20 h 40"/>
                <a:gd name="T8" fmla="*/ 20 w 40"/>
                <a:gd name="T9" fmla="*/ 40 h 40"/>
                <a:gd name="T10" fmla="*/ 16 w 40"/>
                <a:gd name="T11" fmla="*/ 10 h 40"/>
                <a:gd name="T12" fmla="*/ 18 w 40"/>
                <a:gd name="T13" fmla="*/ 8 h 40"/>
                <a:gd name="T14" fmla="*/ 20 w 40"/>
                <a:gd name="T15" fmla="*/ 10 h 40"/>
                <a:gd name="T16" fmla="*/ 20 w 40"/>
                <a:gd name="T17" fmla="*/ 20 h 40"/>
                <a:gd name="T18" fmla="*/ 26 w 40"/>
                <a:gd name="T19" fmla="*/ 20 h 40"/>
                <a:gd name="T20" fmla="*/ 28 w 40"/>
                <a:gd name="T21" fmla="*/ 22 h 40"/>
                <a:gd name="T22" fmla="*/ 26 w 40"/>
                <a:gd name="T23" fmla="*/ 24 h 40"/>
                <a:gd name="T24" fmla="*/ 18 w 40"/>
                <a:gd name="T25" fmla="*/ 24 h 40"/>
                <a:gd name="T26" fmla="*/ 16 w 40"/>
                <a:gd name="T27" fmla="*/ 22 h 40"/>
                <a:gd name="T28" fmla="*/ 16 w 40"/>
                <a:gd name="T2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  <a:moveTo>
                    <a:pt x="16" y="10"/>
                  </a:move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8" y="21"/>
                    <a:pt x="28" y="22"/>
                  </a:cubicBezTo>
                  <a:cubicBezTo>
                    <a:pt x="28" y="23"/>
                    <a:pt x="27" y="24"/>
                    <a:pt x="26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lnTo>
                    <a:pt x="1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5554663" y="2371726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2 w 16"/>
                <a:gd name="T5" fmla="*/ 0 h 4"/>
                <a:gd name="T6" fmla="*/ 0 w 16"/>
                <a:gd name="T7" fmla="*/ 2 h 4"/>
                <a:gd name="T8" fmla="*/ 2 w 16"/>
                <a:gd name="T9" fmla="*/ 4 h 4"/>
                <a:gd name="T10" fmla="*/ 14 w 16"/>
                <a:gd name="T11" fmla="*/ 4 h 4"/>
                <a:gd name="T12" fmla="*/ 14 w 16"/>
                <a:gd name="T13" fmla="*/ 4 h 4"/>
                <a:gd name="T14" fmla="*/ 16 w 16"/>
                <a:gd name="T15" fmla="*/ 2 h 4"/>
                <a:gd name="T16" fmla="*/ 14 w 16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5578475" y="2401888"/>
              <a:ext cx="36513" cy="14288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5592763" y="2430463"/>
              <a:ext cx="22225" cy="15875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92"/>
            <p:cNvSpPr>
              <a:spLocks noEditPoints="1"/>
            </p:cNvSpPr>
            <p:nvPr/>
          </p:nvSpPr>
          <p:spPr bwMode="auto">
            <a:xfrm>
              <a:off x="5803900" y="2344738"/>
              <a:ext cx="112713" cy="128588"/>
            </a:xfrm>
            <a:custGeom>
              <a:avLst/>
              <a:gdLst>
                <a:gd name="T0" fmla="*/ 30 w 30"/>
                <a:gd name="T1" fmla="*/ 18 h 34"/>
                <a:gd name="T2" fmla="*/ 30 w 30"/>
                <a:gd name="T3" fmla="*/ 17 h 34"/>
                <a:gd name="T4" fmla="*/ 30 w 30"/>
                <a:gd name="T5" fmla="*/ 17 h 34"/>
                <a:gd name="T6" fmla="*/ 30 w 30"/>
                <a:gd name="T7" fmla="*/ 17 h 34"/>
                <a:gd name="T8" fmla="*/ 20 w 30"/>
                <a:gd name="T9" fmla="*/ 1 h 34"/>
                <a:gd name="T10" fmla="*/ 18 w 30"/>
                <a:gd name="T11" fmla="*/ 0 h 34"/>
                <a:gd name="T12" fmla="*/ 2 w 30"/>
                <a:gd name="T13" fmla="*/ 0 h 34"/>
                <a:gd name="T14" fmla="*/ 0 w 30"/>
                <a:gd name="T15" fmla="*/ 2 h 34"/>
                <a:gd name="T16" fmla="*/ 0 w 30"/>
                <a:gd name="T17" fmla="*/ 18 h 34"/>
                <a:gd name="T18" fmla="*/ 0 w 30"/>
                <a:gd name="T19" fmla="*/ 32 h 34"/>
                <a:gd name="T20" fmla="*/ 2 w 30"/>
                <a:gd name="T21" fmla="*/ 34 h 34"/>
                <a:gd name="T22" fmla="*/ 3 w 30"/>
                <a:gd name="T23" fmla="*/ 34 h 34"/>
                <a:gd name="T24" fmla="*/ 3 w 30"/>
                <a:gd name="T25" fmla="*/ 32 h 34"/>
                <a:gd name="T26" fmla="*/ 12 w 30"/>
                <a:gd name="T27" fmla="*/ 23 h 34"/>
                <a:gd name="T28" fmla="*/ 21 w 30"/>
                <a:gd name="T29" fmla="*/ 32 h 34"/>
                <a:gd name="T30" fmla="*/ 21 w 30"/>
                <a:gd name="T31" fmla="*/ 34 h 34"/>
                <a:gd name="T32" fmla="*/ 28 w 30"/>
                <a:gd name="T33" fmla="*/ 34 h 34"/>
                <a:gd name="T34" fmla="*/ 30 w 30"/>
                <a:gd name="T35" fmla="*/ 32 h 34"/>
                <a:gd name="T36" fmla="*/ 30 w 30"/>
                <a:gd name="T37" fmla="*/ 18 h 34"/>
                <a:gd name="T38" fmla="*/ 30 w 30"/>
                <a:gd name="T39" fmla="*/ 18 h 34"/>
                <a:gd name="T40" fmla="*/ 4 w 30"/>
                <a:gd name="T41" fmla="*/ 16 h 34"/>
                <a:gd name="T42" fmla="*/ 4 w 30"/>
                <a:gd name="T43" fmla="*/ 4 h 34"/>
                <a:gd name="T44" fmla="*/ 17 w 30"/>
                <a:gd name="T45" fmla="*/ 4 h 34"/>
                <a:gd name="T46" fmla="*/ 24 w 30"/>
                <a:gd name="T47" fmla="*/ 16 h 34"/>
                <a:gd name="T48" fmla="*/ 4 w 30"/>
                <a:gd name="T49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4">
                  <a:moveTo>
                    <a:pt x="30" y="18"/>
                  </a:moveTo>
                  <a:cubicBezTo>
                    <a:pt x="30" y="18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27"/>
                    <a:pt x="7" y="23"/>
                    <a:pt x="12" y="23"/>
                  </a:cubicBezTo>
                  <a:cubicBezTo>
                    <a:pt x="17" y="23"/>
                    <a:pt x="21" y="27"/>
                    <a:pt x="21" y="32"/>
                  </a:cubicBezTo>
                  <a:cubicBezTo>
                    <a:pt x="21" y="33"/>
                    <a:pt x="21" y="33"/>
                    <a:pt x="21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30" y="33"/>
                    <a:pt x="30" y="3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lose/>
                  <a:moveTo>
                    <a:pt x="4" y="16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4" y="16"/>
                    <a:pt x="24" y="16"/>
                    <a:pt x="24" y="16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1094383" y="2273439"/>
            <a:ext cx="242384" cy="202877"/>
            <a:chOff x="2670175" y="2916238"/>
            <a:chExt cx="360363" cy="301626"/>
          </a:xfrm>
          <a:solidFill>
            <a:schemeClr val="bg1"/>
          </a:solidFill>
        </p:grpSpPr>
        <p:sp>
          <p:nvSpPr>
            <p:cNvPr id="82" name="Freeform 81"/>
            <p:cNvSpPr>
              <a:spLocks/>
            </p:cNvSpPr>
            <p:nvPr/>
          </p:nvSpPr>
          <p:spPr bwMode="auto">
            <a:xfrm>
              <a:off x="2970213" y="3067051"/>
              <a:ext cx="60325" cy="136525"/>
            </a:xfrm>
            <a:custGeom>
              <a:avLst/>
              <a:gdLst>
                <a:gd name="T0" fmla="*/ 14 w 16"/>
                <a:gd name="T1" fmla="*/ 0 h 36"/>
                <a:gd name="T2" fmla="*/ 2 w 16"/>
                <a:gd name="T3" fmla="*/ 0 h 36"/>
                <a:gd name="T4" fmla="*/ 0 w 16"/>
                <a:gd name="T5" fmla="*/ 2 h 36"/>
                <a:gd name="T6" fmla="*/ 0 w 16"/>
                <a:gd name="T7" fmla="*/ 34 h 36"/>
                <a:gd name="T8" fmla="*/ 2 w 16"/>
                <a:gd name="T9" fmla="*/ 36 h 36"/>
                <a:gd name="T10" fmla="*/ 14 w 16"/>
                <a:gd name="T11" fmla="*/ 36 h 36"/>
                <a:gd name="T12" fmla="*/ 16 w 16"/>
                <a:gd name="T13" fmla="*/ 34 h 36"/>
                <a:gd name="T14" fmla="*/ 16 w 16"/>
                <a:gd name="T15" fmla="*/ 2 h 36"/>
                <a:gd name="T16" fmla="*/ 14 w 16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6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5" y="36"/>
                    <a:pt x="16" y="35"/>
                    <a:pt x="16" y="3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auto">
            <a:xfrm>
              <a:off x="2714625" y="2916238"/>
              <a:ext cx="225425" cy="196850"/>
            </a:xfrm>
            <a:custGeom>
              <a:avLst/>
              <a:gdLst>
                <a:gd name="T0" fmla="*/ 58 w 60"/>
                <a:gd name="T1" fmla="*/ 0 h 52"/>
                <a:gd name="T2" fmla="*/ 42 w 60"/>
                <a:gd name="T3" fmla="*/ 0 h 52"/>
                <a:gd name="T4" fmla="*/ 42 w 60"/>
                <a:gd name="T5" fmla="*/ 34 h 52"/>
                <a:gd name="T6" fmla="*/ 30 w 60"/>
                <a:gd name="T7" fmla="*/ 24 h 52"/>
                <a:gd name="T8" fmla="*/ 18 w 60"/>
                <a:gd name="T9" fmla="*/ 34 h 52"/>
                <a:gd name="T10" fmla="*/ 18 w 60"/>
                <a:gd name="T11" fmla="*/ 0 h 52"/>
                <a:gd name="T12" fmla="*/ 2 w 60"/>
                <a:gd name="T13" fmla="*/ 0 h 52"/>
                <a:gd name="T14" fmla="*/ 0 w 60"/>
                <a:gd name="T15" fmla="*/ 2 h 52"/>
                <a:gd name="T16" fmla="*/ 0 w 60"/>
                <a:gd name="T17" fmla="*/ 48 h 52"/>
                <a:gd name="T18" fmla="*/ 4 w 60"/>
                <a:gd name="T19" fmla="*/ 48 h 52"/>
                <a:gd name="T20" fmla="*/ 15 w 60"/>
                <a:gd name="T21" fmla="*/ 52 h 52"/>
                <a:gd name="T22" fmla="*/ 22 w 60"/>
                <a:gd name="T23" fmla="*/ 48 h 52"/>
                <a:gd name="T24" fmla="*/ 35 w 60"/>
                <a:gd name="T25" fmla="*/ 48 h 52"/>
                <a:gd name="T26" fmla="*/ 36 w 60"/>
                <a:gd name="T27" fmla="*/ 47 h 52"/>
                <a:gd name="T28" fmla="*/ 54 w 60"/>
                <a:gd name="T29" fmla="*/ 40 h 52"/>
                <a:gd name="T30" fmla="*/ 60 w 60"/>
                <a:gd name="T31" fmla="*/ 40 h 52"/>
                <a:gd name="T32" fmla="*/ 60 w 60"/>
                <a:gd name="T33" fmla="*/ 2 h 52"/>
                <a:gd name="T34" fmla="*/ 58 w 60"/>
                <a:gd name="T3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2">
                  <a:moveTo>
                    <a:pt x="58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" y="48"/>
                    <a:pt x="2" y="48"/>
                    <a:pt x="4" y="4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0"/>
                    <a:pt x="19" y="48"/>
                    <a:pt x="22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7"/>
                  </a:cubicBezTo>
                  <a:cubicBezTo>
                    <a:pt x="39" y="45"/>
                    <a:pt x="46" y="40"/>
                    <a:pt x="54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auto">
            <a:xfrm>
              <a:off x="2670175" y="3082926"/>
              <a:ext cx="285750" cy="134938"/>
            </a:xfrm>
            <a:custGeom>
              <a:avLst/>
              <a:gdLst>
                <a:gd name="T0" fmla="*/ 76 w 76"/>
                <a:gd name="T1" fmla="*/ 0 h 36"/>
                <a:gd name="T2" fmla="*/ 66 w 76"/>
                <a:gd name="T3" fmla="*/ 0 h 36"/>
                <a:gd name="T4" fmla="*/ 50 w 76"/>
                <a:gd name="T5" fmla="*/ 6 h 36"/>
                <a:gd name="T6" fmla="*/ 48 w 76"/>
                <a:gd name="T7" fmla="*/ 8 h 36"/>
                <a:gd name="T8" fmla="*/ 46 w 76"/>
                <a:gd name="T9" fmla="*/ 8 h 36"/>
                <a:gd name="T10" fmla="*/ 34 w 76"/>
                <a:gd name="T11" fmla="*/ 8 h 36"/>
                <a:gd name="T12" fmla="*/ 32 w 76"/>
                <a:gd name="T13" fmla="*/ 8 h 36"/>
                <a:gd name="T14" fmla="*/ 32 w 76"/>
                <a:gd name="T15" fmla="*/ 8 h 36"/>
                <a:gd name="T16" fmla="*/ 31 w 76"/>
                <a:gd name="T17" fmla="*/ 9 h 36"/>
                <a:gd name="T18" fmla="*/ 30 w 76"/>
                <a:gd name="T19" fmla="*/ 12 h 36"/>
                <a:gd name="T20" fmla="*/ 34 w 76"/>
                <a:gd name="T21" fmla="*/ 16 h 36"/>
                <a:gd name="T22" fmla="*/ 56 w 76"/>
                <a:gd name="T23" fmla="*/ 16 h 36"/>
                <a:gd name="T24" fmla="*/ 58 w 76"/>
                <a:gd name="T25" fmla="*/ 18 h 36"/>
                <a:gd name="T26" fmla="*/ 56 w 76"/>
                <a:gd name="T27" fmla="*/ 20 h 36"/>
                <a:gd name="T28" fmla="*/ 34 w 76"/>
                <a:gd name="T29" fmla="*/ 20 h 36"/>
                <a:gd name="T30" fmla="*/ 26 w 76"/>
                <a:gd name="T31" fmla="*/ 12 h 36"/>
                <a:gd name="T32" fmla="*/ 26 w 76"/>
                <a:gd name="T33" fmla="*/ 12 h 36"/>
                <a:gd name="T34" fmla="*/ 15 w 76"/>
                <a:gd name="T35" fmla="*/ 8 h 36"/>
                <a:gd name="T36" fmla="*/ 1 w 76"/>
                <a:gd name="T37" fmla="*/ 13 h 36"/>
                <a:gd name="T38" fmla="*/ 0 w 76"/>
                <a:gd name="T39" fmla="*/ 15 h 36"/>
                <a:gd name="T40" fmla="*/ 1 w 76"/>
                <a:gd name="T41" fmla="*/ 16 h 36"/>
                <a:gd name="T42" fmla="*/ 21 w 76"/>
                <a:gd name="T43" fmla="*/ 26 h 36"/>
                <a:gd name="T44" fmla="*/ 45 w 76"/>
                <a:gd name="T45" fmla="*/ 36 h 36"/>
                <a:gd name="T46" fmla="*/ 67 w 76"/>
                <a:gd name="T47" fmla="*/ 30 h 36"/>
                <a:gd name="T48" fmla="*/ 76 w 76"/>
                <a:gd name="T49" fmla="*/ 27 h 36"/>
                <a:gd name="T50" fmla="*/ 76 w 76"/>
                <a:gd name="T5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36">
                  <a:moveTo>
                    <a:pt x="7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59" y="0"/>
                    <a:pt x="53" y="4"/>
                    <a:pt x="50" y="6"/>
                  </a:cubicBezTo>
                  <a:cubicBezTo>
                    <a:pt x="49" y="7"/>
                    <a:pt x="48" y="8"/>
                    <a:pt x="48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0" y="10"/>
                    <a:pt x="30" y="11"/>
                    <a:pt x="30" y="12"/>
                  </a:cubicBezTo>
                  <a:cubicBezTo>
                    <a:pt x="30" y="14"/>
                    <a:pt x="31" y="16"/>
                    <a:pt x="34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7" y="16"/>
                    <a:pt x="58" y="17"/>
                    <a:pt x="58" y="18"/>
                  </a:cubicBezTo>
                  <a:cubicBezTo>
                    <a:pt x="58" y="19"/>
                    <a:pt x="57" y="20"/>
                    <a:pt x="56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29" y="20"/>
                    <a:pt x="26" y="16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9" y="7"/>
                    <a:pt x="5" y="8"/>
                    <a:pt x="1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9" y="20"/>
                    <a:pt x="16" y="24"/>
                    <a:pt x="21" y="26"/>
                  </a:cubicBezTo>
                  <a:cubicBezTo>
                    <a:pt x="33" y="33"/>
                    <a:pt x="39" y="36"/>
                    <a:pt x="45" y="36"/>
                  </a:cubicBezTo>
                  <a:cubicBezTo>
                    <a:pt x="51" y="36"/>
                    <a:pt x="56" y="34"/>
                    <a:pt x="67" y="30"/>
                  </a:cubicBezTo>
                  <a:cubicBezTo>
                    <a:pt x="70" y="29"/>
                    <a:pt x="73" y="28"/>
                    <a:pt x="76" y="27"/>
                  </a:cubicBez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6181975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: Rounded Corners 74"/>
          <p:cNvSpPr/>
          <p:nvPr/>
        </p:nvSpPr>
        <p:spPr>
          <a:xfrm rot="18900000">
            <a:off x="7251979" y="3795891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: Rounded Corners 75"/>
          <p:cNvSpPr/>
          <p:nvPr/>
        </p:nvSpPr>
        <p:spPr>
          <a:xfrm rot="18900000">
            <a:off x="7251979" y="4914824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: Rounded Corners 73"/>
          <p:cNvSpPr/>
          <p:nvPr/>
        </p:nvSpPr>
        <p:spPr>
          <a:xfrm rot="18900000">
            <a:off x="7251979" y="2676959"/>
            <a:ext cx="367861" cy="36786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68" t="30380" r="33455" b="15512"/>
          <a:stretch/>
        </p:blipFill>
        <p:spPr>
          <a:xfrm>
            <a:off x="3805982" y="1860947"/>
            <a:ext cx="2651231" cy="1768371"/>
          </a:xfrm>
          <a:custGeom>
            <a:avLst/>
            <a:gdLst>
              <a:gd name="connsiteX0" fmla="*/ 0 w 2651231"/>
              <a:gd name="connsiteY0" fmla="*/ 0 h 1768371"/>
              <a:gd name="connsiteX1" fmla="*/ 2651231 w 2651231"/>
              <a:gd name="connsiteY1" fmla="*/ 0 h 1768371"/>
              <a:gd name="connsiteX2" fmla="*/ 2651231 w 2651231"/>
              <a:gd name="connsiteY2" fmla="*/ 1768371 h 1768371"/>
              <a:gd name="connsiteX3" fmla="*/ 0 w 2651231"/>
              <a:gd name="connsiteY3" fmla="*/ 1768371 h 176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1231" h="1768371">
                <a:moveTo>
                  <a:pt x="0" y="0"/>
                </a:moveTo>
                <a:lnTo>
                  <a:pt x="2651231" y="0"/>
                </a:lnTo>
                <a:lnTo>
                  <a:pt x="2651231" y="1768371"/>
                </a:lnTo>
                <a:lnTo>
                  <a:pt x="0" y="1768371"/>
                </a:lnTo>
                <a:close/>
              </a:path>
            </a:pathLst>
          </a:custGeom>
        </p:spPr>
      </p:pic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y-GB" sz="2800" dirty="0">
                <a:solidFill>
                  <a:srgbClr val="0C344C"/>
                </a:solidFill>
                <a:latin typeface="+mj-lt"/>
              </a:rPr>
              <a:t>Our Products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sp>
        <p:nvSpPr>
          <p:cNvPr id="6" name="TextBox 25"/>
          <p:cNvSpPr txBox="1"/>
          <p:nvPr/>
        </p:nvSpPr>
        <p:spPr>
          <a:xfrm>
            <a:off x="849215" y="1171543"/>
            <a:ext cx="616118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 is simply dummy text of the printing and typesetting industry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91" t="27507" r="22759" b="16043"/>
          <a:stretch/>
        </p:blipFill>
        <p:spPr>
          <a:xfrm>
            <a:off x="839787" y="1860948"/>
            <a:ext cx="2651231" cy="1768371"/>
          </a:xfrm>
          <a:prstGeom prst="rect">
            <a:avLst/>
          </a:prstGeom>
        </p:spPr>
      </p:pic>
      <p:sp>
        <p:nvSpPr>
          <p:cNvPr id="13" name="TextBox 25"/>
          <p:cNvSpPr txBox="1"/>
          <p:nvPr/>
        </p:nvSpPr>
        <p:spPr>
          <a:xfrm>
            <a:off x="839787" y="4218718"/>
            <a:ext cx="2651231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 Various versions have evolved.</a:t>
            </a:r>
          </a:p>
        </p:txBody>
      </p:sp>
      <p:sp>
        <p:nvSpPr>
          <p:cNvPr id="14" name="TextBox 25"/>
          <p:cNvSpPr txBox="1"/>
          <p:nvPr/>
        </p:nvSpPr>
        <p:spPr>
          <a:xfrm>
            <a:off x="839787" y="3887835"/>
            <a:ext cx="26512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 rot="16200000">
            <a:off x="840043" y="3323276"/>
            <a:ext cx="306246" cy="305838"/>
          </a:xfrm>
          <a:custGeom>
            <a:avLst/>
            <a:gdLst>
              <a:gd name="T0" fmla="*/ 0 w 2250"/>
              <a:gd name="T1" fmla="*/ 0 h 2247"/>
              <a:gd name="T2" fmla="*/ 2250 w 2250"/>
              <a:gd name="T3" fmla="*/ 0 h 2247"/>
              <a:gd name="T4" fmla="*/ 0 w 2250"/>
              <a:gd name="T5" fmla="*/ 2247 h 2247"/>
              <a:gd name="T6" fmla="*/ 0 w 2250"/>
              <a:gd name="T7" fmla="*/ 0 h 2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50" h="2247">
                <a:moveTo>
                  <a:pt x="0" y="0"/>
                </a:moveTo>
                <a:lnTo>
                  <a:pt x="2250" y="0"/>
                </a:lnTo>
                <a:lnTo>
                  <a:pt x="0" y="2247"/>
                </a:lnTo>
                <a:lnTo>
                  <a:pt x="0" y="0"/>
                </a:lnTo>
                <a:close/>
              </a:path>
            </a:pathLst>
          </a:custGeom>
          <a:solidFill>
            <a:srgbClr val="0C344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 rot="16200000">
            <a:off x="3805778" y="3323276"/>
            <a:ext cx="306246" cy="305838"/>
          </a:xfrm>
          <a:custGeom>
            <a:avLst/>
            <a:gdLst>
              <a:gd name="T0" fmla="*/ 0 w 2250"/>
              <a:gd name="T1" fmla="*/ 0 h 2247"/>
              <a:gd name="T2" fmla="*/ 2250 w 2250"/>
              <a:gd name="T3" fmla="*/ 0 h 2247"/>
              <a:gd name="T4" fmla="*/ 0 w 2250"/>
              <a:gd name="T5" fmla="*/ 2247 h 2247"/>
              <a:gd name="T6" fmla="*/ 0 w 2250"/>
              <a:gd name="T7" fmla="*/ 0 h 2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50" h="2247">
                <a:moveTo>
                  <a:pt x="0" y="0"/>
                </a:moveTo>
                <a:lnTo>
                  <a:pt x="2250" y="0"/>
                </a:lnTo>
                <a:lnTo>
                  <a:pt x="0" y="2247"/>
                </a:lnTo>
                <a:lnTo>
                  <a:pt x="0" y="0"/>
                </a:lnTo>
                <a:close/>
              </a:path>
            </a:pathLst>
          </a:custGeom>
          <a:solidFill>
            <a:srgbClr val="0C344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TextBox 25"/>
          <p:cNvSpPr txBox="1"/>
          <p:nvPr/>
        </p:nvSpPr>
        <p:spPr>
          <a:xfrm>
            <a:off x="3805982" y="4218718"/>
            <a:ext cx="2651231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 Various versions have evolved.</a:t>
            </a:r>
          </a:p>
        </p:txBody>
      </p:sp>
      <p:sp>
        <p:nvSpPr>
          <p:cNvPr id="22" name="TextBox 25"/>
          <p:cNvSpPr txBox="1"/>
          <p:nvPr/>
        </p:nvSpPr>
        <p:spPr>
          <a:xfrm>
            <a:off x="3805982" y="3887835"/>
            <a:ext cx="26512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23" name="TextBox 25"/>
          <p:cNvSpPr txBox="1"/>
          <p:nvPr/>
        </p:nvSpPr>
        <p:spPr>
          <a:xfrm>
            <a:off x="1222376" y="5154369"/>
            <a:ext cx="73025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rgbClr val="D80F79"/>
                </a:solidFill>
                <a:latin typeface="+mj-lt"/>
                <a:cs typeface="Calibri Light" panose="020F0302020204030204" pitchFamily="34" charset="0"/>
              </a:rPr>
              <a:t>15%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839787" y="5207094"/>
            <a:ext cx="287338" cy="287338"/>
            <a:chOff x="2598738" y="1344613"/>
            <a:chExt cx="287338" cy="287338"/>
          </a:xfrm>
          <a:solidFill>
            <a:srgbClr val="0C344C"/>
          </a:solidFill>
        </p:grpSpPr>
        <p:sp>
          <p:nvSpPr>
            <p:cNvPr id="25" name="Freeform 457"/>
            <p:cNvSpPr>
              <a:spLocks/>
            </p:cNvSpPr>
            <p:nvPr/>
          </p:nvSpPr>
          <p:spPr bwMode="auto">
            <a:xfrm>
              <a:off x="2693988" y="1508125"/>
              <a:ext cx="192088" cy="47625"/>
            </a:xfrm>
            <a:custGeom>
              <a:avLst/>
              <a:gdLst>
                <a:gd name="T0" fmla="*/ 1 w 601"/>
                <a:gd name="T1" fmla="*/ 93 h 150"/>
                <a:gd name="T2" fmla="*/ 11 w 601"/>
                <a:gd name="T3" fmla="*/ 101 h 150"/>
                <a:gd name="T4" fmla="*/ 30 w 601"/>
                <a:gd name="T5" fmla="*/ 111 h 150"/>
                <a:gd name="T6" fmla="*/ 58 w 601"/>
                <a:gd name="T7" fmla="*/ 121 h 150"/>
                <a:gd name="T8" fmla="*/ 96 w 601"/>
                <a:gd name="T9" fmla="*/ 131 h 150"/>
                <a:gd name="T10" fmla="*/ 144 w 601"/>
                <a:gd name="T11" fmla="*/ 140 h 150"/>
                <a:gd name="T12" fmla="*/ 199 w 601"/>
                <a:gd name="T13" fmla="*/ 146 h 150"/>
                <a:gd name="T14" fmla="*/ 265 w 601"/>
                <a:gd name="T15" fmla="*/ 149 h 150"/>
                <a:gd name="T16" fmla="*/ 337 w 601"/>
                <a:gd name="T17" fmla="*/ 149 h 150"/>
                <a:gd name="T18" fmla="*/ 402 w 601"/>
                <a:gd name="T19" fmla="*/ 146 h 150"/>
                <a:gd name="T20" fmla="*/ 458 w 601"/>
                <a:gd name="T21" fmla="*/ 140 h 150"/>
                <a:gd name="T22" fmla="*/ 505 w 601"/>
                <a:gd name="T23" fmla="*/ 131 h 150"/>
                <a:gd name="T24" fmla="*/ 542 w 601"/>
                <a:gd name="T25" fmla="*/ 121 h 150"/>
                <a:gd name="T26" fmla="*/ 571 w 601"/>
                <a:gd name="T27" fmla="*/ 111 h 150"/>
                <a:gd name="T28" fmla="*/ 591 w 601"/>
                <a:gd name="T29" fmla="*/ 101 h 150"/>
                <a:gd name="T30" fmla="*/ 600 w 601"/>
                <a:gd name="T31" fmla="*/ 93 h 150"/>
                <a:gd name="T32" fmla="*/ 601 w 601"/>
                <a:gd name="T33" fmla="*/ 87 h 150"/>
                <a:gd name="T34" fmla="*/ 600 w 601"/>
                <a:gd name="T35" fmla="*/ 82 h 150"/>
                <a:gd name="T36" fmla="*/ 599 w 601"/>
                <a:gd name="T37" fmla="*/ 79 h 150"/>
                <a:gd name="T38" fmla="*/ 596 w 601"/>
                <a:gd name="T39" fmla="*/ 71 h 150"/>
                <a:gd name="T40" fmla="*/ 583 w 601"/>
                <a:gd name="T41" fmla="*/ 56 h 150"/>
                <a:gd name="T42" fmla="*/ 564 w 601"/>
                <a:gd name="T43" fmla="*/ 43 h 150"/>
                <a:gd name="T44" fmla="*/ 540 w 601"/>
                <a:gd name="T45" fmla="*/ 32 h 150"/>
                <a:gd name="T46" fmla="*/ 525 w 601"/>
                <a:gd name="T47" fmla="*/ 27 h 150"/>
                <a:gd name="T48" fmla="*/ 523 w 601"/>
                <a:gd name="T49" fmla="*/ 27 h 150"/>
                <a:gd name="T50" fmla="*/ 495 w 601"/>
                <a:gd name="T51" fmla="*/ 19 h 150"/>
                <a:gd name="T52" fmla="*/ 443 w 601"/>
                <a:gd name="T53" fmla="*/ 10 h 150"/>
                <a:gd name="T54" fmla="*/ 387 w 601"/>
                <a:gd name="T55" fmla="*/ 3 h 150"/>
                <a:gd name="T56" fmla="*/ 334 w 601"/>
                <a:gd name="T57" fmla="*/ 0 h 150"/>
                <a:gd name="T58" fmla="*/ 305 w 601"/>
                <a:gd name="T59" fmla="*/ 0 h 150"/>
                <a:gd name="T60" fmla="*/ 257 w 601"/>
                <a:gd name="T61" fmla="*/ 0 h 150"/>
                <a:gd name="T62" fmla="*/ 184 w 601"/>
                <a:gd name="T63" fmla="*/ 7 h 150"/>
                <a:gd name="T64" fmla="*/ 135 w 601"/>
                <a:gd name="T65" fmla="*/ 13 h 150"/>
                <a:gd name="T66" fmla="*/ 88 w 601"/>
                <a:gd name="T67" fmla="*/ 24 h 150"/>
                <a:gd name="T68" fmla="*/ 48 w 601"/>
                <a:gd name="T69" fmla="*/ 38 h 150"/>
                <a:gd name="T70" fmla="*/ 24 w 601"/>
                <a:gd name="T71" fmla="*/ 51 h 150"/>
                <a:gd name="T72" fmla="*/ 13 w 601"/>
                <a:gd name="T73" fmla="*/ 60 h 150"/>
                <a:gd name="T74" fmla="*/ 4 w 601"/>
                <a:gd name="T75" fmla="*/ 71 h 150"/>
                <a:gd name="T76" fmla="*/ 0 w 601"/>
                <a:gd name="T77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1" h="150">
                  <a:moveTo>
                    <a:pt x="0" y="90"/>
                  </a:moveTo>
                  <a:lnTo>
                    <a:pt x="1" y="93"/>
                  </a:lnTo>
                  <a:lnTo>
                    <a:pt x="4" y="97"/>
                  </a:lnTo>
                  <a:lnTo>
                    <a:pt x="11" y="101"/>
                  </a:lnTo>
                  <a:lnTo>
                    <a:pt x="19" y="106"/>
                  </a:lnTo>
                  <a:lnTo>
                    <a:pt x="30" y="111"/>
                  </a:lnTo>
                  <a:lnTo>
                    <a:pt x="43" y="116"/>
                  </a:lnTo>
                  <a:lnTo>
                    <a:pt x="58" y="121"/>
                  </a:lnTo>
                  <a:lnTo>
                    <a:pt x="76" y="126"/>
                  </a:lnTo>
                  <a:lnTo>
                    <a:pt x="96" y="131"/>
                  </a:lnTo>
                  <a:lnTo>
                    <a:pt x="119" y="135"/>
                  </a:lnTo>
                  <a:lnTo>
                    <a:pt x="144" y="140"/>
                  </a:lnTo>
                  <a:lnTo>
                    <a:pt x="170" y="143"/>
                  </a:lnTo>
                  <a:lnTo>
                    <a:pt x="199" y="146"/>
                  </a:lnTo>
                  <a:lnTo>
                    <a:pt x="230" y="148"/>
                  </a:lnTo>
                  <a:lnTo>
                    <a:pt x="265" y="149"/>
                  </a:lnTo>
                  <a:lnTo>
                    <a:pt x="300" y="150"/>
                  </a:lnTo>
                  <a:lnTo>
                    <a:pt x="337" y="149"/>
                  </a:lnTo>
                  <a:lnTo>
                    <a:pt x="370" y="148"/>
                  </a:lnTo>
                  <a:lnTo>
                    <a:pt x="402" y="146"/>
                  </a:lnTo>
                  <a:lnTo>
                    <a:pt x="431" y="143"/>
                  </a:lnTo>
                  <a:lnTo>
                    <a:pt x="458" y="140"/>
                  </a:lnTo>
                  <a:lnTo>
                    <a:pt x="482" y="135"/>
                  </a:lnTo>
                  <a:lnTo>
                    <a:pt x="505" y="131"/>
                  </a:lnTo>
                  <a:lnTo>
                    <a:pt x="525" y="126"/>
                  </a:lnTo>
                  <a:lnTo>
                    <a:pt x="542" y="121"/>
                  </a:lnTo>
                  <a:lnTo>
                    <a:pt x="559" y="116"/>
                  </a:lnTo>
                  <a:lnTo>
                    <a:pt x="571" y="111"/>
                  </a:lnTo>
                  <a:lnTo>
                    <a:pt x="582" y="106"/>
                  </a:lnTo>
                  <a:lnTo>
                    <a:pt x="591" y="101"/>
                  </a:lnTo>
                  <a:lnTo>
                    <a:pt x="596" y="97"/>
                  </a:lnTo>
                  <a:lnTo>
                    <a:pt x="600" y="93"/>
                  </a:lnTo>
                  <a:lnTo>
                    <a:pt x="601" y="90"/>
                  </a:lnTo>
                  <a:lnTo>
                    <a:pt x="601" y="87"/>
                  </a:lnTo>
                  <a:lnTo>
                    <a:pt x="600" y="84"/>
                  </a:lnTo>
                  <a:lnTo>
                    <a:pt x="600" y="82"/>
                  </a:lnTo>
                  <a:lnTo>
                    <a:pt x="600" y="81"/>
                  </a:lnTo>
                  <a:lnTo>
                    <a:pt x="599" y="79"/>
                  </a:lnTo>
                  <a:lnTo>
                    <a:pt x="599" y="78"/>
                  </a:lnTo>
                  <a:lnTo>
                    <a:pt x="596" y="71"/>
                  </a:lnTo>
                  <a:lnTo>
                    <a:pt x="591" y="63"/>
                  </a:lnTo>
                  <a:lnTo>
                    <a:pt x="583" y="56"/>
                  </a:lnTo>
                  <a:lnTo>
                    <a:pt x="575" y="49"/>
                  </a:lnTo>
                  <a:lnTo>
                    <a:pt x="564" y="43"/>
                  </a:lnTo>
                  <a:lnTo>
                    <a:pt x="553" y="38"/>
                  </a:lnTo>
                  <a:lnTo>
                    <a:pt x="540" y="32"/>
                  </a:lnTo>
                  <a:lnTo>
                    <a:pt x="525" y="28"/>
                  </a:lnTo>
                  <a:lnTo>
                    <a:pt x="525" y="27"/>
                  </a:lnTo>
                  <a:lnTo>
                    <a:pt x="525" y="27"/>
                  </a:lnTo>
                  <a:lnTo>
                    <a:pt x="523" y="27"/>
                  </a:lnTo>
                  <a:lnTo>
                    <a:pt x="520" y="26"/>
                  </a:lnTo>
                  <a:lnTo>
                    <a:pt x="495" y="19"/>
                  </a:lnTo>
                  <a:lnTo>
                    <a:pt x="470" y="14"/>
                  </a:lnTo>
                  <a:lnTo>
                    <a:pt x="443" y="10"/>
                  </a:lnTo>
                  <a:lnTo>
                    <a:pt x="415" y="5"/>
                  </a:lnTo>
                  <a:lnTo>
                    <a:pt x="387" y="3"/>
                  </a:lnTo>
                  <a:lnTo>
                    <a:pt x="360" y="1"/>
                  </a:lnTo>
                  <a:lnTo>
                    <a:pt x="334" y="0"/>
                  </a:lnTo>
                  <a:lnTo>
                    <a:pt x="311" y="0"/>
                  </a:lnTo>
                  <a:lnTo>
                    <a:pt x="305" y="0"/>
                  </a:lnTo>
                  <a:lnTo>
                    <a:pt x="300" y="0"/>
                  </a:lnTo>
                  <a:lnTo>
                    <a:pt x="257" y="0"/>
                  </a:lnTo>
                  <a:lnTo>
                    <a:pt x="209" y="3"/>
                  </a:lnTo>
                  <a:lnTo>
                    <a:pt x="184" y="7"/>
                  </a:lnTo>
                  <a:lnTo>
                    <a:pt x="160" y="10"/>
                  </a:lnTo>
                  <a:lnTo>
                    <a:pt x="135" y="13"/>
                  </a:lnTo>
                  <a:lnTo>
                    <a:pt x="110" y="18"/>
                  </a:lnTo>
                  <a:lnTo>
                    <a:pt x="88" y="24"/>
                  </a:lnTo>
                  <a:lnTo>
                    <a:pt x="67" y="30"/>
                  </a:lnTo>
                  <a:lnTo>
                    <a:pt x="48" y="38"/>
                  </a:lnTo>
                  <a:lnTo>
                    <a:pt x="32" y="45"/>
                  </a:lnTo>
                  <a:lnTo>
                    <a:pt x="24" y="51"/>
                  </a:lnTo>
                  <a:lnTo>
                    <a:pt x="18" y="55"/>
                  </a:lnTo>
                  <a:lnTo>
                    <a:pt x="13" y="60"/>
                  </a:lnTo>
                  <a:lnTo>
                    <a:pt x="8" y="66"/>
                  </a:lnTo>
                  <a:lnTo>
                    <a:pt x="4" y="71"/>
                  </a:lnTo>
                  <a:lnTo>
                    <a:pt x="2" y="77"/>
                  </a:lnTo>
                  <a:lnTo>
                    <a:pt x="0" y="84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26" name="Freeform 458"/>
            <p:cNvSpPr>
              <a:spLocks/>
            </p:cNvSpPr>
            <p:nvPr/>
          </p:nvSpPr>
          <p:spPr bwMode="auto">
            <a:xfrm>
              <a:off x="2598738" y="1420813"/>
              <a:ext cx="190500" cy="39688"/>
            </a:xfrm>
            <a:custGeom>
              <a:avLst/>
              <a:gdLst>
                <a:gd name="T0" fmla="*/ 333 w 602"/>
                <a:gd name="T1" fmla="*/ 125 h 125"/>
                <a:gd name="T2" fmla="*/ 393 w 602"/>
                <a:gd name="T3" fmla="*/ 122 h 125"/>
                <a:gd name="T4" fmla="*/ 448 w 602"/>
                <a:gd name="T5" fmla="*/ 116 h 125"/>
                <a:gd name="T6" fmla="*/ 495 w 602"/>
                <a:gd name="T7" fmla="*/ 108 h 125"/>
                <a:gd name="T8" fmla="*/ 536 w 602"/>
                <a:gd name="T9" fmla="*/ 99 h 125"/>
                <a:gd name="T10" fmla="*/ 567 w 602"/>
                <a:gd name="T11" fmla="*/ 89 h 125"/>
                <a:gd name="T12" fmla="*/ 589 w 602"/>
                <a:gd name="T13" fmla="*/ 79 h 125"/>
                <a:gd name="T14" fmla="*/ 599 w 602"/>
                <a:gd name="T15" fmla="*/ 72 h 125"/>
                <a:gd name="T16" fmla="*/ 602 w 602"/>
                <a:gd name="T17" fmla="*/ 67 h 125"/>
                <a:gd name="T18" fmla="*/ 602 w 602"/>
                <a:gd name="T19" fmla="*/ 0 h 125"/>
                <a:gd name="T20" fmla="*/ 573 w 602"/>
                <a:gd name="T21" fmla="*/ 13 h 125"/>
                <a:gd name="T22" fmla="*/ 537 w 602"/>
                <a:gd name="T23" fmla="*/ 24 h 125"/>
                <a:gd name="T24" fmla="*/ 497 w 602"/>
                <a:gd name="T25" fmla="*/ 34 h 125"/>
                <a:gd name="T26" fmla="*/ 454 w 602"/>
                <a:gd name="T27" fmla="*/ 40 h 125"/>
                <a:gd name="T28" fmla="*/ 369 w 602"/>
                <a:gd name="T29" fmla="*/ 48 h 125"/>
                <a:gd name="T30" fmla="*/ 302 w 602"/>
                <a:gd name="T31" fmla="*/ 50 h 125"/>
                <a:gd name="T32" fmla="*/ 233 w 602"/>
                <a:gd name="T33" fmla="*/ 48 h 125"/>
                <a:gd name="T34" fmla="*/ 148 w 602"/>
                <a:gd name="T35" fmla="*/ 40 h 125"/>
                <a:gd name="T36" fmla="*/ 106 w 602"/>
                <a:gd name="T37" fmla="*/ 34 h 125"/>
                <a:gd name="T38" fmla="*/ 66 w 602"/>
                <a:gd name="T39" fmla="*/ 25 h 125"/>
                <a:gd name="T40" fmla="*/ 29 w 602"/>
                <a:gd name="T41" fmla="*/ 13 h 125"/>
                <a:gd name="T42" fmla="*/ 0 w 602"/>
                <a:gd name="T43" fmla="*/ 0 h 125"/>
                <a:gd name="T44" fmla="*/ 0 w 602"/>
                <a:gd name="T45" fmla="*/ 67 h 125"/>
                <a:gd name="T46" fmla="*/ 4 w 602"/>
                <a:gd name="T47" fmla="*/ 72 h 125"/>
                <a:gd name="T48" fmla="*/ 13 w 602"/>
                <a:gd name="T49" fmla="*/ 79 h 125"/>
                <a:gd name="T50" fmla="*/ 36 w 602"/>
                <a:gd name="T51" fmla="*/ 89 h 125"/>
                <a:gd name="T52" fmla="*/ 67 w 602"/>
                <a:gd name="T53" fmla="*/ 99 h 125"/>
                <a:gd name="T54" fmla="*/ 108 w 602"/>
                <a:gd name="T55" fmla="*/ 108 h 125"/>
                <a:gd name="T56" fmla="*/ 155 w 602"/>
                <a:gd name="T57" fmla="*/ 116 h 125"/>
                <a:gd name="T58" fmla="*/ 210 w 602"/>
                <a:gd name="T59" fmla="*/ 122 h 125"/>
                <a:gd name="T60" fmla="*/ 270 w 602"/>
                <a:gd name="T61" fmla="*/ 125 h 125"/>
                <a:gd name="T62" fmla="*/ 302 w 602"/>
                <a:gd name="T6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302" y="125"/>
                  </a:moveTo>
                  <a:lnTo>
                    <a:pt x="333" y="125"/>
                  </a:lnTo>
                  <a:lnTo>
                    <a:pt x="364" y="124"/>
                  </a:lnTo>
                  <a:lnTo>
                    <a:pt x="393" y="122"/>
                  </a:lnTo>
                  <a:lnTo>
                    <a:pt x="421" y="118"/>
                  </a:lnTo>
                  <a:lnTo>
                    <a:pt x="448" y="116"/>
                  </a:lnTo>
                  <a:lnTo>
                    <a:pt x="472" y="112"/>
                  </a:lnTo>
                  <a:lnTo>
                    <a:pt x="495" y="108"/>
                  </a:lnTo>
                  <a:lnTo>
                    <a:pt x="516" y="103"/>
                  </a:lnTo>
                  <a:lnTo>
                    <a:pt x="536" y="99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4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2"/>
                  </a:lnTo>
                  <a:lnTo>
                    <a:pt x="601" y="69"/>
                  </a:lnTo>
                  <a:lnTo>
                    <a:pt x="602" y="67"/>
                  </a:lnTo>
                  <a:lnTo>
                    <a:pt x="602" y="65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3"/>
                  </a:lnTo>
                  <a:lnTo>
                    <a:pt x="556" y="20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4"/>
                  </a:lnTo>
                  <a:lnTo>
                    <a:pt x="476" y="37"/>
                  </a:lnTo>
                  <a:lnTo>
                    <a:pt x="454" y="40"/>
                  </a:lnTo>
                  <a:lnTo>
                    <a:pt x="410" y="44"/>
                  </a:lnTo>
                  <a:lnTo>
                    <a:pt x="369" y="48"/>
                  </a:lnTo>
                  <a:lnTo>
                    <a:pt x="332" y="50"/>
                  </a:lnTo>
                  <a:lnTo>
                    <a:pt x="302" y="50"/>
                  </a:lnTo>
                  <a:lnTo>
                    <a:pt x="271" y="50"/>
                  </a:lnTo>
                  <a:lnTo>
                    <a:pt x="233" y="48"/>
                  </a:lnTo>
                  <a:lnTo>
                    <a:pt x="192" y="44"/>
                  </a:lnTo>
                  <a:lnTo>
                    <a:pt x="148" y="40"/>
                  </a:lnTo>
                  <a:lnTo>
                    <a:pt x="127" y="37"/>
                  </a:lnTo>
                  <a:lnTo>
                    <a:pt x="106" y="34"/>
                  </a:lnTo>
                  <a:lnTo>
                    <a:pt x="85" y="29"/>
                  </a:lnTo>
                  <a:lnTo>
                    <a:pt x="66" y="25"/>
                  </a:lnTo>
                  <a:lnTo>
                    <a:pt x="47" y="20"/>
                  </a:lnTo>
                  <a:lnTo>
                    <a:pt x="29" y="13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2" y="69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4"/>
                  </a:lnTo>
                  <a:lnTo>
                    <a:pt x="36" y="89"/>
                  </a:lnTo>
                  <a:lnTo>
                    <a:pt x="50" y="95"/>
                  </a:lnTo>
                  <a:lnTo>
                    <a:pt x="67" y="99"/>
                  </a:lnTo>
                  <a:lnTo>
                    <a:pt x="86" y="103"/>
                  </a:lnTo>
                  <a:lnTo>
                    <a:pt x="108" y="108"/>
                  </a:lnTo>
                  <a:lnTo>
                    <a:pt x="130" y="112"/>
                  </a:lnTo>
                  <a:lnTo>
                    <a:pt x="155" y="116"/>
                  </a:lnTo>
                  <a:lnTo>
                    <a:pt x="182" y="120"/>
                  </a:lnTo>
                  <a:lnTo>
                    <a:pt x="210" y="122"/>
                  </a:lnTo>
                  <a:lnTo>
                    <a:pt x="240" y="124"/>
                  </a:lnTo>
                  <a:lnTo>
                    <a:pt x="270" y="125"/>
                  </a:lnTo>
                  <a:lnTo>
                    <a:pt x="302" y="125"/>
                  </a:lnTo>
                  <a:lnTo>
                    <a:pt x="3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27" name="Freeform 459"/>
            <p:cNvSpPr>
              <a:spLocks/>
            </p:cNvSpPr>
            <p:nvPr/>
          </p:nvSpPr>
          <p:spPr bwMode="auto">
            <a:xfrm>
              <a:off x="2598738" y="1454150"/>
              <a:ext cx="190500" cy="39688"/>
            </a:xfrm>
            <a:custGeom>
              <a:avLst/>
              <a:gdLst>
                <a:gd name="T0" fmla="*/ 302 w 602"/>
                <a:gd name="T1" fmla="*/ 124 h 124"/>
                <a:gd name="T2" fmla="*/ 333 w 602"/>
                <a:gd name="T3" fmla="*/ 124 h 124"/>
                <a:gd name="T4" fmla="*/ 364 w 602"/>
                <a:gd name="T5" fmla="*/ 123 h 124"/>
                <a:gd name="T6" fmla="*/ 393 w 602"/>
                <a:gd name="T7" fmla="*/ 121 h 124"/>
                <a:gd name="T8" fmla="*/ 421 w 602"/>
                <a:gd name="T9" fmla="*/ 119 h 124"/>
                <a:gd name="T10" fmla="*/ 448 w 602"/>
                <a:gd name="T11" fmla="*/ 115 h 124"/>
                <a:gd name="T12" fmla="*/ 472 w 602"/>
                <a:gd name="T13" fmla="*/ 111 h 124"/>
                <a:gd name="T14" fmla="*/ 495 w 602"/>
                <a:gd name="T15" fmla="*/ 108 h 124"/>
                <a:gd name="T16" fmla="*/ 516 w 602"/>
                <a:gd name="T17" fmla="*/ 104 h 124"/>
                <a:gd name="T18" fmla="*/ 536 w 602"/>
                <a:gd name="T19" fmla="*/ 98 h 124"/>
                <a:gd name="T20" fmla="*/ 553 w 602"/>
                <a:gd name="T21" fmla="*/ 94 h 124"/>
                <a:gd name="T22" fmla="*/ 567 w 602"/>
                <a:gd name="T23" fmla="*/ 89 h 124"/>
                <a:gd name="T24" fmla="*/ 580 w 602"/>
                <a:gd name="T25" fmla="*/ 83 h 124"/>
                <a:gd name="T26" fmla="*/ 589 w 602"/>
                <a:gd name="T27" fmla="*/ 79 h 124"/>
                <a:gd name="T28" fmla="*/ 597 w 602"/>
                <a:gd name="T29" fmla="*/ 74 h 124"/>
                <a:gd name="T30" fmla="*/ 599 w 602"/>
                <a:gd name="T31" fmla="*/ 71 h 124"/>
                <a:gd name="T32" fmla="*/ 601 w 602"/>
                <a:gd name="T33" fmla="*/ 69 h 124"/>
                <a:gd name="T34" fmla="*/ 602 w 602"/>
                <a:gd name="T35" fmla="*/ 66 h 124"/>
                <a:gd name="T36" fmla="*/ 602 w 602"/>
                <a:gd name="T37" fmla="*/ 64 h 124"/>
                <a:gd name="T38" fmla="*/ 602 w 602"/>
                <a:gd name="T39" fmla="*/ 0 h 124"/>
                <a:gd name="T40" fmla="*/ 589 w 602"/>
                <a:gd name="T41" fmla="*/ 7 h 124"/>
                <a:gd name="T42" fmla="*/ 573 w 602"/>
                <a:gd name="T43" fmla="*/ 14 h 124"/>
                <a:gd name="T44" fmla="*/ 556 w 602"/>
                <a:gd name="T45" fmla="*/ 19 h 124"/>
                <a:gd name="T46" fmla="*/ 537 w 602"/>
                <a:gd name="T47" fmla="*/ 24 h 124"/>
                <a:gd name="T48" fmla="*/ 517 w 602"/>
                <a:gd name="T49" fmla="*/ 29 h 124"/>
                <a:gd name="T50" fmla="*/ 497 w 602"/>
                <a:gd name="T51" fmla="*/ 33 h 124"/>
                <a:gd name="T52" fmla="*/ 476 w 602"/>
                <a:gd name="T53" fmla="*/ 36 h 124"/>
                <a:gd name="T54" fmla="*/ 454 w 602"/>
                <a:gd name="T55" fmla="*/ 39 h 124"/>
                <a:gd name="T56" fmla="*/ 410 w 602"/>
                <a:gd name="T57" fmla="*/ 44 h 124"/>
                <a:gd name="T58" fmla="*/ 369 w 602"/>
                <a:gd name="T59" fmla="*/ 47 h 124"/>
                <a:gd name="T60" fmla="*/ 332 w 602"/>
                <a:gd name="T61" fmla="*/ 49 h 124"/>
                <a:gd name="T62" fmla="*/ 302 w 602"/>
                <a:gd name="T63" fmla="*/ 49 h 124"/>
                <a:gd name="T64" fmla="*/ 271 w 602"/>
                <a:gd name="T65" fmla="*/ 49 h 124"/>
                <a:gd name="T66" fmla="*/ 233 w 602"/>
                <a:gd name="T67" fmla="*/ 47 h 124"/>
                <a:gd name="T68" fmla="*/ 192 w 602"/>
                <a:gd name="T69" fmla="*/ 44 h 124"/>
                <a:gd name="T70" fmla="*/ 148 w 602"/>
                <a:gd name="T71" fmla="*/ 39 h 124"/>
                <a:gd name="T72" fmla="*/ 127 w 602"/>
                <a:gd name="T73" fmla="*/ 36 h 124"/>
                <a:gd name="T74" fmla="*/ 106 w 602"/>
                <a:gd name="T75" fmla="*/ 33 h 124"/>
                <a:gd name="T76" fmla="*/ 85 w 602"/>
                <a:gd name="T77" fmla="*/ 29 h 124"/>
                <a:gd name="T78" fmla="*/ 66 w 602"/>
                <a:gd name="T79" fmla="*/ 24 h 124"/>
                <a:gd name="T80" fmla="*/ 47 w 602"/>
                <a:gd name="T81" fmla="*/ 19 h 124"/>
                <a:gd name="T82" fmla="*/ 29 w 602"/>
                <a:gd name="T83" fmla="*/ 14 h 124"/>
                <a:gd name="T84" fmla="*/ 14 w 602"/>
                <a:gd name="T85" fmla="*/ 7 h 124"/>
                <a:gd name="T86" fmla="*/ 0 w 602"/>
                <a:gd name="T87" fmla="*/ 0 h 124"/>
                <a:gd name="T88" fmla="*/ 0 w 602"/>
                <a:gd name="T89" fmla="*/ 64 h 124"/>
                <a:gd name="T90" fmla="*/ 0 w 602"/>
                <a:gd name="T91" fmla="*/ 66 h 124"/>
                <a:gd name="T92" fmla="*/ 2 w 602"/>
                <a:gd name="T93" fmla="*/ 69 h 124"/>
                <a:gd name="T94" fmla="*/ 4 w 602"/>
                <a:gd name="T95" fmla="*/ 71 h 124"/>
                <a:gd name="T96" fmla="*/ 6 w 602"/>
                <a:gd name="T97" fmla="*/ 74 h 124"/>
                <a:gd name="T98" fmla="*/ 13 w 602"/>
                <a:gd name="T99" fmla="*/ 79 h 124"/>
                <a:gd name="T100" fmla="*/ 23 w 602"/>
                <a:gd name="T101" fmla="*/ 83 h 124"/>
                <a:gd name="T102" fmla="*/ 36 w 602"/>
                <a:gd name="T103" fmla="*/ 89 h 124"/>
                <a:gd name="T104" fmla="*/ 50 w 602"/>
                <a:gd name="T105" fmla="*/ 94 h 124"/>
                <a:gd name="T106" fmla="*/ 67 w 602"/>
                <a:gd name="T107" fmla="*/ 98 h 124"/>
                <a:gd name="T108" fmla="*/ 86 w 602"/>
                <a:gd name="T109" fmla="*/ 104 h 124"/>
                <a:gd name="T110" fmla="*/ 108 w 602"/>
                <a:gd name="T111" fmla="*/ 108 h 124"/>
                <a:gd name="T112" fmla="*/ 130 w 602"/>
                <a:gd name="T113" fmla="*/ 111 h 124"/>
                <a:gd name="T114" fmla="*/ 155 w 602"/>
                <a:gd name="T115" fmla="*/ 115 h 124"/>
                <a:gd name="T116" fmla="*/ 182 w 602"/>
                <a:gd name="T117" fmla="*/ 119 h 124"/>
                <a:gd name="T118" fmla="*/ 210 w 602"/>
                <a:gd name="T119" fmla="*/ 121 h 124"/>
                <a:gd name="T120" fmla="*/ 240 w 602"/>
                <a:gd name="T121" fmla="*/ 123 h 124"/>
                <a:gd name="T122" fmla="*/ 270 w 602"/>
                <a:gd name="T123" fmla="*/ 124 h 124"/>
                <a:gd name="T124" fmla="*/ 302 w 602"/>
                <a:gd name="T1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2" h="124">
                  <a:moveTo>
                    <a:pt x="302" y="124"/>
                  </a:moveTo>
                  <a:lnTo>
                    <a:pt x="333" y="124"/>
                  </a:lnTo>
                  <a:lnTo>
                    <a:pt x="364" y="123"/>
                  </a:lnTo>
                  <a:lnTo>
                    <a:pt x="393" y="121"/>
                  </a:lnTo>
                  <a:lnTo>
                    <a:pt x="421" y="119"/>
                  </a:lnTo>
                  <a:lnTo>
                    <a:pt x="448" y="115"/>
                  </a:lnTo>
                  <a:lnTo>
                    <a:pt x="472" y="111"/>
                  </a:lnTo>
                  <a:lnTo>
                    <a:pt x="495" y="108"/>
                  </a:lnTo>
                  <a:lnTo>
                    <a:pt x="516" y="104"/>
                  </a:lnTo>
                  <a:lnTo>
                    <a:pt x="536" y="98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3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1"/>
                  </a:lnTo>
                  <a:lnTo>
                    <a:pt x="601" y="69"/>
                  </a:lnTo>
                  <a:lnTo>
                    <a:pt x="602" y="66"/>
                  </a:lnTo>
                  <a:lnTo>
                    <a:pt x="602" y="64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4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3"/>
                  </a:lnTo>
                  <a:lnTo>
                    <a:pt x="36" y="89"/>
                  </a:lnTo>
                  <a:lnTo>
                    <a:pt x="50" y="94"/>
                  </a:lnTo>
                  <a:lnTo>
                    <a:pt x="67" y="98"/>
                  </a:lnTo>
                  <a:lnTo>
                    <a:pt x="86" y="104"/>
                  </a:lnTo>
                  <a:lnTo>
                    <a:pt x="108" y="108"/>
                  </a:lnTo>
                  <a:lnTo>
                    <a:pt x="130" y="111"/>
                  </a:lnTo>
                  <a:lnTo>
                    <a:pt x="155" y="115"/>
                  </a:lnTo>
                  <a:lnTo>
                    <a:pt x="182" y="119"/>
                  </a:lnTo>
                  <a:lnTo>
                    <a:pt x="210" y="121"/>
                  </a:lnTo>
                  <a:lnTo>
                    <a:pt x="240" y="123"/>
                  </a:lnTo>
                  <a:lnTo>
                    <a:pt x="270" y="124"/>
                  </a:lnTo>
                  <a:lnTo>
                    <a:pt x="30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28" name="Freeform 460"/>
            <p:cNvSpPr>
              <a:spLocks/>
            </p:cNvSpPr>
            <p:nvPr/>
          </p:nvSpPr>
          <p:spPr bwMode="auto">
            <a:xfrm>
              <a:off x="2598738" y="1385888"/>
              <a:ext cx="190500" cy="41275"/>
            </a:xfrm>
            <a:custGeom>
              <a:avLst/>
              <a:gdLst>
                <a:gd name="T0" fmla="*/ 333 w 602"/>
                <a:gd name="T1" fmla="*/ 126 h 127"/>
                <a:gd name="T2" fmla="*/ 393 w 602"/>
                <a:gd name="T3" fmla="*/ 124 h 127"/>
                <a:gd name="T4" fmla="*/ 448 w 602"/>
                <a:gd name="T5" fmla="*/ 117 h 127"/>
                <a:gd name="T6" fmla="*/ 495 w 602"/>
                <a:gd name="T7" fmla="*/ 110 h 127"/>
                <a:gd name="T8" fmla="*/ 536 w 602"/>
                <a:gd name="T9" fmla="*/ 101 h 127"/>
                <a:gd name="T10" fmla="*/ 567 w 602"/>
                <a:gd name="T11" fmla="*/ 91 h 127"/>
                <a:gd name="T12" fmla="*/ 589 w 602"/>
                <a:gd name="T13" fmla="*/ 81 h 127"/>
                <a:gd name="T14" fmla="*/ 599 w 602"/>
                <a:gd name="T15" fmla="*/ 73 h 127"/>
                <a:gd name="T16" fmla="*/ 602 w 602"/>
                <a:gd name="T17" fmla="*/ 69 h 127"/>
                <a:gd name="T18" fmla="*/ 602 w 602"/>
                <a:gd name="T19" fmla="*/ 0 h 127"/>
                <a:gd name="T20" fmla="*/ 576 w 602"/>
                <a:gd name="T21" fmla="*/ 13 h 127"/>
                <a:gd name="T22" fmla="*/ 543 w 602"/>
                <a:gd name="T23" fmla="*/ 24 h 127"/>
                <a:gd name="T24" fmla="*/ 506 w 602"/>
                <a:gd name="T25" fmla="*/ 32 h 127"/>
                <a:gd name="T26" fmla="*/ 466 w 602"/>
                <a:gd name="T27" fmla="*/ 40 h 127"/>
                <a:gd name="T28" fmla="*/ 381 w 602"/>
                <a:gd name="T29" fmla="*/ 48 h 127"/>
                <a:gd name="T30" fmla="*/ 302 w 602"/>
                <a:gd name="T31" fmla="*/ 52 h 127"/>
                <a:gd name="T32" fmla="*/ 221 w 602"/>
                <a:gd name="T33" fmla="*/ 48 h 127"/>
                <a:gd name="T34" fmla="*/ 137 w 602"/>
                <a:gd name="T35" fmla="*/ 40 h 127"/>
                <a:gd name="T36" fmla="*/ 97 w 602"/>
                <a:gd name="T37" fmla="*/ 32 h 127"/>
                <a:gd name="T38" fmla="*/ 59 w 602"/>
                <a:gd name="T39" fmla="*/ 24 h 127"/>
                <a:gd name="T40" fmla="*/ 27 w 602"/>
                <a:gd name="T41" fmla="*/ 13 h 127"/>
                <a:gd name="T42" fmla="*/ 0 w 602"/>
                <a:gd name="T43" fmla="*/ 1 h 127"/>
                <a:gd name="T44" fmla="*/ 0 w 602"/>
                <a:gd name="T45" fmla="*/ 69 h 127"/>
                <a:gd name="T46" fmla="*/ 4 w 602"/>
                <a:gd name="T47" fmla="*/ 73 h 127"/>
                <a:gd name="T48" fmla="*/ 13 w 602"/>
                <a:gd name="T49" fmla="*/ 81 h 127"/>
                <a:gd name="T50" fmla="*/ 36 w 602"/>
                <a:gd name="T51" fmla="*/ 91 h 127"/>
                <a:gd name="T52" fmla="*/ 67 w 602"/>
                <a:gd name="T53" fmla="*/ 101 h 127"/>
                <a:gd name="T54" fmla="*/ 108 w 602"/>
                <a:gd name="T55" fmla="*/ 110 h 127"/>
                <a:gd name="T56" fmla="*/ 155 w 602"/>
                <a:gd name="T57" fmla="*/ 117 h 127"/>
                <a:gd name="T58" fmla="*/ 210 w 602"/>
                <a:gd name="T59" fmla="*/ 124 h 127"/>
                <a:gd name="T60" fmla="*/ 270 w 602"/>
                <a:gd name="T61" fmla="*/ 127 h 127"/>
                <a:gd name="T62" fmla="*/ 302 w 602"/>
                <a:gd name="T6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7">
                  <a:moveTo>
                    <a:pt x="302" y="127"/>
                  </a:moveTo>
                  <a:lnTo>
                    <a:pt x="333" y="126"/>
                  </a:lnTo>
                  <a:lnTo>
                    <a:pt x="364" y="125"/>
                  </a:lnTo>
                  <a:lnTo>
                    <a:pt x="393" y="124"/>
                  </a:lnTo>
                  <a:lnTo>
                    <a:pt x="421" y="120"/>
                  </a:lnTo>
                  <a:lnTo>
                    <a:pt x="448" y="117"/>
                  </a:lnTo>
                  <a:lnTo>
                    <a:pt x="472" y="114"/>
                  </a:lnTo>
                  <a:lnTo>
                    <a:pt x="495" y="110"/>
                  </a:lnTo>
                  <a:lnTo>
                    <a:pt x="516" y="105"/>
                  </a:lnTo>
                  <a:lnTo>
                    <a:pt x="536" y="101"/>
                  </a:lnTo>
                  <a:lnTo>
                    <a:pt x="553" y="96"/>
                  </a:lnTo>
                  <a:lnTo>
                    <a:pt x="567" y="91"/>
                  </a:lnTo>
                  <a:lnTo>
                    <a:pt x="580" y="86"/>
                  </a:lnTo>
                  <a:lnTo>
                    <a:pt x="589" y="81"/>
                  </a:lnTo>
                  <a:lnTo>
                    <a:pt x="597" y="76"/>
                  </a:lnTo>
                  <a:lnTo>
                    <a:pt x="599" y="73"/>
                  </a:lnTo>
                  <a:lnTo>
                    <a:pt x="601" y="71"/>
                  </a:lnTo>
                  <a:lnTo>
                    <a:pt x="602" y="69"/>
                  </a:lnTo>
                  <a:lnTo>
                    <a:pt x="602" y="67"/>
                  </a:lnTo>
                  <a:lnTo>
                    <a:pt x="602" y="0"/>
                  </a:lnTo>
                  <a:lnTo>
                    <a:pt x="590" y="8"/>
                  </a:lnTo>
                  <a:lnTo>
                    <a:pt x="576" y="13"/>
                  </a:lnTo>
                  <a:lnTo>
                    <a:pt x="560" y="18"/>
                  </a:lnTo>
                  <a:lnTo>
                    <a:pt x="543" y="24"/>
                  </a:lnTo>
                  <a:lnTo>
                    <a:pt x="525" y="28"/>
                  </a:lnTo>
                  <a:lnTo>
                    <a:pt x="506" y="32"/>
                  </a:lnTo>
                  <a:lnTo>
                    <a:pt x="486" y="37"/>
                  </a:lnTo>
                  <a:lnTo>
                    <a:pt x="466" y="40"/>
                  </a:lnTo>
                  <a:lnTo>
                    <a:pt x="423" y="45"/>
                  </a:lnTo>
                  <a:lnTo>
                    <a:pt x="381" y="48"/>
                  </a:lnTo>
                  <a:lnTo>
                    <a:pt x="340" y="51"/>
                  </a:lnTo>
                  <a:lnTo>
                    <a:pt x="302" y="52"/>
                  </a:lnTo>
                  <a:lnTo>
                    <a:pt x="263" y="51"/>
                  </a:lnTo>
                  <a:lnTo>
                    <a:pt x="221" y="48"/>
                  </a:lnTo>
                  <a:lnTo>
                    <a:pt x="180" y="45"/>
                  </a:lnTo>
                  <a:lnTo>
                    <a:pt x="137" y="40"/>
                  </a:lnTo>
                  <a:lnTo>
                    <a:pt x="116" y="37"/>
                  </a:lnTo>
                  <a:lnTo>
                    <a:pt x="97" y="32"/>
                  </a:lnTo>
                  <a:lnTo>
                    <a:pt x="78" y="28"/>
                  </a:lnTo>
                  <a:lnTo>
                    <a:pt x="59" y="24"/>
                  </a:lnTo>
                  <a:lnTo>
                    <a:pt x="42" y="18"/>
                  </a:lnTo>
                  <a:lnTo>
                    <a:pt x="27" y="13"/>
                  </a:lnTo>
                  <a:lnTo>
                    <a:pt x="12" y="8"/>
                  </a:lnTo>
                  <a:lnTo>
                    <a:pt x="0" y="1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2" y="71"/>
                  </a:lnTo>
                  <a:lnTo>
                    <a:pt x="4" y="73"/>
                  </a:lnTo>
                  <a:lnTo>
                    <a:pt x="6" y="75"/>
                  </a:lnTo>
                  <a:lnTo>
                    <a:pt x="13" y="81"/>
                  </a:lnTo>
                  <a:lnTo>
                    <a:pt x="23" y="86"/>
                  </a:lnTo>
                  <a:lnTo>
                    <a:pt x="36" y="91"/>
                  </a:lnTo>
                  <a:lnTo>
                    <a:pt x="50" y="96"/>
                  </a:lnTo>
                  <a:lnTo>
                    <a:pt x="67" y="101"/>
                  </a:lnTo>
                  <a:lnTo>
                    <a:pt x="86" y="105"/>
                  </a:lnTo>
                  <a:lnTo>
                    <a:pt x="108" y="110"/>
                  </a:lnTo>
                  <a:lnTo>
                    <a:pt x="130" y="114"/>
                  </a:lnTo>
                  <a:lnTo>
                    <a:pt x="155" y="117"/>
                  </a:lnTo>
                  <a:lnTo>
                    <a:pt x="182" y="120"/>
                  </a:lnTo>
                  <a:lnTo>
                    <a:pt x="210" y="124"/>
                  </a:lnTo>
                  <a:lnTo>
                    <a:pt x="240" y="125"/>
                  </a:lnTo>
                  <a:lnTo>
                    <a:pt x="270" y="127"/>
                  </a:lnTo>
                  <a:lnTo>
                    <a:pt x="302" y="127"/>
                  </a:lnTo>
                  <a:lnTo>
                    <a:pt x="302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29" name="Freeform 461"/>
            <p:cNvSpPr>
              <a:spLocks/>
            </p:cNvSpPr>
            <p:nvPr/>
          </p:nvSpPr>
          <p:spPr bwMode="auto">
            <a:xfrm>
              <a:off x="2598738" y="1487488"/>
              <a:ext cx="190500" cy="39688"/>
            </a:xfrm>
            <a:custGeom>
              <a:avLst/>
              <a:gdLst>
                <a:gd name="T0" fmla="*/ 602 w 602"/>
                <a:gd name="T1" fmla="*/ 0 h 125"/>
                <a:gd name="T2" fmla="*/ 573 w 602"/>
                <a:gd name="T3" fmla="*/ 14 h 125"/>
                <a:gd name="T4" fmla="*/ 537 w 602"/>
                <a:gd name="T5" fmla="*/ 24 h 125"/>
                <a:gd name="T6" fmla="*/ 497 w 602"/>
                <a:gd name="T7" fmla="*/ 33 h 125"/>
                <a:gd name="T8" fmla="*/ 454 w 602"/>
                <a:gd name="T9" fmla="*/ 39 h 125"/>
                <a:gd name="T10" fmla="*/ 369 w 602"/>
                <a:gd name="T11" fmla="*/ 47 h 125"/>
                <a:gd name="T12" fmla="*/ 302 w 602"/>
                <a:gd name="T13" fmla="*/ 49 h 125"/>
                <a:gd name="T14" fmla="*/ 233 w 602"/>
                <a:gd name="T15" fmla="*/ 47 h 125"/>
                <a:gd name="T16" fmla="*/ 148 w 602"/>
                <a:gd name="T17" fmla="*/ 39 h 125"/>
                <a:gd name="T18" fmla="*/ 106 w 602"/>
                <a:gd name="T19" fmla="*/ 33 h 125"/>
                <a:gd name="T20" fmla="*/ 66 w 602"/>
                <a:gd name="T21" fmla="*/ 24 h 125"/>
                <a:gd name="T22" fmla="*/ 29 w 602"/>
                <a:gd name="T23" fmla="*/ 14 h 125"/>
                <a:gd name="T24" fmla="*/ 0 w 602"/>
                <a:gd name="T25" fmla="*/ 0 h 125"/>
                <a:gd name="T26" fmla="*/ 2 w 602"/>
                <a:gd name="T27" fmla="*/ 69 h 125"/>
                <a:gd name="T28" fmla="*/ 11 w 602"/>
                <a:gd name="T29" fmla="*/ 79 h 125"/>
                <a:gd name="T30" fmla="*/ 32 w 602"/>
                <a:gd name="T31" fmla="*/ 89 h 125"/>
                <a:gd name="T32" fmla="*/ 59 w 602"/>
                <a:gd name="T33" fmla="*/ 98 h 125"/>
                <a:gd name="T34" fmla="*/ 96 w 602"/>
                <a:gd name="T35" fmla="*/ 107 h 125"/>
                <a:gd name="T36" fmla="*/ 140 w 602"/>
                <a:gd name="T37" fmla="*/ 116 h 125"/>
                <a:gd name="T38" fmla="*/ 190 w 602"/>
                <a:gd name="T39" fmla="*/ 121 h 125"/>
                <a:gd name="T40" fmla="*/ 248 w 602"/>
                <a:gd name="T41" fmla="*/ 124 h 125"/>
                <a:gd name="T42" fmla="*/ 283 w 602"/>
                <a:gd name="T43" fmla="*/ 119 h 125"/>
                <a:gd name="T44" fmla="*/ 292 w 602"/>
                <a:gd name="T45" fmla="*/ 106 h 125"/>
                <a:gd name="T46" fmla="*/ 305 w 602"/>
                <a:gd name="T47" fmla="*/ 94 h 125"/>
                <a:gd name="T48" fmla="*/ 320 w 602"/>
                <a:gd name="T49" fmla="*/ 84 h 125"/>
                <a:gd name="T50" fmla="*/ 350 w 602"/>
                <a:gd name="T51" fmla="*/ 70 h 125"/>
                <a:gd name="T52" fmla="*/ 400 w 602"/>
                <a:gd name="T53" fmla="*/ 55 h 125"/>
                <a:gd name="T54" fmla="*/ 458 w 602"/>
                <a:gd name="T55" fmla="*/ 45 h 125"/>
                <a:gd name="T56" fmla="*/ 514 w 602"/>
                <a:gd name="T57" fmla="*/ 38 h 125"/>
                <a:gd name="T58" fmla="*/ 561 w 602"/>
                <a:gd name="T59" fmla="*/ 35 h 125"/>
                <a:gd name="T60" fmla="*/ 594 w 602"/>
                <a:gd name="T61" fmla="*/ 35 h 125"/>
                <a:gd name="T62" fmla="*/ 602 w 602"/>
                <a:gd name="T63" fmla="*/ 3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602" y="34"/>
                  </a:move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5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5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6" y="74"/>
                  </a:lnTo>
                  <a:lnTo>
                    <a:pt x="11" y="79"/>
                  </a:lnTo>
                  <a:lnTo>
                    <a:pt x="20" y="83"/>
                  </a:lnTo>
                  <a:lnTo>
                    <a:pt x="32" y="89"/>
                  </a:lnTo>
                  <a:lnTo>
                    <a:pt x="44" y="94"/>
                  </a:lnTo>
                  <a:lnTo>
                    <a:pt x="59" y="98"/>
                  </a:lnTo>
                  <a:lnTo>
                    <a:pt x="77" y="103"/>
                  </a:lnTo>
                  <a:lnTo>
                    <a:pt x="96" y="107"/>
                  </a:lnTo>
                  <a:lnTo>
                    <a:pt x="117" y="111"/>
                  </a:lnTo>
                  <a:lnTo>
                    <a:pt x="140" y="116"/>
                  </a:lnTo>
                  <a:lnTo>
                    <a:pt x="165" y="118"/>
                  </a:lnTo>
                  <a:lnTo>
                    <a:pt x="190" y="121"/>
                  </a:lnTo>
                  <a:lnTo>
                    <a:pt x="218" y="123"/>
                  </a:lnTo>
                  <a:lnTo>
                    <a:pt x="248" y="124"/>
                  </a:lnTo>
                  <a:lnTo>
                    <a:pt x="278" y="125"/>
                  </a:lnTo>
                  <a:lnTo>
                    <a:pt x="283" y="119"/>
                  </a:lnTo>
                  <a:lnTo>
                    <a:pt x="287" y="112"/>
                  </a:lnTo>
                  <a:lnTo>
                    <a:pt x="292" y="106"/>
                  </a:lnTo>
                  <a:lnTo>
                    <a:pt x="298" y="101"/>
                  </a:lnTo>
                  <a:lnTo>
                    <a:pt x="305" y="94"/>
                  </a:lnTo>
                  <a:lnTo>
                    <a:pt x="313" y="89"/>
                  </a:lnTo>
                  <a:lnTo>
                    <a:pt x="320" y="84"/>
                  </a:lnTo>
                  <a:lnTo>
                    <a:pt x="330" y="79"/>
                  </a:lnTo>
                  <a:lnTo>
                    <a:pt x="350" y="70"/>
                  </a:lnTo>
                  <a:lnTo>
                    <a:pt x="374" y="62"/>
                  </a:lnTo>
                  <a:lnTo>
                    <a:pt x="400" y="55"/>
                  </a:lnTo>
                  <a:lnTo>
                    <a:pt x="429" y="49"/>
                  </a:lnTo>
                  <a:lnTo>
                    <a:pt x="458" y="45"/>
                  </a:lnTo>
                  <a:lnTo>
                    <a:pt x="486" y="40"/>
                  </a:lnTo>
                  <a:lnTo>
                    <a:pt x="514" y="38"/>
                  </a:lnTo>
                  <a:lnTo>
                    <a:pt x="539" y="36"/>
                  </a:lnTo>
                  <a:lnTo>
                    <a:pt x="561" y="35"/>
                  </a:lnTo>
                  <a:lnTo>
                    <a:pt x="580" y="35"/>
                  </a:lnTo>
                  <a:lnTo>
                    <a:pt x="594" y="35"/>
                  </a:lnTo>
                  <a:lnTo>
                    <a:pt x="602" y="34"/>
                  </a:lnTo>
                  <a:lnTo>
                    <a:pt x="602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0" name="Freeform 462"/>
            <p:cNvSpPr>
              <a:spLocks/>
            </p:cNvSpPr>
            <p:nvPr/>
          </p:nvSpPr>
          <p:spPr bwMode="auto">
            <a:xfrm>
              <a:off x="2598738" y="1520825"/>
              <a:ext cx="85725" cy="49213"/>
            </a:xfrm>
            <a:custGeom>
              <a:avLst/>
              <a:gdLst>
                <a:gd name="T0" fmla="*/ 0 w 271"/>
                <a:gd name="T1" fmla="*/ 63 h 153"/>
                <a:gd name="T2" fmla="*/ 0 w 271"/>
                <a:gd name="T3" fmla="*/ 69 h 153"/>
                <a:gd name="T4" fmla="*/ 3 w 271"/>
                <a:gd name="T5" fmla="*/ 75 h 153"/>
                <a:gd name="T6" fmla="*/ 5 w 271"/>
                <a:gd name="T7" fmla="*/ 80 h 153"/>
                <a:gd name="T8" fmla="*/ 7 w 271"/>
                <a:gd name="T9" fmla="*/ 86 h 153"/>
                <a:gd name="T10" fmla="*/ 11 w 271"/>
                <a:gd name="T11" fmla="*/ 90 h 153"/>
                <a:gd name="T12" fmla="*/ 15 w 271"/>
                <a:gd name="T13" fmla="*/ 95 h 153"/>
                <a:gd name="T14" fmla="*/ 21 w 271"/>
                <a:gd name="T15" fmla="*/ 100 h 153"/>
                <a:gd name="T16" fmla="*/ 27 w 271"/>
                <a:gd name="T17" fmla="*/ 104 h 153"/>
                <a:gd name="T18" fmla="*/ 40 w 271"/>
                <a:gd name="T19" fmla="*/ 113 h 153"/>
                <a:gd name="T20" fmla="*/ 56 w 271"/>
                <a:gd name="T21" fmla="*/ 119 h 153"/>
                <a:gd name="T22" fmla="*/ 74 w 271"/>
                <a:gd name="T23" fmla="*/ 125 h 153"/>
                <a:gd name="T24" fmla="*/ 94 w 271"/>
                <a:gd name="T25" fmla="*/ 131 h 153"/>
                <a:gd name="T26" fmla="*/ 114 w 271"/>
                <a:gd name="T27" fmla="*/ 136 h 153"/>
                <a:gd name="T28" fmla="*/ 136 w 271"/>
                <a:gd name="T29" fmla="*/ 140 h 153"/>
                <a:gd name="T30" fmla="*/ 158 w 271"/>
                <a:gd name="T31" fmla="*/ 144 h 153"/>
                <a:gd name="T32" fmla="*/ 182 w 271"/>
                <a:gd name="T33" fmla="*/ 147 h 153"/>
                <a:gd name="T34" fmla="*/ 227 w 271"/>
                <a:gd name="T35" fmla="*/ 151 h 153"/>
                <a:gd name="T36" fmla="*/ 271 w 271"/>
                <a:gd name="T37" fmla="*/ 153 h 153"/>
                <a:gd name="T38" fmla="*/ 271 w 271"/>
                <a:gd name="T39" fmla="*/ 48 h 153"/>
                <a:gd name="T40" fmla="*/ 271 w 271"/>
                <a:gd name="T41" fmla="*/ 48 h 153"/>
                <a:gd name="T42" fmla="*/ 271 w 271"/>
                <a:gd name="T43" fmla="*/ 48 h 153"/>
                <a:gd name="T44" fmla="*/ 237 w 271"/>
                <a:gd name="T45" fmla="*/ 47 h 153"/>
                <a:gd name="T46" fmla="*/ 201 w 271"/>
                <a:gd name="T47" fmla="*/ 45 h 153"/>
                <a:gd name="T48" fmla="*/ 163 w 271"/>
                <a:gd name="T49" fmla="*/ 42 h 153"/>
                <a:gd name="T50" fmla="*/ 126 w 271"/>
                <a:gd name="T51" fmla="*/ 36 h 153"/>
                <a:gd name="T52" fmla="*/ 107 w 271"/>
                <a:gd name="T53" fmla="*/ 33 h 153"/>
                <a:gd name="T54" fmla="*/ 89 w 271"/>
                <a:gd name="T55" fmla="*/ 30 h 153"/>
                <a:gd name="T56" fmla="*/ 71 w 271"/>
                <a:gd name="T57" fmla="*/ 26 h 153"/>
                <a:gd name="T58" fmla="*/ 55 w 271"/>
                <a:gd name="T59" fmla="*/ 21 h 153"/>
                <a:gd name="T60" fmla="*/ 39 w 271"/>
                <a:gd name="T61" fmla="*/ 17 h 153"/>
                <a:gd name="T62" fmla="*/ 25 w 271"/>
                <a:gd name="T63" fmla="*/ 12 h 153"/>
                <a:gd name="T64" fmla="*/ 12 w 271"/>
                <a:gd name="T65" fmla="*/ 5 h 153"/>
                <a:gd name="T66" fmla="*/ 0 w 271"/>
                <a:gd name="T67" fmla="*/ 0 h 153"/>
                <a:gd name="T68" fmla="*/ 0 w 271"/>
                <a:gd name="T69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1" h="153">
                  <a:moveTo>
                    <a:pt x="0" y="63"/>
                  </a:moveTo>
                  <a:lnTo>
                    <a:pt x="0" y="69"/>
                  </a:lnTo>
                  <a:lnTo>
                    <a:pt x="3" y="75"/>
                  </a:lnTo>
                  <a:lnTo>
                    <a:pt x="5" y="80"/>
                  </a:lnTo>
                  <a:lnTo>
                    <a:pt x="7" y="86"/>
                  </a:lnTo>
                  <a:lnTo>
                    <a:pt x="11" y="90"/>
                  </a:lnTo>
                  <a:lnTo>
                    <a:pt x="15" y="95"/>
                  </a:lnTo>
                  <a:lnTo>
                    <a:pt x="21" y="100"/>
                  </a:lnTo>
                  <a:lnTo>
                    <a:pt x="27" y="104"/>
                  </a:lnTo>
                  <a:lnTo>
                    <a:pt x="40" y="113"/>
                  </a:lnTo>
                  <a:lnTo>
                    <a:pt x="56" y="119"/>
                  </a:lnTo>
                  <a:lnTo>
                    <a:pt x="74" y="125"/>
                  </a:lnTo>
                  <a:lnTo>
                    <a:pt x="94" y="131"/>
                  </a:lnTo>
                  <a:lnTo>
                    <a:pt x="114" y="136"/>
                  </a:lnTo>
                  <a:lnTo>
                    <a:pt x="136" y="140"/>
                  </a:lnTo>
                  <a:lnTo>
                    <a:pt x="158" y="144"/>
                  </a:lnTo>
                  <a:lnTo>
                    <a:pt x="182" y="147"/>
                  </a:lnTo>
                  <a:lnTo>
                    <a:pt x="227" y="151"/>
                  </a:lnTo>
                  <a:lnTo>
                    <a:pt x="271" y="153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37" y="47"/>
                  </a:lnTo>
                  <a:lnTo>
                    <a:pt x="201" y="45"/>
                  </a:lnTo>
                  <a:lnTo>
                    <a:pt x="163" y="42"/>
                  </a:lnTo>
                  <a:lnTo>
                    <a:pt x="126" y="36"/>
                  </a:lnTo>
                  <a:lnTo>
                    <a:pt x="107" y="33"/>
                  </a:lnTo>
                  <a:lnTo>
                    <a:pt x="89" y="30"/>
                  </a:lnTo>
                  <a:lnTo>
                    <a:pt x="71" y="26"/>
                  </a:lnTo>
                  <a:lnTo>
                    <a:pt x="55" y="21"/>
                  </a:lnTo>
                  <a:lnTo>
                    <a:pt x="39" y="17"/>
                  </a:lnTo>
                  <a:lnTo>
                    <a:pt x="25" y="12"/>
                  </a:lnTo>
                  <a:lnTo>
                    <a:pt x="12" y="5"/>
                  </a:lnTo>
                  <a:lnTo>
                    <a:pt x="0" y="0"/>
                  </a:lnTo>
                  <a:lnTo>
                    <a:pt x="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1" name="Freeform 463"/>
            <p:cNvSpPr>
              <a:spLocks/>
            </p:cNvSpPr>
            <p:nvPr/>
          </p:nvSpPr>
          <p:spPr bwMode="auto">
            <a:xfrm>
              <a:off x="2693988" y="1582738"/>
              <a:ext cx="192088" cy="49213"/>
            </a:xfrm>
            <a:custGeom>
              <a:avLst/>
              <a:gdLst>
                <a:gd name="T0" fmla="*/ 0 w 601"/>
                <a:gd name="T1" fmla="*/ 0 h 155"/>
                <a:gd name="T2" fmla="*/ 0 w 601"/>
                <a:gd name="T3" fmla="*/ 64 h 155"/>
                <a:gd name="T4" fmla="*/ 0 w 601"/>
                <a:gd name="T5" fmla="*/ 71 h 155"/>
                <a:gd name="T6" fmla="*/ 2 w 601"/>
                <a:gd name="T7" fmla="*/ 77 h 155"/>
                <a:gd name="T8" fmla="*/ 4 w 601"/>
                <a:gd name="T9" fmla="*/ 84 h 155"/>
                <a:gd name="T10" fmla="*/ 7 w 601"/>
                <a:gd name="T11" fmla="*/ 89 h 155"/>
                <a:gd name="T12" fmla="*/ 13 w 601"/>
                <a:gd name="T13" fmla="*/ 95 h 155"/>
                <a:gd name="T14" fmla="*/ 18 w 601"/>
                <a:gd name="T15" fmla="*/ 100 h 155"/>
                <a:gd name="T16" fmla="*/ 23 w 601"/>
                <a:gd name="T17" fmla="*/ 104 h 155"/>
                <a:gd name="T18" fmla="*/ 31 w 601"/>
                <a:gd name="T19" fmla="*/ 108 h 155"/>
                <a:gd name="T20" fmla="*/ 47 w 601"/>
                <a:gd name="T21" fmla="*/ 117 h 155"/>
                <a:gd name="T22" fmla="*/ 65 w 601"/>
                <a:gd name="T23" fmla="*/ 125 h 155"/>
                <a:gd name="T24" fmla="*/ 86 w 601"/>
                <a:gd name="T25" fmla="*/ 131 h 155"/>
                <a:gd name="T26" fmla="*/ 108 w 601"/>
                <a:gd name="T27" fmla="*/ 136 h 155"/>
                <a:gd name="T28" fmla="*/ 132 w 601"/>
                <a:gd name="T29" fmla="*/ 142 h 155"/>
                <a:gd name="T30" fmla="*/ 156 w 601"/>
                <a:gd name="T31" fmla="*/ 145 h 155"/>
                <a:gd name="T32" fmla="*/ 181 w 601"/>
                <a:gd name="T33" fmla="*/ 148 h 155"/>
                <a:gd name="T34" fmla="*/ 206 w 601"/>
                <a:gd name="T35" fmla="*/ 151 h 155"/>
                <a:gd name="T36" fmla="*/ 255 w 601"/>
                <a:gd name="T37" fmla="*/ 155 h 155"/>
                <a:gd name="T38" fmla="*/ 300 w 601"/>
                <a:gd name="T39" fmla="*/ 155 h 155"/>
                <a:gd name="T40" fmla="*/ 345 w 601"/>
                <a:gd name="T41" fmla="*/ 155 h 155"/>
                <a:gd name="T42" fmla="*/ 394 w 601"/>
                <a:gd name="T43" fmla="*/ 151 h 155"/>
                <a:gd name="T44" fmla="*/ 420 w 601"/>
                <a:gd name="T45" fmla="*/ 148 h 155"/>
                <a:gd name="T46" fmla="*/ 445 w 601"/>
                <a:gd name="T47" fmla="*/ 145 h 155"/>
                <a:gd name="T48" fmla="*/ 470 w 601"/>
                <a:gd name="T49" fmla="*/ 142 h 155"/>
                <a:gd name="T50" fmla="*/ 493 w 601"/>
                <a:gd name="T51" fmla="*/ 136 h 155"/>
                <a:gd name="T52" fmla="*/ 515 w 601"/>
                <a:gd name="T53" fmla="*/ 131 h 155"/>
                <a:gd name="T54" fmla="*/ 536 w 601"/>
                <a:gd name="T55" fmla="*/ 125 h 155"/>
                <a:gd name="T56" fmla="*/ 554 w 601"/>
                <a:gd name="T57" fmla="*/ 117 h 155"/>
                <a:gd name="T58" fmla="*/ 570 w 601"/>
                <a:gd name="T59" fmla="*/ 108 h 155"/>
                <a:gd name="T60" fmla="*/ 577 w 601"/>
                <a:gd name="T61" fmla="*/ 104 h 155"/>
                <a:gd name="T62" fmla="*/ 583 w 601"/>
                <a:gd name="T63" fmla="*/ 100 h 155"/>
                <a:gd name="T64" fmla="*/ 589 w 601"/>
                <a:gd name="T65" fmla="*/ 95 h 155"/>
                <a:gd name="T66" fmla="*/ 593 w 601"/>
                <a:gd name="T67" fmla="*/ 89 h 155"/>
                <a:gd name="T68" fmla="*/ 597 w 601"/>
                <a:gd name="T69" fmla="*/ 84 h 155"/>
                <a:gd name="T70" fmla="*/ 599 w 601"/>
                <a:gd name="T71" fmla="*/ 77 h 155"/>
                <a:gd name="T72" fmla="*/ 600 w 601"/>
                <a:gd name="T73" fmla="*/ 71 h 155"/>
                <a:gd name="T74" fmla="*/ 601 w 601"/>
                <a:gd name="T75" fmla="*/ 64 h 155"/>
                <a:gd name="T76" fmla="*/ 601 w 601"/>
                <a:gd name="T77" fmla="*/ 0 h 155"/>
                <a:gd name="T78" fmla="*/ 588 w 601"/>
                <a:gd name="T79" fmla="*/ 7 h 155"/>
                <a:gd name="T80" fmla="*/ 573 w 601"/>
                <a:gd name="T81" fmla="*/ 13 h 155"/>
                <a:gd name="T82" fmla="*/ 555 w 601"/>
                <a:gd name="T83" fmla="*/ 19 h 155"/>
                <a:gd name="T84" fmla="*/ 536 w 601"/>
                <a:gd name="T85" fmla="*/ 25 h 155"/>
                <a:gd name="T86" fmla="*/ 517 w 601"/>
                <a:gd name="T87" fmla="*/ 29 h 155"/>
                <a:gd name="T88" fmla="*/ 495 w 601"/>
                <a:gd name="T89" fmla="*/ 33 h 155"/>
                <a:gd name="T90" fmla="*/ 474 w 601"/>
                <a:gd name="T91" fmla="*/ 37 h 155"/>
                <a:gd name="T92" fmla="*/ 452 w 601"/>
                <a:gd name="T93" fmla="*/ 40 h 155"/>
                <a:gd name="T94" fmla="*/ 410 w 601"/>
                <a:gd name="T95" fmla="*/ 44 h 155"/>
                <a:gd name="T96" fmla="*/ 369 w 601"/>
                <a:gd name="T97" fmla="*/ 47 h 155"/>
                <a:gd name="T98" fmla="*/ 331 w 601"/>
                <a:gd name="T99" fmla="*/ 49 h 155"/>
                <a:gd name="T100" fmla="*/ 300 w 601"/>
                <a:gd name="T101" fmla="*/ 49 h 155"/>
                <a:gd name="T102" fmla="*/ 269 w 601"/>
                <a:gd name="T103" fmla="*/ 49 h 155"/>
                <a:gd name="T104" fmla="*/ 233 w 601"/>
                <a:gd name="T105" fmla="*/ 47 h 155"/>
                <a:gd name="T106" fmla="*/ 191 w 601"/>
                <a:gd name="T107" fmla="*/ 44 h 155"/>
                <a:gd name="T108" fmla="*/ 148 w 601"/>
                <a:gd name="T109" fmla="*/ 40 h 155"/>
                <a:gd name="T110" fmla="*/ 126 w 601"/>
                <a:gd name="T111" fmla="*/ 37 h 155"/>
                <a:gd name="T112" fmla="*/ 105 w 601"/>
                <a:gd name="T113" fmla="*/ 33 h 155"/>
                <a:gd name="T114" fmla="*/ 85 w 601"/>
                <a:gd name="T115" fmla="*/ 29 h 155"/>
                <a:gd name="T116" fmla="*/ 64 w 601"/>
                <a:gd name="T117" fmla="*/ 25 h 155"/>
                <a:gd name="T118" fmla="*/ 46 w 601"/>
                <a:gd name="T119" fmla="*/ 19 h 155"/>
                <a:gd name="T120" fmla="*/ 29 w 601"/>
                <a:gd name="T121" fmla="*/ 14 h 155"/>
                <a:gd name="T122" fmla="*/ 13 w 601"/>
                <a:gd name="T123" fmla="*/ 8 h 155"/>
                <a:gd name="T124" fmla="*/ 0 w 601"/>
                <a:gd name="T12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1" h="155">
                  <a:moveTo>
                    <a:pt x="0" y="0"/>
                  </a:moveTo>
                  <a:lnTo>
                    <a:pt x="0" y="64"/>
                  </a:lnTo>
                  <a:lnTo>
                    <a:pt x="0" y="71"/>
                  </a:lnTo>
                  <a:lnTo>
                    <a:pt x="2" y="77"/>
                  </a:lnTo>
                  <a:lnTo>
                    <a:pt x="4" y="84"/>
                  </a:lnTo>
                  <a:lnTo>
                    <a:pt x="7" y="89"/>
                  </a:lnTo>
                  <a:lnTo>
                    <a:pt x="13" y="95"/>
                  </a:lnTo>
                  <a:lnTo>
                    <a:pt x="18" y="100"/>
                  </a:lnTo>
                  <a:lnTo>
                    <a:pt x="23" y="104"/>
                  </a:lnTo>
                  <a:lnTo>
                    <a:pt x="31" y="108"/>
                  </a:lnTo>
                  <a:lnTo>
                    <a:pt x="47" y="117"/>
                  </a:lnTo>
                  <a:lnTo>
                    <a:pt x="65" y="125"/>
                  </a:lnTo>
                  <a:lnTo>
                    <a:pt x="86" y="131"/>
                  </a:lnTo>
                  <a:lnTo>
                    <a:pt x="108" y="136"/>
                  </a:lnTo>
                  <a:lnTo>
                    <a:pt x="132" y="142"/>
                  </a:lnTo>
                  <a:lnTo>
                    <a:pt x="156" y="145"/>
                  </a:lnTo>
                  <a:lnTo>
                    <a:pt x="181" y="148"/>
                  </a:lnTo>
                  <a:lnTo>
                    <a:pt x="206" y="151"/>
                  </a:lnTo>
                  <a:lnTo>
                    <a:pt x="255" y="155"/>
                  </a:lnTo>
                  <a:lnTo>
                    <a:pt x="300" y="155"/>
                  </a:lnTo>
                  <a:lnTo>
                    <a:pt x="345" y="155"/>
                  </a:lnTo>
                  <a:lnTo>
                    <a:pt x="394" y="151"/>
                  </a:lnTo>
                  <a:lnTo>
                    <a:pt x="420" y="148"/>
                  </a:lnTo>
                  <a:lnTo>
                    <a:pt x="445" y="145"/>
                  </a:lnTo>
                  <a:lnTo>
                    <a:pt x="470" y="142"/>
                  </a:lnTo>
                  <a:lnTo>
                    <a:pt x="493" y="136"/>
                  </a:lnTo>
                  <a:lnTo>
                    <a:pt x="515" y="131"/>
                  </a:lnTo>
                  <a:lnTo>
                    <a:pt x="536" y="125"/>
                  </a:lnTo>
                  <a:lnTo>
                    <a:pt x="554" y="117"/>
                  </a:lnTo>
                  <a:lnTo>
                    <a:pt x="570" y="108"/>
                  </a:lnTo>
                  <a:lnTo>
                    <a:pt x="577" y="104"/>
                  </a:lnTo>
                  <a:lnTo>
                    <a:pt x="583" y="100"/>
                  </a:lnTo>
                  <a:lnTo>
                    <a:pt x="589" y="95"/>
                  </a:lnTo>
                  <a:lnTo>
                    <a:pt x="593" y="89"/>
                  </a:lnTo>
                  <a:lnTo>
                    <a:pt x="597" y="84"/>
                  </a:lnTo>
                  <a:lnTo>
                    <a:pt x="599" y="77"/>
                  </a:lnTo>
                  <a:lnTo>
                    <a:pt x="600" y="71"/>
                  </a:lnTo>
                  <a:lnTo>
                    <a:pt x="601" y="64"/>
                  </a:lnTo>
                  <a:lnTo>
                    <a:pt x="601" y="0"/>
                  </a:lnTo>
                  <a:lnTo>
                    <a:pt x="588" y="7"/>
                  </a:lnTo>
                  <a:lnTo>
                    <a:pt x="573" y="13"/>
                  </a:lnTo>
                  <a:lnTo>
                    <a:pt x="555" y="19"/>
                  </a:lnTo>
                  <a:lnTo>
                    <a:pt x="536" y="25"/>
                  </a:lnTo>
                  <a:lnTo>
                    <a:pt x="517" y="29"/>
                  </a:lnTo>
                  <a:lnTo>
                    <a:pt x="495" y="33"/>
                  </a:lnTo>
                  <a:lnTo>
                    <a:pt x="474" y="37"/>
                  </a:lnTo>
                  <a:lnTo>
                    <a:pt x="452" y="40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1" y="49"/>
                  </a:lnTo>
                  <a:lnTo>
                    <a:pt x="300" y="49"/>
                  </a:lnTo>
                  <a:lnTo>
                    <a:pt x="269" y="49"/>
                  </a:lnTo>
                  <a:lnTo>
                    <a:pt x="233" y="47"/>
                  </a:lnTo>
                  <a:lnTo>
                    <a:pt x="191" y="44"/>
                  </a:lnTo>
                  <a:lnTo>
                    <a:pt x="148" y="40"/>
                  </a:lnTo>
                  <a:lnTo>
                    <a:pt x="126" y="37"/>
                  </a:lnTo>
                  <a:lnTo>
                    <a:pt x="105" y="33"/>
                  </a:lnTo>
                  <a:lnTo>
                    <a:pt x="85" y="29"/>
                  </a:lnTo>
                  <a:lnTo>
                    <a:pt x="64" y="25"/>
                  </a:lnTo>
                  <a:lnTo>
                    <a:pt x="46" y="19"/>
                  </a:lnTo>
                  <a:lnTo>
                    <a:pt x="29" y="14"/>
                  </a:lnTo>
                  <a:lnTo>
                    <a:pt x="1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2" name="Freeform 464"/>
            <p:cNvSpPr>
              <a:spLocks/>
            </p:cNvSpPr>
            <p:nvPr/>
          </p:nvSpPr>
          <p:spPr bwMode="auto">
            <a:xfrm>
              <a:off x="2693988" y="1549400"/>
              <a:ext cx="192088" cy="39688"/>
            </a:xfrm>
            <a:custGeom>
              <a:avLst/>
              <a:gdLst>
                <a:gd name="T0" fmla="*/ 0 w 601"/>
                <a:gd name="T1" fmla="*/ 65 h 125"/>
                <a:gd name="T2" fmla="*/ 1 w 601"/>
                <a:gd name="T3" fmla="*/ 70 h 125"/>
                <a:gd name="T4" fmla="*/ 5 w 601"/>
                <a:gd name="T5" fmla="*/ 75 h 125"/>
                <a:gd name="T6" fmla="*/ 22 w 601"/>
                <a:gd name="T7" fmla="*/ 85 h 125"/>
                <a:gd name="T8" fmla="*/ 49 w 601"/>
                <a:gd name="T9" fmla="*/ 94 h 125"/>
                <a:gd name="T10" fmla="*/ 86 w 601"/>
                <a:gd name="T11" fmla="*/ 104 h 125"/>
                <a:gd name="T12" fmla="*/ 130 w 601"/>
                <a:gd name="T13" fmla="*/ 113 h 125"/>
                <a:gd name="T14" fmla="*/ 181 w 601"/>
                <a:gd name="T15" fmla="*/ 119 h 125"/>
                <a:gd name="T16" fmla="*/ 238 w 601"/>
                <a:gd name="T17" fmla="*/ 124 h 125"/>
                <a:gd name="T18" fmla="*/ 300 w 601"/>
                <a:gd name="T19" fmla="*/ 125 h 125"/>
                <a:gd name="T20" fmla="*/ 362 w 601"/>
                <a:gd name="T21" fmla="*/ 124 h 125"/>
                <a:gd name="T22" fmla="*/ 420 w 601"/>
                <a:gd name="T23" fmla="*/ 119 h 125"/>
                <a:gd name="T24" fmla="*/ 471 w 601"/>
                <a:gd name="T25" fmla="*/ 113 h 125"/>
                <a:gd name="T26" fmla="*/ 516 w 601"/>
                <a:gd name="T27" fmla="*/ 104 h 125"/>
                <a:gd name="T28" fmla="*/ 551 w 601"/>
                <a:gd name="T29" fmla="*/ 94 h 125"/>
                <a:gd name="T30" fmla="*/ 579 w 601"/>
                <a:gd name="T31" fmla="*/ 85 h 125"/>
                <a:gd name="T32" fmla="*/ 595 w 601"/>
                <a:gd name="T33" fmla="*/ 75 h 125"/>
                <a:gd name="T34" fmla="*/ 600 w 601"/>
                <a:gd name="T35" fmla="*/ 70 h 125"/>
                <a:gd name="T36" fmla="*/ 601 w 601"/>
                <a:gd name="T37" fmla="*/ 65 h 125"/>
                <a:gd name="T38" fmla="*/ 589 w 601"/>
                <a:gd name="T39" fmla="*/ 6 h 125"/>
                <a:gd name="T40" fmla="*/ 560 w 601"/>
                <a:gd name="T41" fmla="*/ 18 h 125"/>
                <a:gd name="T42" fmla="*/ 524 w 601"/>
                <a:gd name="T43" fmla="*/ 28 h 125"/>
                <a:gd name="T44" fmla="*/ 486 w 601"/>
                <a:gd name="T45" fmla="*/ 35 h 125"/>
                <a:gd name="T46" fmla="*/ 422 w 601"/>
                <a:gd name="T47" fmla="*/ 44 h 125"/>
                <a:gd name="T48" fmla="*/ 339 w 601"/>
                <a:gd name="T49" fmla="*/ 49 h 125"/>
                <a:gd name="T50" fmla="*/ 261 w 601"/>
                <a:gd name="T51" fmla="*/ 49 h 125"/>
                <a:gd name="T52" fmla="*/ 178 w 601"/>
                <a:gd name="T53" fmla="*/ 44 h 125"/>
                <a:gd name="T54" fmla="*/ 116 w 601"/>
                <a:gd name="T55" fmla="*/ 35 h 125"/>
                <a:gd name="T56" fmla="*/ 77 w 601"/>
                <a:gd name="T57" fmla="*/ 28 h 125"/>
                <a:gd name="T58" fmla="*/ 42 w 601"/>
                <a:gd name="T59" fmla="*/ 18 h 125"/>
                <a:gd name="T60" fmla="*/ 12 w 601"/>
                <a:gd name="T61" fmla="*/ 6 h 125"/>
                <a:gd name="T62" fmla="*/ 0 w 601"/>
                <a:gd name="T6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1" h="125">
                  <a:moveTo>
                    <a:pt x="0" y="0"/>
                  </a:moveTo>
                  <a:lnTo>
                    <a:pt x="0" y="65"/>
                  </a:lnTo>
                  <a:lnTo>
                    <a:pt x="0" y="67"/>
                  </a:lnTo>
                  <a:lnTo>
                    <a:pt x="1" y="70"/>
                  </a:lnTo>
                  <a:lnTo>
                    <a:pt x="3" y="72"/>
                  </a:lnTo>
                  <a:lnTo>
                    <a:pt x="5" y="75"/>
                  </a:lnTo>
                  <a:lnTo>
                    <a:pt x="13" y="79"/>
                  </a:lnTo>
                  <a:lnTo>
                    <a:pt x="22" y="85"/>
                  </a:lnTo>
                  <a:lnTo>
                    <a:pt x="34" y="90"/>
                  </a:lnTo>
                  <a:lnTo>
                    <a:pt x="49" y="94"/>
                  </a:lnTo>
                  <a:lnTo>
                    <a:pt x="66" y="100"/>
                  </a:lnTo>
                  <a:lnTo>
                    <a:pt x="86" y="104"/>
                  </a:lnTo>
                  <a:lnTo>
                    <a:pt x="107" y="108"/>
                  </a:lnTo>
                  <a:lnTo>
                    <a:pt x="130" y="113"/>
                  </a:lnTo>
                  <a:lnTo>
                    <a:pt x="154" y="117"/>
                  </a:lnTo>
                  <a:lnTo>
                    <a:pt x="181" y="119"/>
                  </a:lnTo>
                  <a:lnTo>
                    <a:pt x="209" y="122"/>
                  </a:lnTo>
                  <a:lnTo>
                    <a:pt x="238" y="124"/>
                  </a:lnTo>
                  <a:lnTo>
                    <a:pt x="269" y="125"/>
                  </a:lnTo>
                  <a:lnTo>
                    <a:pt x="300" y="125"/>
                  </a:lnTo>
                  <a:lnTo>
                    <a:pt x="332" y="125"/>
                  </a:lnTo>
                  <a:lnTo>
                    <a:pt x="362" y="124"/>
                  </a:lnTo>
                  <a:lnTo>
                    <a:pt x="392" y="122"/>
                  </a:lnTo>
                  <a:lnTo>
                    <a:pt x="420" y="119"/>
                  </a:lnTo>
                  <a:lnTo>
                    <a:pt x="446" y="117"/>
                  </a:lnTo>
                  <a:lnTo>
                    <a:pt x="471" y="113"/>
                  </a:lnTo>
                  <a:lnTo>
                    <a:pt x="494" y="108"/>
                  </a:lnTo>
                  <a:lnTo>
                    <a:pt x="516" y="104"/>
                  </a:lnTo>
                  <a:lnTo>
                    <a:pt x="535" y="100"/>
                  </a:lnTo>
                  <a:lnTo>
                    <a:pt x="551" y="94"/>
                  </a:lnTo>
                  <a:lnTo>
                    <a:pt x="566" y="90"/>
                  </a:lnTo>
                  <a:lnTo>
                    <a:pt x="579" y="85"/>
                  </a:lnTo>
                  <a:lnTo>
                    <a:pt x="589" y="79"/>
                  </a:lnTo>
                  <a:lnTo>
                    <a:pt x="595" y="75"/>
                  </a:lnTo>
                  <a:lnTo>
                    <a:pt x="598" y="72"/>
                  </a:lnTo>
                  <a:lnTo>
                    <a:pt x="600" y="70"/>
                  </a:lnTo>
                  <a:lnTo>
                    <a:pt x="601" y="67"/>
                  </a:lnTo>
                  <a:lnTo>
                    <a:pt x="601" y="65"/>
                  </a:lnTo>
                  <a:lnTo>
                    <a:pt x="601" y="0"/>
                  </a:lnTo>
                  <a:lnTo>
                    <a:pt x="589" y="6"/>
                  </a:lnTo>
                  <a:lnTo>
                    <a:pt x="575" y="12"/>
                  </a:lnTo>
                  <a:lnTo>
                    <a:pt x="560" y="18"/>
                  </a:lnTo>
                  <a:lnTo>
                    <a:pt x="542" y="22"/>
                  </a:lnTo>
                  <a:lnTo>
                    <a:pt x="524" y="28"/>
                  </a:lnTo>
                  <a:lnTo>
                    <a:pt x="505" y="31"/>
                  </a:lnTo>
                  <a:lnTo>
                    <a:pt x="486" y="35"/>
                  </a:lnTo>
                  <a:lnTo>
                    <a:pt x="464" y="39"/>
                  </a:lnTo>
                  <a:lnTo>
                    <a:pt x="422" y="44"/>
                  </a:lnTo>
                  <a:lnTo>
                    <a:pt x="381" y="47"/>
                  </a:lnTo>
                  <a:lnTo>
                    <a:pt x="339" y="49"/>
                  </a:lnTo>
                  <a:lnTo>
                    <a:pt x="300" y="50"/>
                  </a:lnTo>
                  <a:lnTo>
                    <a:pt x="261" y="49"/>
                  </a:lnTo>
                  <a:lnTo>
                    <a:pt x="221" y="47"/>
                  </a:lnTo>
                  <a:lnTo>
                    <a:pt x="178" y="44"/>
                  </a:lnTo>
                  <a:lnTo>
                    <a:pt x="136" y="39"/>
                  </a:lnTo>
                  <a:lnTo>
                    <a:pt x="116" y="35"/>
                  </a:lnTo>
                  <a:lnTo>
                    <a:pt x="95" y="32"/>
                  </a:lnTo>
                  <a:lnTo>
                    <a:pt x="77" y="28"/>
                  </a:lnTo>
                  <a:lnTo>
                    <a:pt x="59" y="22"/>
                  </a:lnTo>
                  <a:lnTo>
                    <a:pt x="42" y="18"/>
                  </a:lnTo>
                  <a:lnTo>
                    <a:pt x="26" y="13"/>
                  </a:ln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3" name="Freeform 465"/>
            <p:cNvSpPr>
              <a:spLocks/>
            </p:cNvSpPr>
            <p:nvPr/>
          </p:nvSpPr>
          <p:spPr bwMode="auto">
            <a:xfrm>
              <a:off x="2598738" y="1344613"/>
              <a:ext cx="190500" cy="49213"/>
            </a:xfrm>
            <a:custGeom>
              <a:avLst/>
              <a:gdLst>
                <a:gd name="T0" fmla="*/ 337 w 602"/>
                <a:gd name="T1" fmla="*/ 151 h 152"/>
                <a:gd name="T2" fmla="*/ 403 w 602"/>
                <a:gd name="T3" fmla="*/ 147 h 152"/>
                <a:gd name="T4" fmla="*/ 458 w 602"/>
                <a:gd name="T5" fmla="*/ 141 h 152"/>
                <a:gd name="T6" fmla="*/ 506 w 602"/>
                <a:gd name="T7" fmla="*/ 132 h 152"/>
                <a:gd name="T8" fmla="*/ 544 w 602"/>
                <a:gd name="T9" fmla="*/ 122 h 152"/>
                <a:gd name="T10" fmla="*/ 572 w 602"/>
                <a:gd name="T11" fmla="*/ 112 h 152"/>
                <a:gd name="T12" fmla="*/ 591 w 602"/>
                <a:gd name="T13" fmla="*/ 102 h 152"/>
                <a:gd name="T14" fmla="*/ 601 w 602"/>
                <a:gd name="T15" fmla="*/ 95 h 152"/>
                <a:gd name="T16" fmla="*/ 602 w 602"/>
                <a:gd name="T17" fmla="*/ 85 h 152"/>
                <a:gd name="T18" fmla="*/ 599 w 602"/>
                <a:gd name="T19" fmla="*/ 74 h 152"/>
                <a:gd name="T20" fmla="*/ 591 w 602"/>
                <a:gd name="T21" fmla="*/ 65 h 152"/>
                <a:gd name="T22" fmla="*/ 582 w 602"/>
                <a:gd name="T23" fmla="*/ 55 h 152"/>
                <a:gd name="T24" fmla="*/ 561 w 602"/>
                <a:gd name="T25" fmla="*/ 42 h 152"/>
                <a:gd name="T26" fmla="*/ 527 w 602"/>
                <a:gd name="T27" fmla="*/ 28 h 152"/>
                <a:gd name="T28" fmla="*/ 484 w 602"/>
                <a:gd name="T29" fmla="*/ 18 h 152"/>
                <a:gd name="T30" fmla="*/ 436 w 602"/>
                <a:gd name="T31" fmla="*/ 9 h 152"/>
                <a:gd name="T32" fmla="*/ 383 w 602"/>
                <a:gd name="T33" fmla="*/ 4 h 152"/>
                <a:gd name="T34" fmla="*/ 329 w 602"/>
                <a:gd name="T35" fmla="*/ 1 h 152"/>
                <a:gd name="T36" fmla="*/ 274 w 602"/>
                <a:gd name="T37" fmla="*/ 1 h 152"/>
                <a:gd name="T38" fmla="*/ 219 w 602"/>
                <a:gd name="T39" fmla="*/ 4 h 152"/>
                <a:gd name="T40" fmla="*/ 168 w 602"/>
                <a:gd name="T41" fmla="*/ 9 h 152"/>
                <a:gd name="T42" fmla="*/ 118 w 602"/>
                <a:gd name="T43" fmla="*/ 18 h 152"/>
                <a:gd name="T44" fmla="*/ 76 w 602"/>
                <a:gd name="T45" fmla="*/ 28 h 152"/>
                <a:gd name="T46" fmla="*/ 41 w 602"/>
                <a:gd name="T47" fmla="*/ 42 h 152"/>
                <a:gd name="T48" fmla="*/ 21 w 602"/>
                <a:gd name="T49" fmla="*/ 55 h 152"/>
                <a:gd name="T50" fmla="*/ 11 w 602"/>
                <a:gd name="T51" fmla="*/ 65 h 152"/>
                <a:gd name="T52" fmla="*/ 5 w 602"/>
                <a:gd name="T53" fmla="*/ 74 h 152"/>
                <a:gd name="T54" fmla="*/ 0 w 602"/>
                <a:gd name="T55" fmla="*/ 85 h 152"/>
                <a:gd name="T56" fmla="*/ 2 w 602"/>
                <a:gd name="T57" fmla="*/ 95 h 152"/>
                <a:gd name="T58" fmla="*/ 11 w 602"/>
                <a:gd name="T59" fmla="*/ 102 h 152"/>
                <a:gd name="T60" fmla="*/ 30 w 602"/>
                <a:gd name="T61" fmla="*/ 112 h 152"/>
                <a:gd name="T62" fmla="*/ 59 w 602"/>
                <a:gd name="T63" fmla="*/ 122 h 152"/>
                <a:gd name="T64" fmla="*/ 97 w 602"/>
                <a:gd name="T65" fmla="*/ 131 h 152"/>
                <a:gd name="T66" fmla="*/ 144 w 602"/>
                <a:gd name="T67" fmla="*/ 141 h 152"/>
                <a:gd name="T68" fmla="*/ 200 w 602"/>
                <a:gd name="T69" fmla="*/ 147 h 152"/>
                <a:gd name="T70" fmla="*/ 265 w 602"/>
                <a:gd name="T71" fmla="*/ 15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2" h="152">
                  <a:moveTo>
                    <a:pt x="302" y="152"/>
                  </a:moveTo>
                  <a:lnTo>
                    <a:pt x="337" y="151"/>
                  </a:lnTo>
                  <a:lnTo>
                    <a:pt x="370" y="149"/>
                  </a:lnTo>
                  <a:lnTo>
                    <a:pt x="403" y="147"/>
                  </a:lnTo>
                  <a:lnTo>
                    <a:pt x="432" y="144"/>
                  </a:lnTo>
                  <a:lnTo>
                    <a:pt x="458" y="141"/>
                  </a:lnTo>
                  <a:lnTo>
                    <a:pt x="483" y="137"/>
                  </a:lnTo>
                  <a:lnTo>
                    <a:pt x="506" y="132"/>
                  </a:lnTo>
                  <a:lnTo>
                    <a:pt x="526" y="127"/>
                  </a:lnTo>
                  <a:lnTo>
                    <a:pt x="544" y="122"/>
                  </a:lnTo>
                  <a:lnTo>
                    <a:pt x="559" y="117"/>
                  </a:lnTo>
                  <a:lnTo>
                    <a:pt x="572" y="112"/>
                  </a:lnTo>
                  <a:lnTo>
                    <a:pt x="583" y="107"/>
                  </a:lnTo>
                  <a:lnTo>
                    <a:pt x="591" y="102"/>
                  </a:lnTo>
                  <a:lnTo>
                    <a:pt x="598" y="98"/>
                  </a:lnTo>
                  <a:lnTo>
                    <a:pt x="601" y="95"/>
                  </a:lnTo>
                  <a:lnTo>
                    <a:pt x="602" y="92"/>
                  </a:lnTo>
                  <a:lnTo>
                    <a:pt x="602" y="85"/>
                  </a:lnTo>
                  <a:lnTo>
                    <a:pt x="601" y="80"/>
                  </a:lnTo>
                  <a:lnTo>
                    <a:pt x="599" y="74"/>
                  </a:lnTo>
                  <a:lnTo>
                    <a:pt x="596" y="69"/>
                  </a:lnTo>
                  <a:lnTo>
                    <a:pt x="591" y="65"/>
                  </a:lnTo>
                  <a:lnTo>
                    <a:pt x="587" y="59"/>
                  </a:lnTo>
                  <a:lnTo>
                    <a:pt x="582" y="55"/>
                  </a:lnTo>
                  <a:lnTo>
                    <a:pt x="575" y="51"/>
                  </a:lnTo>
                  <a:lnTo>
                    <a:pt x="561" y="42"/>
                  </a:lnTo>
                  <a:lnTo>
                    <a:pt x="545" y="35"/>
                  </a:lnTo>
                  <a:lnTo>
                    <a:pt x="527" y="28"/>
                  </a:lnTo>
                  <a:lnTo>
                    <a:pt x="507" y="23"/>
                  </a:lnTo>
                  <a:lnTo>
                    <a:pt x="484" y="18"/>
                  </a:lnTo>
                  <a:lnTo>
                    <a:pt x="461" y="13"/>
                  </a:lnTo>
                  <a:lnTo>
                    <a:pt x="436" y="9"/>
                  </a:lnTo>
                  <a:lnTo>
                    <a:pt x="409" y="6"/>
                  </a:lnTo>
                  <a:lnTo>
                    <a:pt x="383" y="4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2" y="0"/>
                  </a:lnTo>
                  <a:lnTo>
                    <a:pt x="274" y="1"/>
                  </a:lnTo>
                  <a:lnTo>
                    <a:pt x="247" y="3"/>
                  </a:lnTo>
                  <a:lnTo>
                    <a:pt x="219" y="4"/>
                  </a:lnTo>
                  <a:lnTo>
                    <a:pt x="193" y="6"/>
                  </a:lnTo>
                  <a:lnTo>
                    <a:pt x="168" y="9"/>
                  </a:lnTo>
                  <a:lnTo>
                    <a:pt x="142" y="13"/>
                  </a:lnTo>
                  <a:lnTo>
                    <a:pt x="118" y="18"/>
                  </a:lnTo>
                  <a:lnTo>
                    <a:pt x="97" y="23"/>
                  </a:lnTo>
                  <a:lnTo>
                    <a:pt x="76" y="28"/>
                  </a:lnTo>
                  <a:lnTo>
                    <a:pt x="57" y="35"/>
                  </a:lnTo>
                  <a:lnTo>
                    <a:pt x="41" y="42"/>
                  </a:lnTo>
                  <a:lnTo>
                    <a:pt x="27" y="51"/>
                  </a:lnTo>
                  <a:lnTo>
                    <a:pt x="21" y="55"/>
                  </a:lnTo>
                  <a:lnTo>
                    <a:pt x="15" y="59"/>
                  </a:lnTo>
                  <a:lnTo>
                    <a:pt x="11" y="65"/>
                  </a:lnTo>
                  <a:lnTo>
                    <a:pt x="7" y="69"/>
                  </a:lnTo>
                  <a:lnTo>
                    <a:pt x="5" y="74"/>
                  </a:lnTo>
                  <a:lnTo>
                    <a:pt x="3" y="80"/>
                  </a:lnTo>
                  <a:lnTo>
                    <a:pt x="0" y="85"/>
                  </a:lnTo>
                  <a:lnTo>
                    <a:pt x="0" y="92"/>
                  </a:lnTo>
                  <a:lnTo>
                    <a:pt x="2" y="95"/>
                  </a:lnTo>
                  <a:lnTo>
                    <a:pt x="5" y="98"/>
                  </a:lnTo>
                  <a:lnTo>
                    <a:pt x="11" y="102"/>
                  </a:lnTo>
                  <a:lnTo>
                    <a:pt x="20" y="107"/>
                  </a:lnTo>
                  <a:lnTo>
                    <a:pt x="30" y="112"/>
                  </a:lnTo>
                  <a:lnTo>
                    <a:pt x="43" y="117"/>
                  </a:lnTo>
                  <a:lnTo>
                    <a:pt x="59" y="122"/>
                  </a:lnTo>
                  <a:lnTo>
                    <a:pt x="77" y="127"/>
                  </a:lnTo>
                  <a:lnTo>
                    <a:pt x="97" y="131"/>
                  </a:lnTo>
                  <a:lnTo>
                    <a:pt x="119" y="137"/>
                  </a:lnTo>
                  <a:lnTo>
                    <a:pt x="144" y="141"/>
                  </a:lnTo>
                  <a:lnTo>
                    <a:pt x="171" y="144"/>
                  </a:lnTo>
                  <a:lnTo>
                    <a:pt x="200" y="147"/>
                  </a:lnTo>
                  <a:lnTo>
                    <a:pt x="232" y="149"/>
                  </a:lnTo>
                  <a:lnTo>
                    <a:pt x="265" y="151"/>
                  </a:lnTo>
                  <a:lnTo>
                    <a:pt x="30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</p:grpSp>
      <p:sp>
        <p:nvSpPr>
          <p:cNvPr id="34" name="TextBox 25"/>
          <p:cNvSpPr txBox="1"/>
          <p:nvPr/>
        </p:nvSpPr>
        <p:spPr>
          <a:xfrm>
            <a:off x="2009777" y="5319240"/>
            <a:ext cx="73025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rgbClr val="6F878C"/>
                </a:solidFill>
                <a:latin typeface="+mj-lt"/>
                <a:cs typeface="Calibri Light" panose="020F0302020204030204" pitchFamily="34" charset="0"/>
              </a:rPr>
              <a:t>off</a:t>
            </a:r>
          </a:p>
        </p:txBody>
      </p:sp>
      <p:sp>
        <p:nvSpPr>
          <p:cNvPr id="35" name="TextBox 25"/>
          <p:cNvSpPr txBox="1"/>
          <p:nvPr/>
        </p:nvSpPr>
        <p:spPr>
          <a:xfrm>
            <a:off x="4188571" y="5154369"/>
            <a:ext cx="73025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rgbClr val="D80F79"/>
                </a:solidFill>
                <a:latin typeface="+mj-lt"/>
                <a:cs typeface="Calibri Light" panose="020F0302020204030204" pitchFamily="34" charset="0"/>
              </a:rPr>
              <a:t>42%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3805982" y="5207094"/>
            <a:ext cx="287338" cy="287338"/>
            <a:chOff x="2598738" y="1344613"/>
            <a:chExt cx="287338" cy="287338"/>
          </a:xfrm>
          <a:solidFill>
            <a:srgbClr val="0C344C"/>
          </a:solidFill>
        </p:grpSpPr>
        <p:sp>
          <p:nvSpPr>
            <p:cNvPr id="37" name="Freeform 457"/>
            <p:cNvSpPr>
              <a:spLocks/>
            </p:cNvSpPr>
            <p:nvPr/>
          </p:nvSpPr>
          <p:spPr bwMode="auto">
            <a:xfrm>
              <a:off x="2693988" y="1508125"/>
              <a:ext cx="192088" cy="47625"/>
            </a:xfrm>
            <a:custGeom>
              <a:avLst/>
              <a:gdLst>
                <a:gd name="T0" fmla="*/ 1 w 601"/>
                <a:gd name="T1" fmla="*/ 93 h 150"/>
                <a:gd name="T2" fmla="*/ 11 w 601"/>
                <a:gd name="T3" fmla="*/ 101 h 150"/>
                <a:gd name="T4" fmla="*/ 30 w 601"/>
                <a:gd name="T5" fmla="*/ 111 h 150"/>
                <a:gd name="T6" fmla="*/ 58 w 601"/>
                <a:gd name="T7" fmla="*/ 121 h 150"/>
                <a:gd name="T8" fmla="*/ 96 w 601"/>
                <a:gd name="T9" fmla="*/ 131 h 150"/>
                <a:gd name="T10" fmla="*/ 144 w 601"/>
                <a:gd name="T11" fmla="*/ 140 h 150"/>
                <a:gd name="T12" fmla="*/ 199 w 601"/>
                <a:gd name="T13" fmla="*/ 146 h 150"/>
                <a:gd name="T14" fmla="*/ 265 w 601"/>
                <a:gd name="T15" fmla="*/ 149 h 150"/>
                <a:gd name="T16" fmla="*/ 337 w 601"/>
                <a:gd name="T17" fmla="*/ 149 h 150"/>
                <a:gd name="T18" fmla="*/ 402 w 601"/>
                <a:gd name="T19" fmla="*/ 146 h 150"/>
                <a:gd name="T20" fmla="*/ 458 w 601"/>
                <a:gd name="T21" fmla="*/ 140 h 150"/>
                <a:gd name="T22" fmla="*/ 505 w 601"/>
                <a:gd name="T23" fmla="*/ 131 h 150"/>
                <a:gd name="T24" fmla="*/ 542 w 601"/>
                <a:gd name="T25" fmla="*/ 121 h 150"/>
                <a:gd name="T26" fmla="*/ 571 w 601"/>
                <a:gd name="T27" fmla="*/ 111 h 150"/>
                <a:gd name="T28" fmla="*/ 591 w 601"/>
                <a:gd name="T29" fmla="*/ 101 h 150"/>
                <a:gd name="T30" fmla="*/ 600 w 601"/>
                <a:gd name="T31" fmla="*/ 93 h 150"/>
                <a:gd name="T32" fmla="*/ 601 w 601"/>
                <a:gd name="T33" fmla="*/ 87 h 150"/>
                <a:gd name="T34" fmla="*/ 600 w 601"/>
                <a:gd name="T35" fmla="*/ 82 h 150"/>
                <a:gd name="T36" fmla="*/ 599 w 601"/>
                <a:gd name="T37" fmla="*/ 79 h 150"/>
                <a:gd name="T38" fmla="*/ 596 w 601"/>
                <a:gd name="T39" fmla="*/ 71 h 150"/>
                <a:gd name="T40" fmla="*/ 583 w 601"/>
                <a:gd name="T41" fmla="*/ 56 h 150"/>
                <a:gd name="T42" fmla="*/ 564 w 601"/>
                <a:gd name="T43" fmla="*/ 43 h 150"/>
                <a:gd name="T44" fmla="*/ 540 w 601"/>
                <a:gd name="T45" fmla="*/ 32 h 150"/>
                <a:gd name="T46" fmla="*/ 525 w 601"/>
                <a:gd name="T47" fmla="*/ 27 h 150"/>
                <a:gd name="T48" fmla="*/ 523 w 601"/>
                <a:gd name="T49" fmla="*/ 27 h 150"/>
                <a:gd name="T50" fmla="*/ 495 w 601"/>
                <a:gd name="T51" fmla="*/ 19 h 150"/>
                <a:gd name="T52" fmla="*/ 443 w 601"/>
                <a:gd name="T53" fmla="*/ 10 h 150"/>
                <a:gd name="T54" fmla="*/ 387 w 601"/>
                <a:gd name="T55" fmla="*/ 3 h 150"/>
                <a:gd name="T56" fmla="*/ 334 w 601"/>
                <a:gd name="T57" fmla="*/ 0 h 150"/>
                <a:gd name="T58" fmla="*/ 305 w 601"/>
                <a:gd name="T59" fmla="*/ 0 h 150"/>
                <a:gd name="T60" fmla="*/ 257 w 601"/>
                <a:gd name="T61" fmla="*/ 0 h 150"/>
                <a:gd name="T62" fmla="*/ 184 w 601"/>
                <a:gd name="T63" fmla="*/ 7 h 150"/>
                <a:gd name="T64" fmla="*/ 135 w 601"/>
                <a:gd name="T65" fmla="*/ 13 h 150"/>
                <a:gd name="T66" fmla="*/ 88 w 601"/>
                <a:gd name="T67" fmla="*/ 24 h 150"/>
                <a:gd name="T68" fmla="*/ 48 w 601"/>
                <a:gd name="T69" fmla="*/ 38 h 150"/>
                <a:gd name="T70" fmla="*/ 24 w 601"/>
                <a:gd name="T71" fmla="*/ 51 h 150"/>
                <a:gd name="T72" fmla="*/ 13 w 601"/>
                <a:gd name="T73" fmla="*/ 60 h 150"/>
                <a:gd name="T74" fmla="*/ 4 w 601"/>
                <a:gd name="T75" fmla="*/ 71 h 150"/>
                <a:gd name="T76" fmla="*/ 0 w 601"/>
                <a:gd name="T77" fmla="*/ 8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1" h="150">
                  <a:moveTo>
                    <a:pt x="0" y="90"/>
                  </a:moveTo>
                  <a:lnTo>
                    <a:pt x="1" y="93"/>
                  </a:lnTo>
                  <a:lnTo>
                    <a:pt x="4" y="97"/>
                  </a:lnTo>
                  <a:lnTo>
                    <a:pt x="11" y="101"/>
                  </a:lnTo>
                  <a:lnTo>
                    <a:pt x="19" y="106"/>
                  </a:lnTo>
                  <a:lnTo>
                    <a:pt x="30" y="111"/>
                  </a:lnTo>
                  <a:lnTo>
                    <a:pt x="43" y="116"/>
                  </a:lnTo>
                  <a:lnTo>
                    <a:pt x="58" y="121"/>
                  </a:lnTo>
                  <a:lnTo>
                    <a:pt x="76" y="126"/>
                  </a:lnTo>
                  <a:lnTo>
                    <a:pt x="96" y="131"/>
                  </a:lnTo>
                  <a:lnTo>
                    <a:pt x="119" y="135"/>
                  </a:lnTo>
                  <a:lnTo>
                    <a:pt x="144" y="140"/>
                  </a:lnTo>
                  <a:lnTo>
                    <a:pt x="170" y="143"/>
                  </a:lnTo>
                  <a:lnTo>
                    <a:pt x="199" y="146"/>
                  </a:lnTo>
                  <a:lnTo>
                    <a:pt x="230" y="148"/>
                  </a:lnTo>
                  <a:lnTo>
                    <a:pt x="265" y="149"/>
                  </a:lnTo>
                  <a:lnTo>
                    <a:pt x="300" y="150"/>
                  </a:lnTo>
                  <a:lnTo>
                    <a:pt x="337" y="149"/>
                  </a:lnTo>
                  <a:lnTo>
                    <a:pt x="370" y="148"/>
                  </a:lnTo>
                  <a:lnTo>
                    <a:pt x="402" y="146"/>
                  </a:lnTo>
                  <a:lnTo>
                    <a:pt x="431" y="143"/>
                  </a:lnTo>
                  <a:lnTo>
                    <a:pt x="458" y="140"/>
                  </a:lnTo>
                  <a:lnTo>
                    <a:pt x="482" y="135"/>
                  </a:lnTo>
                  <a:lnTo>
                    <a:pt x="505" y="131"/>
                  </a:lnTo>
                  <a:lnTo>
                    <a:pt x="525" y="126"/>
                  </a:lnTo>
                  <a:lnTo>
                    <a:pt x="542" y="121"/>
                  </a:lnTo>
                  <a:lnTo>
                    <a:pt x="559" y="116"/>
                  </a:lnTo>
                  <a:lnTo>
                    <a:pt x="571" y="111"/>
                  </a:lnTo>
                  <a:lnTo>
                    <a:pt x="582" y="106"/>
                  </a:lnTo>
                  <a:lnTo>
                    <a:pt x="591" y="101"/>
                  </a:lnTo>
                  <a:lnTo>
                    <a:pt x="596" y="97"/>
                  </a:lnTo>
                  <a:lnTo>
                    <a:pt x="600" y="93"/>
                  </a:lnTo>
                  <a:lnTo>
                    <a:pt x="601" y="90"/>
                  </a:lnTo>
                  <a:lnTo>
                    <a:pt x="601" y="87"/>
                  </a:lnTo>
                  <a:lnTo>
                    <a:pt x="600" y="84"/>
                  </a:lnTo>
                  <a:lnTo>
                    <a:pt x="600" y="82"/>
                  </a:lnTo>
                  <a:lnTo>
                    <a:pt x="600" y="81"/>
                  </a:lnTo>
                  <a:lnTo>
                    <a:pt x="599" y="79"/>
                  </a:lnTo>
                  <a:lnTo>
                    <a:pt x="599" y="78"/>
                  </a:lnTo>
                  <a:lnTo>
                    <a:pt x="596" y="71"/>
                  </a:lnTo>
                  <a:lnTo>
                    <a:pt x="591" y="63"/>
                  </a:lnTo>
                  <a:lnTo>
                    <a:pt x="583" y="56"/>
                  </a:lnTo>
                  <a:lnTo>
                    <a:pt x="575" y="49"/>
                  </a:lnTo>
                  <a:lnTo>
                    <a:pt x="564" y="43"/>
                  </a:lnTo>
                  <a:lnTo>
                    <a:pt x="553" y="38"/>
                  </a:lnTo>
                  <a:lnTo>
                    <a:pt x="540" y="32"/>
                  </a:lnTo>
                  <a:lnTo>
                    <a:pt x="525" y="28"/>
                  </a:lnTo>
                  <a:lnTo>
                    <a:pt x="525" y="27"/>
                  </a:lnTo>
                  <a:lnTo>
                    <a:pt x="525" y="27"/>
                  </a:lnTo>
                  <a:lnTo>
                    <a:pt x="523" y="27"/>
                  </a:lnTo>
                  <a:lnTo>
                    <a:pt x="520" y="26"/>
                  </a:lnTo>
                  <a:lnTo>
                    <a:pt x="495" y="19"/>
                  </a:lnTo>
                  <a:lnTo>
                    <a:pt x="470" y="14"/>
                  </a:lnTo>
                  <a:lnTo>
                    <a:pt x="443" y="10"/>
                  </a:lnTo>
                  <a:lnTo>
                    <a:pt x="415" y="5"/>
                  </a:lnTo>
                  <a:lnTo>
                    <a:pt x="387" y="3"/>
                  </a:lnTo>
                  <a:lnTo>
                    <a:pt x="360" y="1"/>
                  </a:lnTo>
                  <a:lnTo>
                    <a:pt x="334" y="0"/>
                  </a:lnTo>
                  <a:lnTo>
                    <a:pt x="311" y="0"/>
                  </a:lnTo>
                  <a:lnTo>
                    <a:pt x="305" y="0"/>
                  </a:lnTo>
                  <a:lnTo>
                    <a:pt x="300" y="0"/>
                  </a:lnTo>
                  <a:lnTo>
                    <a:pt x="257" y="0"/>
                  </a:lnTo>
                  <a:lnTo>
                    <a:pt x="209" y="3"/>
                  </a:lnTo>
                  <a:lnTo>
                    <a:pt x="184" y="7"/>
                  </a:lnTo>
                  <a:lnTo>
                    <a:pt x="160" y="10"/>
                  </a:lnTo>
                  <a:lnTo>
                    <a:pt x="135" y="13"/>
                  </a:lnTo>
                  <a:lnTo>
                    <a:pt x="110" y="18"/>
                  </a:lnTo>
                  <a:lnTo>
                    <a:pt x="88" y="24"/>
                  </a:lnTo>
                  <a:lnTo>
                    <a:pt x="67" y="30"/>
                  </a:lnTo>
                  <a:lnTo>
                    <a:pt x="48" y="38"/>
                  </a:lnTo>
                  <a:lnTo>
                    <a:pt x="32" y="45"/>
                  </a:lnTo>
                  <a:lnTo>
                    <a:pt x="24" y="51"/>
                  </a:lnTo>
                  <a:lnTo>
                    <a:pt x="18" y="55"/>
                  </a:lnTo>
                  <a:lnTo>
                    <a:pt x="13" y="60"/>
                  </a:lnTo>
                  <a:lnTo>
                    <a:pt x="8" y="66"/>
                  </a:lnTo>
                  <a:lnTo>
                    <a:pt x="4" y="71"/>
                  </a:lnTo>
                  <a:lnTo>
                    <a:pt x="2" y="77"/>
                  </a:lnTo>
                  <a:lnTo>
                    <a:pt x="0" y="84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8" name="Freeform 458"/>
            <p:cNvSpPr>
              <a:spLocks/>
            </p:cNvSpPr>
            <p:nvPr/>
          </p:nvSpPr>
          <p:spPr bwMode="auto">
            <a:xfrm>
              <a:off x="2598738" y="1420813"/>
              <a:ext cx="190500" cy="39688"/>
            </a:xfrm>
            <a:custGeom>
              <a:avLst/>
              <a:gdLst>
                <a:gd name="T0" fmla="*/ 333 w 602"/>
                <a:gd name="T1" fmla="*/ 125 h 125"/>
                <a:gd name="T2" fmla="*/ 393 w 602"/>
                <a:gd name="T3" fmla="*/ 122 h 125"/>
                <a:gd name="T4" fmla="*/ 448 w 602"/>
                <a:gd name="T5" fmla="*/ 116 h 125"/>
                <a:gd name="T6" fmla="*/ 495 w 602"/>
                <a:gd name="T7" fmla="*/ 108 h 125"/>
                <a:gd name="T8" fmla="*/ 536 w 602"/>
                <a:gd name="T9" fmla="*/ 99 h 125"/>
                <a:gd name="T10" fmla="*/ 567 w 602"/>
                <a:gd name="T11" fmla="*/ 89 h 125"/>
                <a:gd name="T12" fmla="*/ 589 w 602"/>
                <a:gd name="T13" fmla="*/ 79 h 125"/>
                <a:gd name="T14" fmla="*/ 599 w 602"/>
                <a:gd name="T15" fmla="*/ 72 h 125"/>
                <a:gd name="T16" fmla="*/ 602 w 602"/>
                <a:gd name="T17" fmla="*/ 67 h 125"/>
                <a:gd name="T18" fmla="*/ 602 w 602"/>
                <a:gd name="T19" fmla="*/ 0 h 125"/>
                <a:gd name="T20" fmla="*/ 573 w 602"/>
                <a:gd name="T21" fmla="*/ 13 h 125"/>
                <a:gd name="T22" fmla="*/ 537 w 602"/>
                <a:gd name="T23" fmla="*/ 24 h 125"/>
                <a:gd name="T24" fmla="*/ 497 w 602"/>
                <a:gd name="T25" fmla="*/ 34 h 125"/>
                <a:gd name="T26" fmla="*/ 454 w 602"/>
                <a:gd name="T27" fmla="*/ 40 h 125"/>
                <a:gd name="T28" fmla="*/ 369 w 602"/>
                <a:gd name="T29" fmla="*/ 48 h 125"/>
                <a:gd name="T30" fmla="*/ 302 w 602"/>
                <a:gd name="T31" fmla="*/ 50 h 125"/>
                <a:gd name="T32" fmla="*/ 233 w 602"/>
                <a:gd name="T33" fmla="*/ 48 h 125"/>
                <a:gd name="T34" fmla="*/ 148 w 602"/>
                <a:gd name="T35" fmla="*/ 40 h 125"/>
                <a:gd name="T36" fmla="*/ 106 w 602"/>
                <a:gd name="T37" fmla="*/ 34 h 125"/>
                <a:gd name="T38" fmla="*/ 66 w 602"/>
                <a:gd name="T39" fmla="*/ 25 h 125"/>
                <a:gd name="T40" fmla="*/ 29 w 602"/>
                <a:gd name="T41" fmla="*/ 13 h 125"/>
                <a:gd name="T42" fmla="*/ 0 w 602"/>
                <a:gd name="T43" fmla="*/ 0 h 125"/>
                <a:gd name="T44" fmla="*/ 0 w 602"/>
                <a:gd name="T45" fmla="*/ 67 h 125"/>
                <a:gd name="T46" fmla="*/ 4 w 602"/>
                <a:gd name="T47" fmla="*/ 72 h 125"/>
                <a:gd name="T48" fmla="*/ 13 w 602"/>
                <a:gd name="T49" fmla="*/ 79 h 125"/>
                <a:gd name="T50" fmla="*/ 36 w 602"/>
                <a:gd name="T51" fmla="*/ 89 h 125"/>
                <a:gd name="T52" fmla="*/ 67 w 602"/>
                <a:gd name="T53" fmla="*/ 99 h 125"/>
                <a:gd name="T54" fmla="*/ 108 w 602"/>
                <a:gd name="T55" fmla="*/ 108 h 125"/>
                <a:gd name="T56" fmla="*/ 155 w 602"/>
                <a:gd name="T57" fmla="*/ 116 h 125"/>
                <a:gd name="T58" fmla="*/ 210 w 602"/>
                <a:gd name="T59" fmla="*/ 122 h 125"/>
                <a:gd name="T60" fmla="*/ 270 w 602"/>
                <a:gd name="T61" fmla="*/ 125 h 125"/>
                <a:gd name="T62" fmla="*/ 302 w 602"/>
                <a:gd name="T6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302" y="125"/>
                  </a:moveTo>
                  <a:lnTo>
                    <a:pt x="333" y="125"/>
                  </a:lnTo>
                  <a:lnTo>
                    <a:pt x="364" y="124"/>
                  </a:lnTo>
                  <a:lnTo>
                    <a:pt x="393" y="122"/>
                  </a:lnTo>
                  <a:lnTo>
                    <a:pt x="421" y="118"/>
                  </a:lnTo>
                  <a:lnTo>
                    <a:pt x="448" y="116"/>
                  </a:lnTo>
                  <a:lnTo>
                    <a:pt x="472" y="112"/>
                  </a:lnTo>
                  <a:lnTo>
                    <a:pt x="495" y="108"/>
                  </a:lnTo>
                  <a:lnTo>
                    <a:pt x="516" y="103"/>
                  </a:lnTo>
                  <a:lnTo>
                    <a:pt x="536" y="99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4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2"/>
                  </a:lnTo>
                  <a:lnTo>
                    <a:pt x="601" y="69"/>
                  </a:lnTo>
                  <a:lnTo>
                    <a:pt x="602" y="67"/>
                  </a:lnTo>
                  <a:lnTo>
                    <a:pt x="602" y="65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3"/>
                  </a:lnTo>
                  <a:lnTo>
                    <a:pt x="556" y="20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4"/>
                  </a:lnTo>
                  <a:lnTo>
                    <a:pt x="476" y="37"/>
                  </a:lnTo>
                  <a:lnTo>
                    <a:pt x="454" y="40"/>
                  </a:lnTo>
                  <a:lnTo>
                    <a:pt x="410" y="44"/>
                  </a:lnTo>
                  <a:lnTo>
                    <a:pt x="369" y="48"/>
                  </a:lnTo>
                  <a:lnTo>
                    <a:pt x="332" y="50"/>
                  </a:lnTo>
                  <a:lnTo>
                    <a:pt x="302" y="50"/>
                  </a:lnTo>
                  <a:lnTo>
                    <a:pt x="271" y="50"/>
                  </a:lnTo>
                  <a:lnTo>
                    <a:pt x="233" y="48"/>
                  </a:lnTo>
                  <a:lnTo>
                    <a:pt x="192" y="44"/>
                  </a:lnTo>
                  <a:lnTo>
                    <a:pt x="148" y="40"/>
                  </a:lnTo>
                  <a:lnTo>
                    <a:pt x="127" y="37"/>
                  </a:lnTo>
                  <a:lnTo>
                    <a:pt x="106" y="34"/>
                  </a:lnTo>
                  <a:lnTo>
                    <a:pt x="85" y="29"/>
                  </a:lnTo>
                  <a:lnTo>
                    <a:pt x="66" y="25"/>
                  </a:lnTo>
                  <a:lnTo>
                    <a:pt x="47" y="20"/>
                  </a:lnTo>
                  <a:lnTo>
                    <a:pt x="29" y="13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2" y="69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4"/>
                  </a:lnTo>
                  <a:lnTo>
                    <a:pt x="36" y="89"/>
                  </a:lnTo>
                  <a:lnTo>
                    <a:pt x="50" y="95"/>
                  </a:lnTo>
                  <a:lnTo>
                    <a:pt x="67" y="99"/>
                  </a:lnTo>
                  <a:lnTo>
                    <a:pt x="86" y="103"/>
                  </a:lnTo>
                  <a:lnTo>
                    <a:pt x="108" y="108"/>
                  </a:lnTo>
                  <a:lnTo>
                    <a:pt x="130" y="112"/>
                  </a:lnTo>
                  <a:lnTo>
                    <a:pt x="155" y="116"/>
                  </a:lnTo>
                  <a:lnTo>
                    <a:pt x="182" y="120"/>
                  </a:lnTo>
                  <a:lnTo>
                    <a:pt x="210" y="122"/>
                  </a:lnTo>
                  <a:lnTo>
                    <a:pt x="240" y="124"/>
                  </a:lnTo>
                  <a:lnTo>
                    <a:pt x="270" y="125"/>
                  </a:lnTo>
                  <a:lnTo>
                    <a:pt x="302" y="125"/>
                  </a:lnTo>
                  <a:lnTo>
                    <a:pt x="302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39" name="Freeform 459"/>
            <p:cNvSpPr>
              <a:spLocks/>
            </p:cNvSpPr>
            <p:nvPr/>
          </p:nvSpPr>
          <p:spPr bwMode="auto">
            <a:xfrm>
              <a:off x="2598738" y="1454150"/>
              <a:ext cx="190500" cy="39688"/>
            </a:xfrm>
            <a:custGeom>
              <a:avLst/>
              <a:gdLst>
                <a:gd name="T0" fmla="*/ 302 w 602"/>
                <a:gd name="T1" fmla="*/ 124 h 124"/>
                <a:gd name="T2" fmla="*/ 333 w 602"/>
                <a:gd name="T3" fmla="*/ 124 h 124"/>
                <a:gd name="T4" fmla="*/ 364 w 602"/>
                <a:gd name="T5" fmla="*/ 123 h 124"/>
                <a:gd name="T6" fmla="*/ 393 w 602"/>
                <a:gd name="T7" fmla="*/ 121 h 124"/>
                <a:gd name="T8" fmla="*/ 421 w 602"/>
                <a:gd name="T9" fmla="*/ 119 h 124"/>
                <a:gd name="T10" fmla="*/ 448 w 602"/>
                <a:gd name="T11" fmla="*/ 115 h 124"/>
                <a:gd name="T12" fmla="*/ 472 w 602"/>
                <a:gd name="T13" fmla="*/ 111 h 124"/>
                <a:gd name="T14" fmla="*/ 495 w 602"/>
                <a:gd name="T15" fmla="*/ 108 h 124"/>
                <a:gd name="T16" fmla="*/ 516 w 602"/>
                <a:gd name="T17" fmla="*/ 104 h 124"/>
                <a:gd name="T18" fmla="*/ 536 w 602"/>
                <a:gd name="T19" fmla="*/ 98 h 124"/>
                <a:gd name="T20" fmla="*/ 553 w 602"/>
                <a:gd name="T21" fmla="*/ 94 h 124"/>
                <a:gd name="T22" fmla="*/ 567 w 602"/>
                <a:gd name="T23" fmla="*/ 89 h 124"/>
                <a:gd name="T24" fmla="*/ 580 w 602"/>
                <a:gd name="T25" fmla="*/ 83 h 124"/>
                <a:gd name="T26" fmla="*/ 589 w 602"/>
                <a:gd name="T27" fmla="*/ 79 h 124"/>
                <a:gd name="T28" fmla="*/ 597 w 602"/>
                <a:gd name="T29" fmla="*/ 74 h 124"/>
                <a:gd name="T30" fmla="*/ 599 w 602"/>
                <a:gd name="T31" fmla="*/ 71 h 124"/>
                <a:gd name="T32" fmla="*/ 601 w 602"/>
                <a:gd name="T33" fmla="*/ 69 h 124"/>
                <a:gd name="T34" fmla="*/ 602 w 602"/>
                <a:gd name="T35" fmla="*/ 66 h 124"/>
                <a:gd name="T36" fmla="*/ 602 w 602"/>
                <a:gd name="T37" fmla="*/ 64 h 124"/>
                <a:gd name="T38" fmla="*/ 602 w 602"/>
                <a:gd name="T39" fmla="*/ 0 h 124"/>
                <a:gd name="T40" fmla="*/ 589 w 602"/>
                <a:gd name="T41" fmla="*/ 7 h 124"/>
                <a:gd name="T42" fmla="*/ 573 w 602"/>
                <a:gd name="T43" fmla="*/ 14 h 124"/>
                <a:gd name="T44" fmla="*/ 556 w 602"/>
                <a:gd name="T45" fmla="*/ 19 h 124"/>
                <a:gd name="T46" fmla="*/ 537 w 602"/>
                <a:gd name="T47" fmla="*/ 24 h 124"/>
                <a:gd name="T48" fmla="*/ 517 w 602"/>
                <a:gd name="T49" fmla="*/ 29 h 124"/>
                <a:gd name="T50" fmla="*/ 497 w 602"/>
                <a:gd name="T51" fmla="*/ 33 h 124"/>
                <a:gd name="T52" fmla="*/ 476 w 602"/>
                <a:gd name="T53" fmla="*/ 36 h 124"/>
                <a:gd name="T54" fmla="*/ 454 w 602"/>
                <a:gd name="T55" fmla="*/ 39 h 124"/>
                <a:gd name="T56" fmla="*/ 410 w 602"/>
                <a:gd name="T57" fmla="*/ 44 h 124"/>
                <a:gd name="T58" fmla="*/ 369 w 602"/>
                <a:gd name="T59" fmla="*/ 47 h 124"/>
                <a:gd name="T60" fmla="*/ 332 w 602"/>
                <a:gd name="T61" fmla="*/ 49 h 124"/>
                <a:gd name="T62" fmla="*/ 302 w 602"/>
                <a:gd name="T63" fmla="*/ 49 h 124"/>
                <a:gd name="T64" fmla="*/ 271 w 602"/>
                <a:gd name="T65" fmla="*/ 49 h 124"/>
                <a:gd name="T66" fmla="*/ 233 w 602"/>
                <a:gd name="T67" fmla="*/ 47 h 124"/>
                <a:gd name="T68" fmla="*/ 192 w 602"/>
                <a:gd name="T69" fmla="*/ 44 h 124"/>
                <a:gd name="T70" fmla="*/ 148 w 602"/>
                <a:gd name="T71" fmla="*/ 39 h 124"/>
                <a:gd name="T72" fmla="*/ 127 w 602"/>
                <a:gd name="T73" fmla="*/ 36 h 124"/>
                <a:gd name="T74" fmla="*/ 106 w 602"/>
                <a:gd name="T75" fmla="*/ 33 h 124"/>
                <a:gd name="T76" fmla="*/ 85 w 602"/>
                <a:gd name="T77" fmla="*/ 29 h 124"/>
                <a:gd name="T78" fmla="*/ 66 w 602"/>
                <a:gd name="T79" fmla="*/ 24 h 124"/>
                <a:gd name="T80" fmla="*/ 47 w 602"/>
                <a:gd name="T81" fmla="*/ 19 h 124"/>
                <a:gd name="T82" fmla="*/ 29 w 602"/>
                <a:gd name="T83" fmla="*/ 14 h 124"/>
                <a:gd name="T84" fmla="*/ 14 w 602"/>
                <a:gd name="T85" fmla="*/ 7 h 124"/>
                <a:gd name="T86" fmla="*/ 0 w 602"/>
                <a:gd name="T87" fmla="*/ 0 h 124"/>
                <a:gd name="T88" fmla="*/ 0 w 602"/>
                <a:gd name="T89" fmla="*/ 64 h 124"/>
                <a:gd name="T90" fmla="*/ 0 w 602"/>
                <a:gd name="T91" fmla="*/ 66 h 124"/>
                <a:gd name="T92" fmla="*/ 2 w 602"/>
                <a:gd name="T93" fmla="*/ 69 h 124"/>
                <a:gd name="T94" fmla="*/ 4 w 602"/>
                <a:gd name="T95" fmla="*/ 71 h 124"/>
                <a:gd name="T96" fmla="*/ 6 w 602"/>
                <a:gd name="T97" fmla="*/ 74 h 124"/>
                <a:gd name="T98" fmla="*/ 13 w 602"/>
                <a:gd name="T99" fmla="*/ 79 h 124"/>
                <a:gd name="T100" fmla="*/ 23 w 602"/>
                <a:gd name="T101" fmla="*/ 83 h 124"/>
                <a:gd name="T102" fmla="*/ 36 w 602"/>
                <a:gd name="T103" fmla="*/ 89 h 124"/>
                <a:gd name="T104" fmla="*/ 50 w 602"/>
                <a:gd name="T105" fmla="*/ 94 h 124"/>
                <a:gd name="T106" fmla="*/ 67 w 602"/>
                <a:gd name="T107" fmla="*/ 98 h 124"/>
                <a:gd name="T108" fmla="*/ 86 w 602"/>
                <a:gd name="T109" fmla="*/ 104 h 124"/>
                <a:gd name="T110" fmla="*/ 108 w 602"/>
                <a:gd name="T111" fmla="*/ 108 h 124"/>
                <a:gd name="T112" fmla="*/ 130 w 602"/>
                <a:gd name="T113" fmla="*/ 111 h 124"/>
                <a:gd name="T114" fmla="*/ 155 w 602"/>
                <a:gd name="T115" fmla="*/ 115 h 124"/>
                <a:gd name="T116" fmla="*/ 182 w 602"/>
                <a:gd name="T117" fmla="*/ 119 h 124"/>
                <a:gd name="T118" fmla="*/ 210 w 602"/>
                <a:gd name="T119" fmla="*/ 121 h 124"/>
                <a:gd name="T120" fmla="*/ 240 w 602"/>
                <a:gd name="T121" fmla="*/ 123 h 124"/>
                <a:gd name="T122" fmla="*/ 270 w 602"/>
                <a:gd name="T123" fmla="*/ 124 h 124"/>
                <a:gd name="T124" fmla="*/ 302 w 602"/>
                <a:gd name="T1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2" h="124">
                  <a:moveTo>
                    <a:pt x="302" y="124"/>
                  </a:moveTo>
                  <a:lnTo>
                    <a:pt x="333" y="124"/>
                  </a:lnTo>
                  <a:lnTo>
                    <a:pt x="364" y="123"/>
                  </a:lnTo>
                  <a:lnTo>
                    <a:pt x="393" y="121"/>
                  </a:lnTo>
                  <a:lnTo>
                    <a:pt x="421" y="119"/>
                  </a:lnTo>
                  <a:lnTo>
                    <a:pt x="448" y="115"/>
                  </a:lnTo>
                  <a:lnTo>
                    <a:pt x="472" y="111"/>
                  </a:lnTo>
                  <a:lnTo>
                    <a:pt x="495" y="108"/>
                  </a:lnTo>
                  <a:lnTo>
                    <a:pt x="516" y="104"/>
                  </a:lnTo>
                  <a:lnTo>
                    <a:pt x="536" y="98"/>
                  </a:lnTo>
                  <a:lnTo>
                    <a:pt x="553" y="94"/>
                  </a:lnTo>
                  <a:lnTo>
                    <a:pt x="567" y="89"/>
                  </a:lnTo>
                  <a:lnTo>
                    <a:pt x="580" y="83"/>
                  </a:lnTo>
                  <a:lnTo>
                    <a:pt x="589" y="79"/>
                  </a:lnTo>
                  <a:lnTo>
                    <a:pt x="597" y="74"/>
                  </a:lnTo>
                  <a:lnTo>
                    <a:pt x="599" y="71"/>
                  </a:lnTo>
                  <a:lnTo>
                    <a:pt x="601" y="69"/>
                  </a:lnTo>
                  <a:lnTo>
                    <a:pt x="602" y="66"/>
                  </a:lnTo>
                  <a:lnTo>
                    <a:pt x="602" y="64"/>
                  </a:ln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4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4" y="71"/>
                  </a:lnTo>
                  <a:lnTo>
                    <a:pt x="6" y="74"/>
                  </a:lnTo>
                  <a:lnTo>
                    <a:pt x="13" y="79"/>
                  </a:lnTo>
                  <a:lnTo>
                    <a:pt x="23" y="83"/>
                  </a:lnTo>
                  <a:lnTo>
                    <a:pt x="36" y="89"/>
                  </a:lnTo>
                  <a:lnTo>
                    <a:pt x="50" y="94"/>
                  </a:lnTo>
                  <a:lnTo>
                    <a:pt x="67" y="98"/>
                  </a:lnTo>
                  <a:lnTo>
                    <a:pt x="86" y="104"/>
                  </a:lnTo>
                  <a:lnTo>
                    <a:pt x="108" y="108"/>
                  </a:lnTo>
                  <a:lnTo>
                    <a:pt x="130" y="111"/>
                  </a:lnTo>
                  <a:lnTo>
                    <a:pt x="155" y="115"/>
                  </a:lnTo>
                  <a:lnTo>
                    <a:pt x="182" y="119"/>
                  </a:lnTo>
                  <a:lnTo>
                    <a:pt x="210" y="121"/>
                  </a:lnTo>
                  <a:lnTo>
                    <a:pt x="240" y="123"/>
                  </a:lnTo>
                  <a:lnTo>
                    <a:pt x="270" y="124"/>
                  </a:lnTo>
                  <a:lnTo>
                    <a:pt x="30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0" name="Freeform 460"/>
            <p:cNvSpPr>
              <a:spLocks/>
            </p:cNvSpPr>
            <p:nvPr/>
          </p:nvSpPr>
          <p:spPr bwMode="auto">
            <a:xfrm>
              <a:off x="2598738" y="1385888"/>
              <a:ext cx="190500" cy="41275"/>
            </a:xfrm>
            <a:custGeom>
              <a:avLst/>
              <a:gdLst>
                <a:gd name="T0" fmla="*/ 333 w 602"/>
                <a:gd name="T1" fmla="*/ 126 h 127"/>
                <a:gd name="T2" fmla="*/ 393 w 602"/>
                <a:gd name="T3" fmla="*/ 124 h 127"/>
                <a:gd name="T4" fmla="*/ 448 w 602"/>
                <a:gd name="T5" fmla="*/ 117 h 127"/>
                <a:gd name="T6" fmla="*/ 495 w 602"/>
                <a:gd name="T7" fmla="*/ 110 h 127"/>
                <a:gd name="T8" fmla="*/ 536 w 602"/>
                <a:gd name="T9" fmla="*/ 101 h 127"/>
                <a:gd name="T10" fmla="*/ 567 w 602"/>
                <a:gd name="T11" fmla="*/ 91 h 127"/>
                <a:gd name="T12" fmla="*/ 589 w 602"/>
                <a:gd name="T13" fmla="*/ 81 h 127"/>
                <a:gd name="T14" fmla="*/ 599 w 602"/>
                <a:gd name="T15" fmla="*/ 73 h 127"/>
                <a:gd name="T16" fmla="*/ 602 w 602"/>
                <a:gd name="T17" fmla="*/ 69 h 127"/>
                <a:gd name="T18" fmla="*/ 602 w 602"/>
                <a:gd name="T19" fmla="*/ 0 h 127"/>
                <a:gd name="T20" fmla="*/ 576 w 602"/>
                <a:gd name="T21" fmla="*/ 13 h 127"/>
                <a:gd name="T22" fmla="*/ 543 w 602"/>
                <a:gd name="T23" fmla="*/ 24 h 127"/>
                <a:gd name="T24" fmla="*/ 506 w 602"/>
                <a:gd name="T25" fmla="*/ 32 h 127"/>
                <a:gd name="T26" fmla="*/ 466 w 602"/>
                <a:gd name="T27" fmla="*/ 40 h 127"/>
                <a:gd name="T28" fmla="*/ 381 w 602"/>
                <a:gd name="T29" fmla="*/ 48 h 127"/>
                <a:gd name="T30" fmla="*/ 302 w 602"/>
                <a:gd name="T31" fmla="*/ 52 h 127"/>
                <a:gd name="T32" fmla="*/ 221 w 602"/>
                <a:gd name="T33" fmla="*/ 48 h 127"/>
                <a:gd name="T34" fmla="*/ 137 w 602"/>
                <a:gd name="T35" fmla="*/ 40 h 127"/>
                <a:gd name="T36" fmla="*/ 97 w 602"/>
                <a:gd name="T37" fmla="*/ 32 h 127"/>
                <a:gd name="T38" fmla="*/ 59 w 602"/>
                <a:gd name="T39" fmla="*/ 24 h 127"/>
                <a:gd name="T40" fmla="*/ 27 w 602"/>
                <a:gd name="T41" fmla="*/ 13 h 127"/>
                <a:gd name="T42" fmla="*/ 0 w 602"/>
                <a:gd name="T43" fmla="*/ 1 h 127"/>
                <a:gd name="T44" fmla="*/ 0 w 602"/>
                <a:gd name="T45" fmla="*/ 69 h 127"/>
                <a:gd name="T46" fmla="*/ 4 w 602"/>
                <a:gd name="T47" fmla="*/ 73 h 127"/>
                <a:gd name="T48" fmla="*/ 13 w 602"/>
                <a:gd name="T49" fmla="*/ 81 h 127"/>
                <a:gd name="T50" fmla="*/ 36 w 602"/>
                <a:gd name="T51" fmla="*/ 91 h 127"/>
                <a:gd name="T52" fmla="*/ 67 w 602"/>
                <a:gd name="T53" fmla="*/ 101 h 127"/>
                <a:gd name="T54" fmla="*/ 108 w 602"/>
                <a:gd name="T55" fmla="*/ 110 h 127"/>
                <a:gd name="T56" fmla="*/ 155 w 602"/>
                <a:gd name="T57" fmla="*/ 117 h 127"/>
                <a:gd name="T58" fmla="*/ 210 w 602"/>
                <a:gd name="T59" fmla="*/ 124 h 127"/>
                <a:gd name="T60" fmla="*/ 270 w 602"/>
                <a:gd name="T61" fmla="*/ 127 h 127"/>
                <a:gd name="T62" fmla="*/ 302 w 602"/>
                <a:gd name="T6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7">
                  <a:moveTo>
                    <a:pt x="302" y="127"/>
                  </a:moveTo>
                  <a:lnTo>
                    <a:pt x="333" y="126"/>
                  </a:lnTo>
                  <a:lnTo>
                    <a:pt x="364" y="125"/>
                  </a:lnTo>
                  <a:lnTo>
                    <a:pt x="393" y="124"/>
                  </a:lnTo>
                  <a:lnTo>
                    <a:pt x="421" y="120"/>
                  </a:lnTo>
                  <a:lnTo>
                    <a:pt x="448" y="117"/>
                  </a:lnTo>
                  <a:lnTo>
                    <a:pt x="472" y="114"/>
                  </a:lnTo>
                  <a:lnTo>
                    <a:pt x="495" y="110"/>
                  </a:lnTo>
                  <a:lnTo>
                    <a:pt x="516" y="105"/>
                  </a:lnTo>
                  <a:lnTo>
                    <a:pt x="536" y="101"/>
                  </a:lnTo>
                  <a:lnTo>
                    <a:pt x="553" y="96"/>
                  </a:lnTo>
                  <a:lnTo>
                    <a:pt x="567" y="91"/>
                  </a:lnTo>
                  <a:lnTo>
                    <a:pt x="580" y="86"/>
                  </a:lnTo>
                  <a:lnTo>
                    <a:pt x="589" y="81"/>
                  </a:lnTo>
                  <a:lnTo>
                    <a:pt x="597" y="76"/>
                  </a:lnTo>
                  <a:lnTo>
                    <a:pt x="599" y="73"/>
                  </a:lnTo>
                  <a:lnTo>
                    <a:pt x="601" y="71"/>
                  </a:lnTo>
                  <a:lnTo>
                    <a:pt x="602" y="69"/>
                  </a:lnTo>
                  <a:lnTo>
                    <a:pt x="602" y="67"/>
                  </a:lnTo>
                  <a:lnTo>
                    <a:pt x="602" y="0"/>
                  </a:lnTo>
                  <a:lnTo>
                    <a:pt x="590" y="8"/>
                  </a:lnTo>
                  <a:lnTo>
                    <a:pt x="576" y="13"/>
                  </a:lnTo>
                  <a:lnTo>
                    <a:pt x="560" y="18"/>
                  </a:lnTo>
                  <a:lnTo>
                    <a:pt x="543" y="24"/>
                  </a:lnTo>
                  <a:lnTo>
                    <a:pt x="525" y="28"/>
                  </a:lnTo>
                  <a:lnTo>
                    <a:pt x="506" y="32"/>
                  </a:lnTo>
                  <a:lnTo>
                    <a:pt x="486" y="37"/>
                  </a:lnTo>
                  <a:lnTo>
                    <a:pt x="466" y="40"/>
                  </a:lnTo>
                  <a:lnTo>
                    <a:pt x="423" y="45"/>
                  </a:lnTo>
                  <a:lnTo>
                    <a:pt x="381" y="48"/>
                  </a:lnTo>
                  <a:lnTo>
                    <a:pt x="340" y="51"/>
                  </a:lnTo>
                  <a:lnTo>
                    <a:pt x="302" y="52"/>
                  </a:lnTo>
                  <a:lnTo>
                    <a:pt x="263" y="51"/>
                  </a:lnTo>
                  <a:lnTo>
                    <a:pt x="221" y="48"/>
                  </a:lnTo>
                  <a:lnTo>
                    <a:pt x="180" y="45"/>
                  </a:lnTo>
                  <a:lnTo>
                    <a:pt x="137" y="40"/>
                  </a:lnTo>
                  <a:lnTo>
                    <a:pt x="116" y="37"/>
                  </a:lnTo>
                  <a:lnTo>
                    <a:pt x="97" y="32"/>
                  </a:lnTo>
                  <a:lnTo>
                    <a:pt x="78" y="28"/>
                  </a:lnTo>
                  <a:lnTo>
                    <a:pt x="59" y="24"/>
                  </a:lnTo>
                  <a:lnTo>
                    <a:pt x="42" y="18"/>
                  </a:lnTo>
                  <a:lnTo>
                    <a:pt x="27" y="13"/>
                  </a:lnTo>
                  <a:lnTo>
                    <a:pt x="12" y="8"/>
                  </a:lnTo>
                  <a:lnTo>
                    <a:pt x="0" y="1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2" y="71"/>
                  </a:lnTo>
                  <a:lnTo>
                    <a:pt x="4" y="73"/>
                  </a:lnTo>
                  <a:lnTo>
                    <a:pt x="6" y="75"/>
                  </a:lnTo>
                  <a:lnTo>
                    <a:pt x="13" y="81"/>
                  </a:lnTo>
                  <a:lnTo>
                    <a:pt x="23" y="86"/>
                  </a:lnTo>
                  <a:lnTo>
                    <a:pt x="36" y="91"/>
                  </a:lnTo>
                  <a:lnTo>
                    <a:pt x="50" y="96"/>
                  </a:lnTo>
                  <a:lnTo>
                    <a:pt x="67" y="101"/>
                  </a:lnTo>
                  <a:lnTo>
                    <a:pt x="86" y="105"/>
                  </a:lnTo>
                  <a:lnTo>
                    <a:pt x="108" y="110"/>
                  </a:lnTo>
                  <a:lnTo>
                    <a:pt x="130" y="114"/>
                  </a:lnTo>
                  <a:lnTo>
                    <a:pt x="155" y="117"/>
                  </a:lnTo>
                  <a:lnTo>
                    <a:pt x="182" y="120"/>
                  </a:lnTo>
                  <a:lnTo>
                    <a:pt x="210" y="124"/>
                  </a:lnTo>
                  <a:lnTo>
                    <a:pt x="240" y="125"/>
                  </a:lnTo>
                  <a:lnTo>
                    <a:pt x="270" y="127"/>
                  </a:lnTo>
                  <a:lnTo>
                    <a:pt x="302" y="127"/>
                  </a:lnTo>
                  <a:lnTo>
                    <a:pt x="302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1" name="Freeform 461"/>
            <p:cNvSpPr>
              <a:spLocks/>
            </p:cNvSpPr>
            <p:nvPr/>
          </p:nvSpPr>
          <p:spPr bwMode="auto">
            <a:xfrm>
              <a:off x="2598738" y="1487488"/>
              <a:ext cx="190500" cy="39688"/>
            </a:xfrm>
            <a:custGeom>
              <a:avLst/>
              <a:gdLst>
                <a:gd name="T0" fmla="*/ 602 w 602"/>
                <a:gd name="T1" fmla="*/ 0 h 125"/>
                <a:gd name="T2" fmla="*/ 573 w 602"/>
                <a:gd name="T3" fmla="*/ 14 h 125"/>
                <a:gd name="T4" fmla="*/ 537 w 602"/>
                <a:gd name="T5" fmla="*/ 24 h 125"/>
                <a:gd name="T6" fmla="*/ 497 w 602"/>
                <a:gd name="T7" fmla="*/ 33 h 125"/>
                <a:gd name="T8" fmla="*/ 454 w 602"/>
                <a:gd name="T9" fmla="*/ 39 h 125"/>
                <a:gd name="T10" fmla="*/ 369 w 602"/>
                <a:gd name="T11" fmla="*/ 47 h 125"/>
                <a:gd name="T12" fmla="*/ 302 w 602"/>
                <a:gd name="T13" fmla="*/ 49 h 125"/>
                <a:gd name="T14" fmla="*/ 233 w 602"/>
                <a:gd name="T15" fmla="*/ 47 h 125"/>
                <a:gd name="T16" fmla="*/ 148 w 602"/>
                <a:gd name="T17" fmla="*/ 39 h 125"/>
                <a:gd name="T18" fmla="*/ 106 w 602"/>
                <a:gd name="T19" fmla="*/ 33 h 125"/>
                <a:gd name="T20" fmla="*/ 66 w 602"/>
                <a:gd name="T21" fmla="*/ 24 h 125"/>
                <a:gd name="T22" fmla="*/ 29 w 602"/>
                <a:gd name="T23" fmla="*/ 14 h 125"/>
                <a:gd name="T24" fmla="*/ 0 w 602"/>
                <a:gd name="T25" fmla="*/ 0 h 125"/>
                <a:gd name="T26" fmla="*/ 2 w 602"/>
                <a:gd name="T27" fmla="*/ 69 h 125"/>
                <a:gd name="T28" fmla="*/ 11 w 602"/>
                <a:gd name="T29" fmla="*/ 79 h 125"/>
                <a:gd name="T30" fmla="*/ 32 w 602"/>
                <a:gd name="T31" fmla="*/ 89 h 125"/>
                <a:gd name="T32" fmla="*/ 59 w 602"/>
                <a:gd name="T33" fmla="*/ 98 h 125"/>
                <a:gd name="T34" fmla="*/ 96 w 602"/>
                <a:gd name="T35" fmla="*/ 107 h 125"/>
                <a:gd name="T36" fmla="*/ 140 w 602"/>
                <a:gd name="T37" fmla="*/ 116 h 125"/>
                <a:gd name="T38" fmla="*/ 190 w 602"/>
                <a:gd name="T39" fmla="*/ 121 h 125"/>
                <a:gd name="T40" fmla="*/ 248 w 602"/>
                <a:gd name="T41" fmla="*/ 124 h 125"/>
                <a:gd name="T42" fmla="*/ 283 w 602"/>
                <a:gd name="T43" fmla="*/ 119 h 125"/>
                <a:gd name="T44" fmla="*/ 292 w 602"/>
                <a:gd name="T45" fmla="*/ 106 h 125"/>
                <a:gd name="T46" fmla="*/ 305 w 602"/>
                <a:gd name="T47" fmla="*/ 94 h 125"/>
                <a:gd name="T48" fmla="*/ 320 w 602"/>
                <a:gd name="T49" fmla="*/ 84 h 125"/>
                <a:gd name="T50" fmla="*/ 350 w 602"/>
                <a:gd name="T51" fmla="*/ 70 h 125"/>
                <a:gd name="T52" fmla="*/ 400 w 602"/>
                <a:gd name="T53" fmla="*/ 55 h 125"/>
                <a:gd name="T54" fmla="*/ 458 w 602"/>
                <a:gd name="T55" fmla="*/ 45 h 125"/>
                <a:gd name="T56" fmla="*/ 514 w 602"/>
                <a:gd name="T57" fmla="*/ 38 h 125"/>
                <a:gd name="T58" fmla="*/ 561 w 602"/>
                <a:gd name="T59" fmla="*/ 35 h 125"/>
                <a:gd name="T60" fmla="*/ 594 w 602"/>
                <a:gd name="T61" fmla="*/ 35 h 125"/>
                <a:gd name="T62" fmla="*/ 602 w 602"/>
                <a:gd name="T63" fmla="*/ 3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2" h="125">
                  <a:moveTo>
                    <a:pt x="602" y="34"/>
                  </a:moveTo>
                  <a:lnTo>
                    <a:pt x="602" y="0"/>
                  </a:lnTo>
                  <a:lnTo>
                    <a:pt x="589" y="7"/>
                  </a:lnTo>
                  <a:lnTo>
                    <a:pt x="573" y="14"/>
                  </a:lnTo>
                  <a:lnTo>
                    <a:pt x="556" y="19"/>
                  </a:lnTo>
                  <a:lnTo>
                    <a:pt x="537" y="24"/>
                  </a:lnTo>
                  <a:lnTo>
                    <a:pt x="517" y="29"/>
                  </a:lnTo>
                  <a:lnTo>
                    <a:pt x="497" y="33"/>
                  </a:lnTo>
                  <a:lnTo>
                    <a:pt x="476" y="36"/>
                  </a:lnTo>
                  <a:lnTo>
                    <a:pt x="454" y="39"/>
                  </a:lnTo>
                  <a:lnTo>
                    <a:pt x="410" y="45"/>
                  </a:lnTo>
                  <a:lnTo>
                    <a:pt x="369" y="47"/>
                  </a:lnTo>
                  <a:lnTo>
                    <a:pt x="332" y="49"/>
                  </a:lnTo>
                  <a:lnTo>
                    <a:pt x="302" y="49"/>
                  </a:lnTo>
                  <a:lnTo>
                    <a:pt x="271" y="49"/>
                  </a:lnTo>
                  <a:lnTo>
                    <a:pt x="233" y="47"/>
                  </a:lnTo>
                  <a:lnTo>
                    <a:pt x="192" y="45"/>
                  </a:lnTo>
                  <a:lnTo>
                    <a:pt x="148" y="39"/>
                  </a:lnTo>
                  <a:lnTo>
                    <a:pt x="127" y="36"/>
                  </a:lnTo>
                  <a:lnTo>
                    <a:pt x="106" y="33"/>
                  </a:lnTo>
                  <a:lnTo>
                    <a:pt x="85" y="29"/>
                  </a:lnTo>
                  <a:lnTo>
                    <a:pt x="66" y="24"/>
                  </a:lnTo>
                  <a:lnTo>
                    <a:pt x="47" y="19"/>
                  </a:lnTo>
                  <a:lnTo>
                    <a:pt x="29" y="14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6" y="74"/>
                  </a:lnTo>
                  <a:lnTo>
                    <a:pt x="11" y="79"/>
                  </a:lnTo>
                  <a:lnTo>
                    <a:pt x="20" y="83"/>
                  </a:lnTo>
                  <a:lnTo>
                    <a:pt x="32" y="89"/>
                  </a:lnTo>
                  <a:lnTo>
                    <a:pt x="44" y="94"/>
                  </a:lnTo>
                  <a:lnTo>
                    <a:pt x="59" y="98"/>
                  </a:lnTo>
                  <a:lnTo>
                    <a:pt x="77" y="103"/>
                  </a:lnTo>
                  <a:lnTo>
                    <a:pt x="96" y="107"/>
                  </a:lnTo>
                  <a:lnTo>
                    <a:pt x="117" y="111"/>
                  </a:lnTo>
                  <a:lnTo>
                    <a:pt x="140" y="116"/>
                  </a:lnTo>
                  <a:lnTo>
                    <a:pt x="165" y="118"/>
                  </a:lnTo>
                  <a:lnTo>
                    <a:pt x="190" y="121"/>
                  </a:lnTo>
                  <a:lnTo>
                    <a:pt x="218" y="123"/>
                  </a:lnTo>
                  <a:lnTo>
                    <a:pt x="248" y="124"/>
                  </a:lnTo>
                  <a:lnTo>
                    <a:pt x="278" y="125"/>
                  </a:lnTo>
                  <a:lnTo>
                    <a:pt x="283" y="119"/>
                  </a:lnTo>
                  <a:lnTo>
                    <a:pt x="287" y="112"/>
                  </a:lnTo>
                  <a:lnTo>
                    <a:pt x="292" y="106"/>
                  </a:lnTo>
                  <a:lnTo>
                    <a:pt x="298" y="101"/>
                  </a:lnTo>
                  <a:lnTo>
                    <a:pt x="305" y="94"/>
                  </a:lnTo>
                  <a:lnTo>
                    <a:pt x="313" y="89"/>
                  </a:lnTo>
                  <a:lnTo>
                    <a:pt x="320" y="84"/>
                  </a:lnTo>
                  <a:lnTo>
                    <a:pt x="330" y="79"/>
                  </a:lnTo>
                  <a:lnTo>
                    <a:pt x="350" y="70"/>
                  </a:lnTo>
                  <a:lnTo>
                    <a:pt x="374" y="62"/>
                  </a:lnTo>
                  <a:lnTo>
                    <a:pt x="400" y="55"/>
                  </a:lnTo>
                  <a:lnTo>
                    <a:pt x="429" y="49"/>
                  </a:lnTo>
                  <a:lnTo>
                    <a:pt x="458" y="45"/>
                  </a:lnTo>
                  <a:lnTo>
                    <a:pt x="486" y="40"/>
                  </a:lnTo>
                  <a:lnTo>
                    <a:pt x="514" y="38"/>
                  </a:lnTo>
                  <a:lnTo>
                    <a:pt x="539" y="36"/>
                  </a:lnTo>
                  <a:lnTo>
                    <a:pt x="561" y="35"/>
                  </a:lnTo>
                  <a:lnTo>
                    <a:pt x="580" y="35"/>
                  </a:lnTo>
                  <a:lnTo>
                    <a:pt x="594" y="35"/>
                  </a:lnTo>
                  <a:lnTo>
                    <a:pt x="602" y="34"/>
                  </a:lnTo>
                  <a:lnTo>
                    <a:pt x="602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2" name="Freeform 462"/>
            <p:cNvSpPr>
              <a:spLocks/>
            </p:cNvSpPr>
            <p:nvPr/>
          </p:nvSpPr>
          <p:spPr bwMode="auto">
            <a:xfrm>
              <a:off x="2598738" y="1520825"/>
              <a:ext cx="85725" cy="49213"/>
            </a:xfrm>
            <a:custGeom>
              <a:avLst/>
              <a:gdLst>
                <a:gd name="T0" fmla="*/ 0 w 271"/>
                <a:gd name="T1" fmla="*/ 63 h 153"/>
                <a:gd name="T2" fmla="*/ 0 w 271"/>
                <a:gd name="T3" fmla="*/ 69 h 153"/>
                <a:gd name="T4" fmla="*/ 3 w 271"/>
                <a:gd name="T5" fmla="*/ 75 h 153"/>
                <a:gd name="T6" fmla="*/ 5 w 271"/>
                <a:gd name="T7" fmla="*/ 80 h 153"/>
                <a:gd name="T8" fmla="*/ 7 w 271"/>
                <a:gd name="T9" fmla="*/ 86 h 153"/>
                <a:gd name="T10" fmla="*/ 11 w 271"/>
                <a:gd name="T11" fmla="*/ 90 h 153"/>
                <a:gd name="T12" fmla="*/ 15 w 271"/>
                <a:gd name="T13" fmla="*/ 95 h 153"/>
                <a:gd name="T14" fmla="*/ 21 w 271"/>
                <a:gd name="T15" fmla="*/ 100 h 153"/>
                <a:gd name="T16" fmla="*/ 27 w 271"/>
                <a:gd name="T17" fmla="*/ 104 h 153"/>
                <a:gd name="T18" fmla="*/ 40 w 271"/>
                <a:gd name="T19" fmla="*/ 113 h 153"/>
                <a:gd name="T20" fmla="*/ 56 w 271"/>
                <a:gd name="T21" fmla="*/ 119 h 153"/>
                <a:gd name="T22" fmla="*/ 74 w 271"/>
                <a:gd name="T23" fmla="*/ 125 h 153"/>
                <a:gd name="T24" fmla="*/ 94 w 271"/>
                <a:gd name="T25" fmla="*/ 131 h 153"/>
                <a:gd name="T26" fmla="*/ 114 w 271"/>
                <a:gd name="T27" fmla="*/ 136 h 153"/>
                <a:gd name="T28" fmla="*/ 136 w 271"/>
                <a:gd name="T29" fmla="*/ 140 h 153"/>
                <a:gd name="T30" fmla="*/ 158 w 271"/>
                <a:gd name="T31" fmla="*/ 144 h 153"/>
                <a:gd name="T32" fmla="*/ 182 w 271"/>
                <a:gd name="T33" fmla="*/ 147 h 153"/>
                <a:gd name="T34" fmla="*/ 227 w 271"/>
                <a:gd name="T35" fmla="*/ 151 h 153"/>
                <a:gd name="T36" fmla="*/ 271 w 271"/>
                <a:gd name="T37" fmla="*/ 153 h 153"/>
                <a:gd name="T38" fmla="*/ 271 w 271"/>
                <a:gd name="T39" fmla="*/ 48 h 153"/>
                <a:gd name="T40" fmla="*/ 271 w 271"/>
                <a:gd name="T41" fmla="*/ 48 h 153"/>
                <a:gd name="T42" fmla="*/ 271 w 271"/>
                <a:gd name="T43" fmla="*/ 48 h 153"/>
                <a:gd name="T44" fmla="*/ 237 w 271"/>
                <a:gd name="T45" fmla="*/ 47 h 153"/>
                <a:gd name="T46" fmla="*/ 201 w 271"/>
                <a:gd name="T47" fmla="*/ 45 h 153"/>
                <a:gd name="T48" fmla="*/ 163 w 271"/>
                <a:gd name="T49" fmla="*/ 42 h 153"/>
                <a:gd name="T50" fmla="*/ 126 w 271"/>
                <a:gd name="T51" fmla="*/ 36 h 153"/>
                <a:gd name="T52" fmla="*/ 107 w 271"/>
                <a:gd name="T53" fmla="*/ 33 h 153"/>
                <a:gd name="T54" fmla="*/ 89 w 271"/>
                <a:gd name="T55" fmla="*/ 30 h 153"/>
                <a:gd name="T56" fmla="*/ 71 w 271"/>
                <a:gd name="T57" fmla="*/ 26 h 153"/>
                <a:gd name="T58" fmla="*/ 55 w 271"/>
                <a:gd name="T59" fmla="*/ 21 h 153"/>
                <a:gd name="T60" fmla="*/ 39 w 271"/>
                <a:gd name="T61" fmla="*/ 17 h 153"/>
                <a:gd name="T62" fmla="*/ 25 w 271"/>
                <a:gd name="T63" fmla="*/ 12 h 153"/>
                <a:gd name="T64" fmla="*/ 12 w 271"/>
                <a:gd name="T65" fmla="*/ 5 h 153"/>
                <a:gd name="T66" fmla="*/ 0 w 271"/>
                <a:gd name="T67" fmla="*/ 0 h 153"/>
                <a:gd name="T68" fmla="*/ 0 w 271"/>
                <a:gd name="T69" fmla="*/ 6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1" h="153">
                  <a:moveTo>
                    <a:pt x="0" y="63"/>
                  </a:moveTo>
                  <a:lnTo>
                    <a:pt x="0" y="69"/>
                  </a:lnTo>
                  <a:lnTo>
                    <a:pt x="3" y="75"/>
                  </a:lnTo>
                  <a:lnTo>
                    <a:pt x="5" y="80"/>
                  </a:lnTo>
                  <a:lnTo>
                    <a:pt x="7" y="86"/>
                  </a:lnTo>
                  <a:lnTo>
                    <a:pt x="11" y="90"/>
                  </a:lnTo>
                  <a:lnTo>
                    <a:pt x="15" y="95"/>
                  </a:lnTo>
                  <a:lnTo>
                    <a:pt x="21" y="100"/>
                  </a:lnTo>
                  <a:lnTo>
                    <a:pt x="27" y="104"/>
                  </a:lnTo>
                  <a:lnTo>
                    <a:pt x="40" y="113"/>
                  </a:lnTo>
                  <a:lnTo>
                    <a:pt x="56" y="119"/>
                  </a:lnTo>
                  <a:lnTo>
                    <a:pt x="74" y="125"/>
                  </a:lnTo>
                  <a:lnTo>
                    <a:pt x="94" y="131"/>
                  </a:lnTo>
                  <a:lnTo>
                    <a:pt x="114" y="136"/>
                  </a:lnTo>
                  <a:lnTo>
                    <a:pt x="136" y="140"/>
                  </a:lnTo>
                  <a:lnTo>
                    <a:pt x="158" y="144"/>
                  </a:lnTo>
                  <a:lnTo>
                    <a:pt x="182" y="147"/>
                  </a:lnTo>
                  <a:lnTo>
                    <a:pt x="227" y="151"/>
                  </a:lnTo>
                  <a:lnTo>
                    <a:pt x="271" y="153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71" y="48"/>
                  </a:lnTo>
                  <a:lnTo>
                    <a:pt x="237" y="47"/>
                  </a:lnTo>
                  <a:lnTo>
                    <a:pt x="201" y="45"/>
                  </a:lnTo>
                  <a:lnTo>
                    <a:pt x="163" y="42"/>
                  </a:lnTo>
                  <a:lnTo>
                    <a:pt x="126" y="36"/>
                  </a:lnTo>
                  <a:lnTo>
                    <a:pt x="107" y="33"/>
                  </a:lnTo>
                  <a:lnTo>
                    <a:pt x="89" y="30"/>
                  </a:lnTo>
                  <a:lnTo>
                    <a:pt x="71" y="26"/>
                  </a:lnTo>
                  <a:lnTo>
                    <a:pt x="55" y="21"/>
                  </a:lnTo>
                  <a:lnTo>
                    <a:pt x="39" y="17"/>
                  </a:lnTo>
                  <a:lnTo>
                    <a:pt x="25" y="12"/>
                  </a:lnTo>
                  <a:lnTo>
                    <a:pt x="12" y="5"/>
                  </a:lnTo>
                  <a:lnTo>
                    <a:pt x="0" y="0"/>
                  </a:lnTo>
                  <a:lnTo>
                    <a:pt x="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3" name="Freeform 463"/>
            <p:cNvSpPr>
              <a:spLocks/>
            </p:cNvSpPr>
            <p:nvPr/>
          </p:nvSpPr>
          <p:spPr bwMode="auto">
            <a:xfrm>
              <a:off x="2693988" y="1582738"/>
              <a:ext cx="192088" cy="49213"/>
            </a:xfrm>
            <a:custGeom>
              <a:avLst/>
              <a:gdLst>
                <a:gd name="T0" fmla="*/ 0 w 601"/>
                <a:gd name="T1" fmla="*/ 0 h 155"/>
                <a:gd name="T2" fmla="*/ 0 w 601"/>
                <a:gd name="T3" fmla="*/ 64 h 155"/>
                <a:gd name="T4" fmla="*/ 0 w 601"/>
                <a:gd name="T5" fmla="*/ 71 h 155"/>
                <a:gd name="T6" fmla="*/ 2 w 601"/>
                <a:gd name="T7" fmla="*/ 77 h 155"/>
                <a:gd name="T8" fmla="*/ 4 w 601"/>
                <a:gd name="T9" fmla="*/ 84 h 155"/>
                <a:gd name="T10" fmla="*/ 7 w 601"/>
                <a:gd name="T11" fmla="*/ 89 h 155"/>
                <a:gd name="T12" fmla="*/ 13 w 601"/>
                <a:gd name="T13" fmla="*/ 95 h 155"/>
                <a:gd name="T14" fmla="*/ 18 w 601"/>
                <a:gd name="T15" fmla="*/ 100 h 155"/>
                <a:gd name="T16" fmla="*/ 23 w 601"/>
                <a:gd name="T17" fmla="*/ 104 h 155"/>
                <a:gd name="T18" fmla="*/ 31 w 601"/>
                <a:gd name="T19" fmla="*/ 108 h 155"/>
                <a:gd name="T20" fmla="*/ 47 w 601"/>
                <a:gd name="T21" fmla="*/ 117 h 155"/>
                <a:gd name="T22" fmla="*/ 65 w 601"/>
                <a:gd name="T23" fmla="*/ 125 h 155"/>
                <a:gd name="T24" fmla="*/ 86 w 601"/>
                <a:gd name="T25" fmla="*/ 131 h 155"/>
                <a:gd name="T26" fmla="*/ 108 w 601"/>
                <a:gd name="T27" fmla="*/ 136 h 155"/>
                <a:gd name="T28" fmla="*/ 132 w 601"/>
                <a:gd name="T29" fmla="*/ 142 h 155"/>
                <a:gd name="T30" fmla="*/ 156 w 601"/>
                <a:gd name="T31" fmla="*/ 145 h 155"/>
                <a:gd name="T32" fmla="*/ 181 w 601"/>
                <a:gd name="T33" fmla="*/ 148 h 155"/>
                <a:gd name="T34" fmla="*/ 206 w 601"/>
                <a:gd name="T35" fmla="*/ 151 h 155"/>
                <a:gd name="T36" fmla="*/ 255 w 601"/>
                <a:gd name="T37" fmla="*/ 155 h 155"/>
                <a:gd name="T38" fmla="*/ 300 w 601"/>
                <a:gd name="T39" fmla="*/ 155 h 155"/>
                <a:gd name="T40" fmla="*/ 345 w 601"/>
                <a:gd name="T41" fmla="*/ 155 h 155"/>
                <a:gd name="T42" fmla="*/ 394 w 601"/>
                <a:gd name="T43" fmla="*/ 151 h 155"/>
                <a:gd name="T44" fmla="*/ 420 w 601"/>
                <a:gd name="T45" fmla="*/ 148 h 155"/>
                <a:gd name="T46" fmla="*/ 445 w 601"/>
                <a:gd name="T47" fmla="*/ 145 h 155"/>
                <a:gd name="T48" fmla="*/ 470 w 601"/>
                <a:gd name="T49" fmla="*/ 142 h 155"/>
                <a:gd name="T50" fmla="*/ 493 w 601"/>
                <a:gd name="T51" fmla="*/ 136 h 155"/>
                <a:gd name="T52" fmla="*/ 515 w 601"/>
                <a:gd name="T53" fmla="*/ 131 h 155"/>
                <a:gd name="T54" fmla="*/ 536 w 601"/>
                <a:gd name="T55" fmla="*/ 125 h 155"/>
                <a:gd name="T56" fmla="*/ 554 w 601"/>
                <a:gd name="T57" fmla="*/ 117 h 155"/>
                <a:gd name="T58" fmla="*/ 570 w 601"/>
                <a:gd name="T59" fmla="*/ 108 h 155"/>
                <a:gd name="T60" fmla="*/ 577 w 601"/>
                <a:gd name="T61" fmla="*/ 104 h 155"/>
                <a:gd name="T62" fmla="*/ 583 w 601"/>
                <a:gd name="T63" fmla="*/ 100 h 155"/>
                <a:gd name="T64" fmla="*/ 589 w 601"/>
                <a:gd name="T65" fmla="*/ 95 h 155"/>
                <a:gd name="T66" fmla="*/ 593 w 601"/>
                <a:gd name="T67" fmla="*/ 89 h 155"/>
                <a:gd name="T68" fmla="*/ 597 w 601"/>
                <a:gd name="T69" fmla="*/ 84 h 155"/>
                <a:gd name="T70" fmla="*/ 599 w 601"/>
                <a:gd name="T71" fmla="*/ 77 h 155"/>
                <a:gd name="T72" fmla="*/ 600 w 601"/>
                <a:gd name="T73" fmla="*/ 71 h 155"/>
                <a:gd name="T74" fmla="*/ 601 w 601"/>
                <a:gd name="T75" fmla="*/ 64 h 155"/>
                <a:gd name="T76" fmla="*/ 601 w 601"/>
                <a:gd name="T77" fmla="*/ 0 h 155"/>
                <a:gd name="T78" fmla="*/ 588 w 601"/>
                <a:gd name="T79" fmla="*/ 7 h 155"/>
                <a:gd name="T80" fmla="*/ 573 w 601"/>
                <a:gd name="T81" fmla="*/ 13 h 155"/>
                <a:gd name="T82" fmla="*/ 555 w 601"/>
                <a:gd name="T83" fmla="*/ 19 h 155"/>
                <a:gd name="T84" fmla="*/ 536 w 601"/>
                <a:gd name="T85" fmla="*/ 25 h 155"/>
                <a:gd name="T86" fmla="*/ 517 w 601"/>
                <a:gd name="T87" fmla="*/ 29 h 155"/>
                <a:gd name="T88" fmla="*/ 495 w 601"/>
                <a:gd name="T89" fmla="*/ 33 h 155"/>
                <a:gd name="T90" fmla="*/ 474 w 601"/>
                <a:gd name="T91" fmla="*/ 37 h 155"/>
                <a:gd name="T92" fmla="*/ 452 w 601"/>
                <a:gd name="T93" fmla="*/ 40 h 155"/>
                <a:gd name="T94" fmla="*/ 410 w 601"/>
                <a:gd name="T95" fmla="*/ 44 h 155"/>
                <a:gd name="T96" fmla="*/ 369 w 601"/>
                <a:gd name="T97" fmla="*/ 47 h 155"/>
                <a:gd name="T98" fmla="*/ 331 w 601"/>
                <a:gd name="T99" fmla="*/ 49 h 155"/>
                <a:gd name="T100" fmla="*/ 300 w 601"/>
                <a:gd name="T101" fmla="*/ 49 h 155"/>
                <a:gd name="T102" fmla="*/ 269 w 601"/>
                <a:gd name="T103" fmla="*/ 49 h 155"/>
                <a:gd name="T104" fmla="*/ 233 w 601"/>
                <a:gd name="T105" fmla="*/ 47 h 155"/>
                <a:gd name="T106" fmla="*/ 191 w 601"/>
                <a:gd name="T107" fmla="*/ 44 h 155"/>
                <a:gd name="T108" fmla="*/ 148 w 601"/>
                <a:gd name="T109" fmla="*/ 40 h 155"/>
                <a:gd name="T110" fmla="*/ 126 w 601"/>
                <a:gd name="T111" fmla="*/ 37 h 155"/>
                <a:gd name="T112" fmla="*/ 105 w 601"/>
                <a:gd name="T113" fmla="*/ 33 h 155"/>
                <a:gd name="T114" fmla="*/ 85 w 601"/>
                <a:gd name="T115" fmla="*/ 29 h 155"/>
                <a:gd name="T116" fmla="*/ 64 w 601"/>
                <a:gd name="T117" fmla="*/ 25 h 155"/>
                <a:gd name="T118" fmla="*/ 46 w 601"/>
                <a:gd name="T119" fmla="*/ 19 h 155"/>
                <a:gd name="T120" fmla="*/ 29 w 601"/>
                <a:gd name="T121" fmla="*/ 14 h 155"/>
                <a:gd name="T122" fmla="*/ 13 w 601"/>
                <a:gd name="T123" fmla="*/ 8 h 155"/>
                <a:gd name="T124" fmla="*/ 0 w 601"/>
                <a:gd name="T12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1" h="155">
                  <a:moveTo>
                    <a:pt x="0" y="0"/>
                  </a:moveTo>
                  <a:lnTo>
                    <a:pt x="0" y="64"/>
                  </a:lnTo>
                  <a:lnTo>
                    <a:pt x="0" y="71"/>
                  </a:lnTo>
                  <a:lnTo>
                    <a:pt x="2" y="77"/>
                  </a:lnTo>
                  <a:lnTo>
                    <a:pt x="4" y="84"/>
                  </a:lnTo>
                  <a:lnTo>
                    <a:pt x="7" y="89"/>
                  </a:lnTo>
                  <a:lnTo>
                    <a:pt x="13" y="95"/>
                  </a:lnTo>
                  <a:lnTo>
                    <a:pt x="18" y="100"/>
                  </a:lnTo>
                  <a:lnTo>
                    <a:pt x="23" y="104"/>
                  </a:lnTo>
                  <a:lnTo>
                    <a:pt x="31" y="108"/>
                  </a:lnTo>
                  <a:lnTo>
                    <a:pt x="47" y="117"/>
                  </a:lnTo>
                  <a:lnTo>
                    <a:pt x="65" y="125"/>
                  </a:lnTo>
                  <a:lnTo>
                    <a:pt x="86" y="131"/>
                  </a:lnTo>
                  <a:lnTo>
                    <a:pt x="108" y="136"/>
                  </a:lnTo>
                  <a:lnTo>
                    <a:pt x="132" y="142"/>
                  </a:lnTo>
                  <a:lnTo>
                    <a:pt x="156" y="145"/>
                  </a:lnTo>
                  <a:lnTo>
                    <a:pt x="181" y="148"/>
                  </a:lnTo>
                  <a:lnTo>
                    <a:pt x="206" y="151"/>
                  </a:lnTo>
                  <a:lnTo>
                    <a:pt x="255" y="155"/>
                  </a:lnTo>
                  <a:lnTo>
                    <a:pt x="300" y="155"/>
                  </a:lnTo>
                  <a:lnTo>
                    <a:pt x="345" y="155"/>
                  </a:lnTo>
                  <a:lnTo>
                    <a:pt x="394" y="151"/>
                  </a:lnTo>
                  <a:lnTo>
                    <a:pt x="420" y="148"/>
                  </a:lnTo>
                  <a:lnTo>
                    <a:pt x="445" y="145"/>
                  </a:lnTo>
                  <a:lnTo>
                    <a:pt x="470" y="142"/>
                  </a:lnTo>
                  <a:lnTo>
                    <a:pt x="493" y="136"/>
                  </a:lnTo>
                  <a:lnTo>
                    <a:pt x="515" y="131"/>
                  </a:lnTo>
                  <a:lnTo>
                    <a:pt x="536" y="125"/>
                  </a:lnTo>
                  <a:lnTo>
                    <a:pt x="554" y="117"/>
                  </a:lnTo>
                  <a:lnTo>
                    <a:pt x="570" y="108"/>
                  </a:lnTo>
                  <a:lnTo>
                    <a:pt x="577" y="104"/>
                  </a:lnTo>
                  <a:lnTo>
                    <a:pt x="583" y="100"/>
                  </a:lnTo>
                  <a:lnTo>
                    <a:pt x="589" y="95"/>
                  </a:lnTo>
                  <a:lnTo>
                    <a:pt x="593" y="89"/>
                  </a:lnTo>
                  <a:lnTo>
                    <a:pt x="597" y="84"/>
                  </a:lnTo>
                  <a:lnTo>
                    <a:pt x="599" y="77"/>
                  </a:lnTo>
                  <a:lnTo>
                    <a:pt x="600" y="71"/>
                  </a:lnTo>
                  <a:lnTo>
                    <a:pt x="601" y="64"/>
                  </a:lnTo>
                  <a:lnTo>
                    <a:pt x="601" y="0"/>
                  </a:lnTo>
                  <a:lnTo>
                    <a:pt x="588" y="7"/>
                  </a:lnTo>
                  <a:lnTo>
                    <a:pt x="573" y="13"/>
                  </a:lnTo>
                  <a:lnTo>
                    <a:pt x="555" y="19"/>
                  </a:lnTo>
                  <a:lnTo>
                    <a:pt x="536" y="25"/>
                  </a:lnTo>
                  <a:lnTo>
                    <a:pt x="517" y="29"/>
                  </a:lnTo>
                  <a:lnTo>
                    <a:pt x="495" y="33"/>
                  </a:lnTo>
                  <a:lnTo>
                    <a:pt x="474" y="37"/>
                  </a:lnTo>
                  <a:lnTo>
                    <a:pt x="452" y="40"/>
                  </a:lnTo>
                  <a:lnTo>
                    <a:pt x="410" y="44"/>
                  </a:lnTo>
                  <a:lnTo>
                    <a:pt x="369" y="47"/>
                  </a:lnTo>
                  <a:lnTo>
                    <a:pt x="331" y="49"/>
                  </a:lnTo>
                  <a:lnTo>
                    <a:pt x="300" y="49"/>
                  </a:lnTo>
                  <a:lnTo>
                    <a:pt x="269" y="49"/>
                  </a:lnTo>
                  <a:lnTo>
                    <a:pt x="233" y="47"/>
                  </a:lnTo>
                  <a:lnTo>
                    <a:pt x="191" y="44"/>
                  </a:lnTo>
                  <a:lnTo>
                    <a:pt x="148" y="40"/>
                  </a:lnTo>
                  <a:lnTo>
                    <a:pt x="126" y="37"/>
                  </a:lnTo>
                  <a:lnTo>
                    <a:pt x="105" y="33"/>
                  </a:lnTo>
                  <a:lnTo>
                    <a:pt x="85" y="29"/>
                  </a:lnTo>
                  <a:lnTo>
                    <a:pt x="64" y="25"/>
                  </a:lnTo>
                  <a:lnTo>
                    <a:pt x="46" y="19"/>
                  </a:lnTo>
                  <a:lnTo>
                    <a:pt x="29" y="14"/>
                  </a:lnTo>
                  <a:lnTo>
                    <a:pt x="1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4" name="Freeform 464"/>
            <p:cNvSpPr>
              <a:spLocks/>
            </p:cNvSpPr>
            <p:nvPr/>
          </p:nvSpPr>
          <p:spPr bwMode="auto">
            <a:xfrm>
              <a:off x="2693988" y="1549400"/>
              <a:ext cx="192088" cy="39688"/>
            </a:xfrm>
            <a:custGeom>
              <a:avLst/>
              <a:gdLst>
                <a:gd name="T0" fmla="*/ 0 w 601"/>
                <a:gd name="T1" fmla="*/ 65 h 125"/>
                <a:gd name="T2" fmla="*/ 1 w 601"/>
                <a:gd name="T3" fmla="*/ 70 h 125"/>
                <a:gd name="T4" fmla="*/ 5 w 601"/>
                <a:gd name="T5" fmla="*/ 75 h 125"/>
                <a:gd name="T6" fmla="*/ 22 w 601"/>
                <a:gd name="T7" fmla="*/ 85 h 125"/>
                <a:gd name="T8" fmla="*/ 49 w 601"/>
                <a:gd name="T9" fmla="*/ 94 h 125"/>
                <a:gd name="T10" fmla="*/ 86 w 601"/>
                <a:gd name="T11" fmla="*/ 104 h 125"/>
                <a:gd name="T12" fmla="*/ 130 w 601"/>
                <a:gd name="T13" fmla="*/ 113 h 125"/>
                <a:gd name="T14" fmla="*/ 181 w 601"/>
                <a:gd name="T15" fmla="*/ 119 h 125"/>
                <a:gd name="T16" fmla="*/ 238 w 601"/>
                <a:gd name="T17" fmla="*/ 124 h 125"/>
                <a:gd name="T18" fmla="*/ 300 w 601"/>
                <a:gd name="T19" fmla="*/ 125 h 125"/>
                <a:gd name="T20" fmla="*/ 362 w 601"/>
                <a:gd name="T21" fmla="*/ 124 h 125"/>
                <a:gd name="T22" fmla="*/ 420 w 601"/>
                <a:gd name="T23" fmla="*/ 119 h 125"/>
                <a:gd name="T24" fmla="*/ 471 w 601"/>
                <a:gd name="T25" fmla="*/ 113 h 125"/>
                <a:gd name="T26" fmla="*/ 516 w 601"/>
                <a:gd name="T27" fmla="*/ 104 h 125"/>
                <a:gd name="T28" fmla="*/ 551 w 601"/>
                <a:gd name="T29" fmla="*/ 94 h 125"/>
                <a:gd name="T30" fmla="*/ 579 w 601"/>
                <a:gd name="T31" fmla="*/ 85 h 125"/>
                <a:gd name="T32" fmla="*/ 595 w 601"/>
                <a:gd name="T33" fmla="*/ 75 h 125"/>
                <a:gd name="T34" fmla="*/ 600 w 601"/>
                <a:gd name="T35" fmla="*/ 70 h 125"/>
                <a:gd name="T36" fmla="*/ 601 w 601"/>
                <a:gd name="T37" fmla="*/ 65 h 125"/>
                <a:gd name="T38" fmla="*/ 589 w 601"/>
                <a:gd name="T39" fmla="*/ 6 h 125"/>
                <a:gd name="T40" fmla="*/ 560 w 601"/>
                <a:gd name="T41" fmla="*/ 18 h 125"/>
                <a:gd name="T42" fmla="*/ 524 w 601"/>
                <a:gd name="T43" fmla="*/ 28 h 125"/>
                <a:gd name="T44" fmla="*/ 486 w 601"/>
                <a:gd name="T45" fmla="*/ 35 h 125"/>
                <a:gd name="T46" fmla="*/ 422 w 601"/>
                <a:gd name="T47" fmla="*/ 44 h 125"/>
                <a:gd name="T48" fmla="*/ 339 w 601"/>
                <a:gd name="T49" fmla="*/ 49 h 125"/>
                <a:gd name="T50" fmla="*/ 261 w 601"/>
                <a:gd name="T51" fmla="*/ 49 h 125"/>
                <a:gd name="T52" fmla="*/ 178 w 601"/>
                <a:gd name="T53" fmla="*/ 44 h 125"/>
                <a:gd name="T54" fmla="*/ 116 w 601"/>
                <a:gd name="T55" fmla="*/ 35 h 125"/>
                <a:gd name="T56" fmla="*/ 77 w 601"/>
                <a:gd name="T57" fmla="*/ 28 h 125"/>
                <a:gd name="T58" fmla="*/ 42 w 601"/>
                <a:gd name="T59" fmla="*/ 18 h 125"/>
                <a:gd name="T60" fmla="*/ 12 w 601"/>
                <a:gd name="T61" fmla="*/ 6 h 125"/>
                <a:gd name="T62" fmla="*/ 0 w 601"/>
                <a:gd name="T6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1" h="125">
                  <a:moveTo>
                    <a:pt x="0" y="0"/>
                  </a:moveTo>
                  <a:lnTo>
                    <a:pt x="0" y="65"/>
                  </a:lnTo>
                  <a:lnTo>
                    <a:pt x="0" y="67"/>
                  </a:lnTo>
                  <a:lnTo>
                    <a:pt x="1" y="70"/>
                  </a:lnTo>
                  <a:lnTo>
                    <a:pt x="3" y="72"/>
                  </a:lnTo>
                  <a:lnTo>
                    <a:pt x="5" y="75"/>
                  </a:lnTo>
                  <a:lnTo>
                    <a:pt x="13" y="79"/>
                  </a:lnTo>
                  <a:lnTo>
                    <a:pt x="22" y="85"/>
                  </a:lnTo>
                  <a:lnTo>
                    <a:pt x="34" y="90"/>
                  </a:lnTo>
                  <a:lnTo>
                    <a:pt x="49" y="94"/>
                  </a:lnTo>
                  <a:lnTo>
                    <a:pt x="66" y="100"/>
                  </a:lnTo>
                  <a:lnTo>
                    <a:pt x="86" y="104"/>
                  </a:lnTo>
                  <a:lnTo>
                    <a:pt x="107" y="108"/>
                  </a:lnTo>
                  <a:lnTo>
                    <a:pt x="130" y="113"/>
                  </a:lnTo>
                  <a:lnTo>
                    <a:pt x="154" y="117"/>
                  </a:lnTo>
                  <a:lnTo>
                    <a:pt x="181" y="119"/>
                  </a:lnTo>
                  <a:lnTo>
                    <a:pt x="209" y="122"/>
                  </a:lnTo>
                  <a:lnTo>
                    <a:pt x="238" y="124"/>
                  </a:lnTo>
                  <a:lnTo>
                    <a:pt x="269" y="125"/>
                  </a:lnTo>
                  <a:lnTo>
                    <a:pt x="300" y="125"/>
                  </a:lnTo>
                  <a:lnTo>
                    <a:pt x="332" y="125"/>
                  </a:lnTo>
                  <a:lnTo>
                    <a:pt x="362" y="124"/>
                  </a:lnTo>
                  <a:lnTo>
                    <a:pt x="392" y="122"/>
                  </a:lnTo>
                  <a:lnTo>
                    <a:pt x="420" y="119"/>
                  </a:lnTo>
                  <a:lnTo>
                    <a:pt x="446" y="117"/>
                  </a:lnTo>
                  <a:lnTo>
                    <a:pt x="471" y="113"/>
                  </a:lnTo>
                  <a:lnTo>
                    <a:pt x="494" y="108"/>
                  </a:lnTo>
                  <a:lnTo>
                    <a:pt x="516" y="104"/>
                  </a:lnTo>
                  <a:lnTo>
                    <a:pt x="535" y="100"/>
                  </a:lnTo>
                  <a:lnTo>
                    <a:pt x="551" y="94"/>
                  </a:lnTo>
                  <a:lnTo>
                    <a:pt x="566" y="90"/>
                  </a:lnTo>
                  <a:lnTo>
                    <a:pt x="579" y="85"/>
                  </a:lnTo>
                  <a:lnTo>
                    <a:pt x="589" y="79"/>
                  </a:lnTo>
                  <a:lnTo>
                    <a:pt x="595" y="75"/>
                  </a:lnTo>
                  <a:lnTo>
                    <a:pt x="598" y="72"/>
                  </a:lnTo>
                  <a:lnTo>
                    <a:pt x="600" y="70"/>
                  </a:lnTo>
                  <a:lnTo>
                    <a:pt x="601" y="67"/>
                  </a:lnTo>
                  <a:lnTo>
                    <a:pt x="601" y="65"/>
                  </a:lnTo>
                  <a:lnTo>
                    <a:pt x="601" y="0"/>
                  </a:lnTo>
                  <a:lnTo>
                    <a:pt x="589" y="6"/>
                  </a:lnTo>
                  <a:lnTo>
                    <a:pt x="575" y="12"/>
                  </a:lnTo>
                  <a:lnTo>
                    <a:pt x="560" y="18"/>
                  </a:lnTo>
                  <a:lnTo>
                    <a:pt x="542" y="22"/>
                  </a:lnTo>
                  <a:lnTo>
                    <a:pt x="524" y="28"/>
                  </a:lnTo>
                  <a:lnTo>
                    <a:pt x="505" y="31"/>
                  </a:lnTo>
                  <a:lnTo>
                    <a:pt x="486" y="35"/>
                  </a:lnTo>
                  <a:lnTo>
                    <a:pt x="464" y="39"/>
                  </a:lnTo>
                  <a:lnTo>
                    <a:pt x="422" y="44"/>
                  </a:lnTo>
                  <a:lnTo>
                    <a:pt x="381" y="47"/>
                  </a:lnTo>
                  <a:lnTo>
                    <a:pt x="339" y="49"/>
                  </a:lnTo>
                  <a:lnTo>
                    <a:pt x="300" y="50"/>
                  </a:lnTo>
                  <a:lnTo>
                    <a:pt x="261" y="49"/>
                  </a:lnTo>
                  <a:lnTo>
                    <a:pt x="221" y="47"/>
                  </a:lnTo>
                  <a:lnTo>
                    <a:pt x="178" y="44"/>
                  </a:lnTo>
                  <a:lnTo>
                    <a:pt x="136" y="39"/>
                  </a:lnTo>
                  <a:lnTo>
                    <a:pt x="116" y="35"/>
                  </a:lnTo>
                  <a:lnTo>
                    <a:pt x="95" y="32"/>
                  </a:lnTo>
                  <a:lnTo>
                    <a:pt x="77" y="28"/>
                  </a:lnTo>
                  <a:lnTo>
                    <a:pt x="59" y="22"/>
                  </a:lnTo>
                  <a:lnTo>
                    <a:pt x="42" y="18"/>
                  </a:lnTo>
                  <a:lnTo>
                    <a:pt x="26" y="13"/>
                  </a:ln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  <p:sp>
          <p:nvSpPr>
            <p:cNvPr id="45" name="Freeform 465"/>
            <p:cNvSpPr>
              <a:spLocks/>
            </p:cNvSpPr>
            <p:nvPr/>
          </p:nvSpPr>
          <p:spPr bwMode="auto">
            <a:xfrm>
              <a:off x="2598738" y="1344613"/>
              <a:ext cx="190500" cy="49213"/>
            </a:xfrm>
            <a:custGeom>
              <a:avLst/>
              <a:gdLst>
                <a:gd name="T0" fmla="*/ 337 w 602"/>
                <a:gd name="T1" fmla="*/ 151 h 152"/>
                <a:gd name="T2" fmla="*/ 403 w 602"/>
                <a:gd name="T3" fmla="*/ 147 h 152"/>
                <a:gd name="T4" fmla="*/ 458 w 602"/>
                <a:gd name="T5" fmla="*/ 141 h 152"/>
                <a:gd name="T6" fmla="*/ 506 w 602"/>
                <a:gd name="T7" fmla="*/ 132 h 152"/>
                <a:gd name="T8" fmla="*/ 544 w 602"/>
                <a:gd name="T9" fmla="*/ 122 h 152"/>
                <a:gd name="T10" fmla="*/ 572 w 602"/>
                <a:gd name="T11" fmla="*/ 112 h 152"/>
                <a:gd name="T12" fmla="*/ 591 w 602"/>
                <a:gd name="T13" fmla="*/ 102 h 152"/>
                <a:gd name="T14" fmla="*/ 601 w 602"/>
                <a:gd name="T15" fmla="*/ 95 h 152"/>
                <a:gd name="T16" fmla="*/ 602 w 602"/>
                <a:gd name="T17" fmla="*/ 85 h 152"/>
                <a:gd name="T18" fmla="*/ 599 w 602"/>
                <a:gd name="T19" fmla="*/ 74 h 152"/>
                <a:gd name="T20" fmla="*/ 591 w 602"/>
                <a:gd name="T21" fmla="*/ 65 h 152"/>
                <a:gd name="T22" fmla="*/ 582 w 602"/>
                <a:gd name="T23" fmla="*/ 55 h 152"/>
                <a:gd name="T24" fmla="*/ 561 w 602"/>
                <a:gd name="T25" fmla="*/ 42 h 152"/>
                <a:gd name="T26" fmla="*/ 527 w 602"/>
                <a:gd name="T27" fmla="*/ 28 h 152"/>
                <a:gd name="T28" fmla="*/ 484 w 602"/>
                <a:gd name="T29" fmla="*/ 18 h 152"/>
                <a:gd name="T30" fmla="*/ 436 w 602"/>
                <a:gd name="T31" fmla="*/ 9 h 152"/>
                <a:gd name="T32" fmla="*/ 383 w 602"/>
                <a:gd name="T33" fmla="*/ 4 h 152"/>
                <a:gd name="T34" fmla="*/ 329 w 602"/>
                <a:gd name="T35" fmla="*/ 1 h 152"/>
                <a:gd name="T36" fmla="*/ 274 w 602"/>
                <a:gd name="T37" fmla="*/ 1 h 152"/>
                <a:gd name="T38" fmla="*/ 219 w 602"/>
                <a:gd name="T39" fmla="*/ 4 h 152"/>
                <a:gd name="T40" fmla="*/ 168 w 602"/>
                <a:gd name="T41" fmla="*/ 9 h 152"/>
                <a:gd name="T42" fmla="*/ 118 w 602"/>
                <a:gd name="T43" fmla="*/ 18 h 152"/>
                <a:gd name="T44" fmla="*/ 76 w 602"/>
                <a:gd name="T45" fmla="*/ 28 h 152"/>
                <a:gd name="T46" fmla="*/ 41 w 602"/>
                <a:gd name="T47" fmla="*/ 42 h 152"/>
                <a:gd name="T48" fmla="*/ 21 w 602"/>
                <a:gd name="T49" fmla="*/ 55 h 152"/>
                <a:gd name="T50" fmla="*/ 11 w 602"/>
                <a:gd name="T51" fmla="*/ 65 h 152"/>
                <a:gd name="T52" fmla="*/ 5 w 602"/>
                <a:gd name="T53" fmla="*/ 74 h 152"/>
                <a:gd name="T54" fmla="*/ 0 w 602"/>
                <a:gd name="T55" fmla="*/ 85 h 152"/>
                <a:gd name="T56" fmla="*/ 2 w 602"/>
                <a:gd name="T57" fmla="*/ 95 h 152"/>
                <a:gd name="T58" fmla="*/ 11 w 602"/>
                <a:gd name="T59" fmla="*/ 102 h 152"/>
                <a:gd name="T60" fmla="*/ 30 w 602"/>
                <a:gd name="T61" fmla="*/ 112 h 152"/>
                <a:gd name="T62" fmla="*/ 59 w 602"/>
                <a:gd name="T63" fmla="*/ 122 h 152"/>
                <a:gd name="T64" fmla="*/ 97 w 602"/>
                <a:gd name="T65" fmla="*/ 131 h 152"/>
                <a:gd name="T66" fmla="*/ 144 w 602"/>
                <a:gd name="T67" fmla="*/ 141 h 152"/>
                <a:gd name="T68" fmla="*/ 200 w 602"/>
                <a:gd name="T69" fmla="*/ 147 h 152"/>
                <a:gd name="T70" fmla="*/ 265 w 602"/>
                <a:gd name="T71" fmla="*/ 15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2" h="152">
                  <a:moveTo>
                    <a:pt x="302" y="152"/>
                  </a:moveTo>
                  <a:lnTo>
                    <a:pt x="337" y="151"/>
                  </a:lnTo>
                  <a:lnTo>
                    <a:pt x="370" y="149"/>
                  </a:lnTo>
                  <a:lnTo>
                    <a:pt x="403" y="147"/>
                  </a:lnTo>
                  <a:lnTo>
                    <a:pt x="432" y="144"/>
                  </a:lnTo>
                  <a:lnTo>
                    <a:pt x="458" y="141"/>
                  </a:lnTo>
                  <a:lnTo>
                    <a:pt x="483" y="137"/>
                  </a:lnTo>
                  <a:lnTo>
                    <a:pt x="506" y="132"/>
                  </a:lnTo>
                  <a:lnTo>
                    <a:pt x="526" y="127"/>
                  </a:lnTo>
                  <a:lnTo>
                    <a:pt x="544" y="122"/>
                  </a:lnTo>
                  <a:lnTo>
                    <a:pt x="559" y="117"/>
                  </a:lnTo>
                  <a:lnTo>
                    <a:pt x="572" y="112"/>
                  </a:lnTo>
                  <a:lnTo>
                    <a:pt x="583" y="107"/>
                  </a:lnTo>
                  <a:lnTo>
                    <a:pt x="591" y="102"/>
                  </a:lnTo>
                  <a:lnTo>
                    <a:pt x="598" y="98"/>
                  </a:lnTo>
                  <a:lnTo>
                    <a:pt x="601" y="95"/>
                  </a:lnTo>
                  <a:lnTo>
                    <a:pt x="602" y="92"/>
                  </a:lnTo>
                  <a:lnTo>
                    <a:pt x="602" y="85"/>
                  </a:lnTo>
                  <a:lnTo>
                    <a:pt x="601" y="80"/>
                  </a:lnTo>
                  <a:lnTo>
                    <a:pt x="599" y="74"/>
                  </a:lnTo>
                  <a:lnTo>
                    <a:pt x="596" y="69"/>
                  </a:lnTo>
                  <a:lnTo>
                    <a:pt x="591" y="65"/>
                  </a:lnTo>
                  <a:lnTo>
                    <a:pt x="587" y="59"/>
                  </a:lnTo>
                  <a:lnTo>
                    <a:pt x="582" y="55"/>
                  </a:lnTo>
                  <a:lnTo>
                    <a:pt x="575" y="51"/>
                  </a:lnTo>
                  <a:lnTo>
                    <a:pt x="561" y="42"/>
                  </a:lnTo>
                  <a:lnTo>
                    <a:pt x="545" y="35"/>
                  </a:lnTo>
                  <a:lnTo>
                    <a:pt x="527" y="28"/>
                  </a:lnTo>
                  <a:lnTo>
                    <a:pt x="507" y="23"/>
                  </a:lnTo>
                  <a:lnTo>
                    <a:pt x="484" y="18"/>
                  </a:lnTo>
                  <a:lnTo>
                    <a:pt x="461" y="13"/>
                  </a:lnTo>
                  <a:lnTo>
                    <a:pt x="436" y="9"/>
                  </a:lnTo>
                  <a:lnTo>
                    <a:pt x="409" y="6"/>
                  </a:lnTo>
                  <a:lnTo>
                    <a:pt x="383" y="4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2" y="0"/>
                  </a:lnTo>
                  <a:lnTo>
                    <a:pt x="274" y="1"/>
                  </a:lnTo>
                  <a:lnTo>
                    <a:pt x="247" y="3"/>
                  </a:lnTo>
                  <a:lnTo>
                    <a:pt x="219" y="4"/>
                  </a:lnTo>
                  <a:lnTo>
                    <a:pt x="193" y="6"/>
                  </a:lnTo>
                  <a:lnTo>
                    <a:pt x="168" y="9"/>
                  </a:lnTo>
                  <a:lnTo>
                    <a:pt x="142" y="13"/>
                  </a:lnTo>
                  <a:lnTo>
                    <a:pt x="118" y="18"/>
                  </a:lnTo>
                  <a:lnTo>
                    <a:pt x="97" y="23"/>
                  </a:lnTo>
                  <a:lnTo>
                    <a:pt x="76" y="28"/>
                  </a:lnTo>
                  <a:lnTo>
                    <a:pt x="57" y="35"/>
                  </a:lnTo>
                  <a:lnTo>
                    <a:pt x="41" y="42"/>
                  </a:lnTo>
                  <a:lnTo>
                    <a:pt x="27" y="51"/>
                  </a:lnTo>
                  <a:lnTo>
                    <a:pt x="21" y="55"/>
                  </a:lnTo>
                  <a:lnTo>
                    <a:pt x="15" y="59"/>
                  </a:lnTo>
                  <a:lnTo>
                    <a:pt x="11" y="65"/>
                  </a:lnTo>
                  <a:lnTo>
                    <a:pt x="7" y="69"/>
                  </a:lnTo>
                  <a:lnTo>
                    <a:pt x="5" y="74"/>
                  </a:lnTo>
                  <a:lnTo>
                    <a:pt x="3" y="80"/>
                  </a:lnTo>
                  <a:lnTo>
                    <a:pt x="0" y="85"/>
                  </a:lnTo>
                  <a:lnTo>
                    <a:pt x="0" y="92"/>
                  </a:lnTo>
                  <a:lnTo>
                    <a:pt x="2" y="95"/>
                  </a:lnTo>
                  <a:lnTo>
                    <a:pt x="5" y="98"/>
                  </a:lnTo>
                  <a:lnTo>
                    <a:pt x="11" y="102"/>
                  </a:lnTo>
                  <a:lnTo>
                    <a:pt x="20" y="107"/>
                  </a:lnTo>
                  <a:lnTo>
                    <a:pt x="30" y="112"/>
                  </a:lnTo>
                  <a:lnTo>
                    <a:pt x="43" y="117"/>
                  </a:lnTo>
                  <a:lnTo>
                    <a:pt x="59" y="122"/>
                  </a:lnTo>
                  <a:lnTo>
                    <a:pt x="77" y="127"/>
                  </a:lnTo>
                  <a:lnTo>
                    <a:pt x="97" y="131"/>
                  </a:lnTo>
                  <a:lnTo>
                    <a:pt x="119" y="137"/>
                  </a:lnTo>
                  <a:lnTo>
                    <a:pt x="144" y="141"/>
                  </a:lnTo>
                  <a:lnTo>
                    <a:pt x="171" y="144"/>
                  </a:lnTo>
                  <a:lnTo>
                    <a:pt x="200" y="147"/>
                  </a:lnTo>
                  <a:lnTo>
                    <a:pt x="232" y="149"/>
                  </a:lnTo>
                  <a:lnTo>
                    <a:pt x="265" y="151"/>
                  </a:lnTo>
                  <a:lnTo>
                    <a:pt x="30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D80F79"/>
                </a:solidFill>
              </a:endParaRPr>
            </a:p>
          </p:txBody>
        </p:sp>
      </p:grpSp>
      <p:sp>
        <p:nvSpPr>
          <p:cNvPr id="46" name="TextBox 25"/>
          <p:cNvSpPr txBox="1"/>
          <p:nvPr/>
        </p:nvSpPr>
        <p:spPr>
          <a:xfrm>
            <a:off x="4975972" y="5319240"/>
            <a:ext cx="73025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rgbClr val="6F878C"/>
                </a:solidFill>
                <a:latin typeface="+mj-lt"/>
                <a:cs typeface="Calibri Light" panose="020F0302020204030204" pitchFamily="34" charset="0"/>
              </a:rPr>
              <a:t>off</a:t>
            </a:r>
          </a:p>
        </p:txBody>
      </p:sp>
      <p:sp>
        <p:nvSpPr>
          <p:cNvPr id="47" name="TextBox 25"/>
          <p:cNvSpPr txBox="1"/>
          <p:nvPr/>
        </p:nvSpPr>
        <p:spPr>
          <a:xfrm>
            <a:off x="6772177" y="1860947"/>
            <a:ext cx="26512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How to get the Quotes</a:t>
            </a:r>
          </a:p>
        </p:txBody>
      </p:sp>
      <p:cxnSp>
        <p:nvCxnSpPr>
          <p:cNvPr id="49" name="Straight Connector 48"/>
          <p:cNvCxnSpPr/>
          <p:nvPr/>
        </p:nvCxnSpPr>
        <p:spPr>
          <a:xfrm>
            <a:off x="6772177" y="2266263"/>
            <a:ext cx="4580036" cy="0"/>
          </a:xfrm>
          <a:prstGeom prst="line">
            <a:avLst/>
          </a:prstGeom>
          <a:ln>
            <a:solidFill>
              <a:srgbClr val="BFBE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/>
          <p:cNvSpPr/>
          <p:nvPr/>
        </p:nvSpPr>
        <p:spPr>
          <a:xfrm rot="2700000">
            <a:off x="6888069" y="2581103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Freeform 513"/>
          <p:cNvSpPr>
            <a:spLocks noEditPoints="1"/>
          </p:cNvSpPr>
          <p:nvPr/>
        </p:nvSpPr>
        <p:spPr bwMode="auto">
          <a:xfrm>
            <a:off x="7024979" y="2737064"/>
            <a:ext cx="285750" cy="247650"/>
          </a:xfrm>
          <a:custGeom>
            <a:avLst/>
            <a:gdLst>
              <a:gd name="T0" fmla="*/ 808 w 903"/>
              <a:gd name="T1" fmla="*/ 246 h 783"/>
              <a:gd name="T2" fmla="*/ 811 w 903"/>
              <a:gd name="T3" fmla="*/ 262 h 783"/>
              <a:gd name="T4" fmla="*/ 797 w 903"/>
              <a:gd name="T5" fmla="*/ 271 h 783"/>
              <a:gd name="T6" fmla="*/ 665 w 903"/>
              <a:gd name="T7" fmla="*/ 264 h 783"/>
              <a:gd name="T8" fmla="*/ 665 w 903"/>
              <a:gd name="T9" fmla="*/ 248 h 783"/>
              <a:gd name="T10" fmla="*/ 482 w 903"/>
              <a:gd name="T11" fmla="*/ 150 h 783"/>
              <a:gd name="T12" fmla="*/ 897 w 903"/>
              <a:gd name="T13" fmla="*/ 47 h 783"/>
              <a:gd name="T14" fmla="*/ 869 w 903"/>
              <a:gd name="T15" fmla="*/ 13 h 783"/>
              <a:gd name="T16" fmla="*/ 828 w 903"/>
              <a:gd name="T17" fmla="*/ 0 h 783"/>
              <a:gd name="T18" fmla="*/ 245 w 903"/>
              <a:gd name="T19" fmla="*/ 7 h 783"/>
              <a:gd name="T20" fmla="*/ 218 w 903"/>
              <a:gd name="T21" fmla="*/ 33 h 783"/>
              <a:gd name="T22" fmla="*/ 211 w 903"/>
              <a:gd name="T23" fmla="*/ 150 h 783"/>
              <a:gd name="T24" fmla="*/ 411 w 903"/>
              <a:gd name="T25" fmla="*/ 161 h 783"/>
              <a:gd name="T26" fmla="*/ 459 w 903"/>
              <a:gd name="T27" fmla="*/ 199 h 783"/>
              <a:gd name="T28" fmla="*/ 474 w 903"/>
              <a:gd name="T29" fmla="*/ 291 h 783"/>
              <a:gd name="T30" fmla="*/ 451 w 903"/>
              <a:gd name="T31" fmla="*/ 350 h 783"/>
              <a:gd name="T32" fmla="*/ 398 w 903"/>
              <a:gd name="T33" fmla="*/ 384 h 783"/>
              <a:gd name="T34" fmla="*/ 297 w 903"/>
              <a:gd name="T35" fmla="*/ 405 h 783"/>
              <a:gd name="T36" fmla="*/ 252 w 903"/>
              <a:gd name="T37" fmla="*/ 473 h 783"/>
              <a:gd name="T38" fmla="*/ 181 w 903"/>
              <a:gd name="T39" fmla="*/ 511 h 783"/>
              <a:gd name="T40" fmla="*/ 153 w 903"/>
              <a:gd name="T41" fmla="*/ 505 h 783"/>
              <a:gd name="T42" fmla="*/ 153 w 903"/>
              <a:gd name="T43" fmla="*/ 488 h 783"/>
              <a:gd name="T44" fmla="*/ 173 w 903"/>
              <a:gd name="T45" fmla="*/ 482 h 783"/>
              <a:gd name="T46" fmla="*/ 226 w 903"/>
              <a:gd name="T47" fmla="*/ 456 h 783"/>
              <a:gd name="T48" fmla="*/ 277 w 903"/>
              <a:gd name="T49" fmla="*/ 376 h 783"/>
              <a:gd name="T50" fmla="*/ 296 w 903"/>
              <a:gd name="T51" fmla="*/ 361 h 783"/>
              <a:gd name="T52" fmla="*/ 395 w 903"/>
              <a:gd name="T53" fmla="*/ 353 h 783"/>
              <a:gd name="T54" fmla="*/ 431 w 903"/>
              <a:gd name="T55" fmla="*/ 326 h 783"/>
              <a:gd name="T56" fmla="*/ 444 w 903"/>
              <a:gd name="T57" fmla="*/ 249 h 783"/>
              <a:gd name="T58" fmla="*/ 427 w 903"/>
              <a:gd name="T59" fmla="*/ 208 h 783"/>
              <a:gd name="T60" fmla="*/ 389 w 903"/>
              <a:gd name="T61" fmla="*/ 184 h 783"/>
              <a:gd name="T62" fmla="*/ 172 w 903"/>
              <a:gd name="T63" fmla="*/ 190 h 783"/>
              <a:gd name="T64" fmla="*/ 67 w 903"/>
              <a:gd name="T65" fmla="*/ 253 h 783"/>
              <a:gd name="T66" fmla="*/ 28 w 903"/>
              <a:gd name="T67" fmla="*/ 311 h 783"/>
              <a:gd name="T68" fmla="*/ 5 w 903"/>
              <a:gd name="T69" fmla="*/ 388 h 783"/>
              <a:gd name="T70" fmla="*/ 0 w 903"/>
              <a:gd name="T71" fmla="*/ 582 h 783"/>
              <a:gd name="T72" fmla="*/ 26 w 903"/>
              <a:gd name="T73" fmla="*/ 670 h 783"/>
              <a:gd name="T74" fmla="*/ 112 w 903"/>
              <a:gd name="T75" fmla="*/ 756 h 783"/>
              <a:gd name="T76" fmla="*/ 200 w 903"/>
              <a:gd name="T77" fmla="*/ 782 h 783"/>
              <a:gd name="T78" fmla="*/ 517 w 903"/>
              <a:gd name="T79" fmla="*/ 777 h 783"/>
              <a:gd name="T80" fmla="*/ 546 w 903"/>
              <a:gd name="T81" fmla="*/ 750 h 783"/>
              <a:gd name="T82" fmla="*/ 557 w 903"/>
              <a:gd name="T83" fmla="*/ 708 h 783"/>
              <a:gd name="T84" fmla="*/ 655 w 903"/>
              <a:gd name="T85" fmla="*/ 662 h 783"/>
              <a:gd name="T86" fmla="*/ 694 w 903"/>
              <a:gd name="T87" fmla="*/ 645 h 783"/>
              <a:gd name="T88" fmla="*/ 719 w 903"/>
              <a:gd name="T89" fmla="*/ 609 h 783"/>
              <a:gd name="T90" fmla="*/ 719 w 903"/>
              <a:gd name="T91" fmla="*/ 565 h 783"/>
              <a:gd name="T92" fmla="*/ 694 w 903"/>
              <a:gd name="T93" fmla="*/ 530 h 783"/>
              <a:gd name="T94" fmla="*/ 655 w 903"/>
              <a:gd name="T95" fmla="*/ 512 h 783"/>
              <a:gd name="T96" fmla="*/ 273 w 903"/>
              <a:gd name="T97" fmla="*/ 501 h 783"/>
              <a:gd name="T98" fmla="*/ 271 w 903"/>
              <a:gd name="T99" fmla="*/ 479 h 783"/>
              <a:gd name="T100" fmla="*/ 850 w 903"/>
              <a:gd name="T101" fmla="*/ 478 h 783"/>
              <a:gd name="T102" fmla="*/ 885 w 903"/>
              <a:gd name="T103" fmla="*/ 454 h 783"/>
              <a:gd name="T104" fmla="*/ 902 w 903"/>
              <a:gd name="T105" fmla="*/ 414 h 783"/>
              <a:gd name="T106" fmla="*/ 473 w 903"/>
              <a:gd name="T107" fmla="*/ 178 h 783"/>
              <a:gd name="T108" fmla="*/ 467 w 903"/>
              <a:gd name="T109" fmla="*/ 162 h 783"/>
              <a:gd name="T110" fmla="*/ 479 w 903"/>
              <a:gd name="T111" fmla="*/ 150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03" h="783">
                <a:moveTo>
                  <a:pt x="677" y="240"/>
                </a:moveTo>
                <a:lnTo>
                  <a:pt x="798" y="240"/>
                </a:lnTo>
                <a:lnTo>
                  <a:pt x="800" y="241"/>
                </a:lnTo>
                <a:lnTo>
                  <a:pt x="804" y="242"/>
                </a:lnTo>
                <a:lnTo>
                  <a:pt x="806" y="243"/>
                </a:lnTo>
                <a:lnTo>
                  <a:pt x="808" y="246"/>
                </a:lnTo>
                <a:lnTo>
                  <a:pt x="810" y="248"/>
                </a:lnTo>
                <a:lnTo>
                  <a:pt x="811" y="250"/>
                </a:lnTo>
                <a:lnTo>
                  <a:pt x="812" y="253"/>
                </a:lnTo>
                <a:lnTo>
                  <a:pt x="813" y="255"/>
                </a:lnTo>
                <a:lnTo>
                  <a:pt x="812" y="258"/>
                </a:lnTo>
                <a:lnTo>
                  <a:pt x="811" y="262"/>
                </a:lnTo>
                <a:lnTo>
                  <a:pt x="810" y="264"/>
                </a:lnTo>
                <a:lnTo>
                  <a:pt x="808" y="266"/>
                </a:lnTo>
                <a:lnTo>
                  <a:pt x="806" y="268"/>
                </a:lnTo>
                <a:lnTo>
                  <a:pt x="804" y="269"/>
                </a:lnTo>
                <a:lnTo>
                  <a:pt x="800" y="270"/>
                </a:lnTo>
                <a:lnTo>
                  <a:pt x="797" y="271"/>
                </a:lnTo>
                <a:lnTo>
                  <a:pt x="677" y="270"/>
                </a:lnTo>
                <a:lnTo>
                  <a:pt x="674" y="270"/>
                </a:lnTo>
                <a:lnTo>
                  <a:pt x="672" y="269"/>
                </a:lnTo>
                <a:lnTo>
                  <a:pt x="669" y="268"/>
                </a:lnTo>
                <a:lnTo>
                  <a:pt x="666" y="266"/>
                </a:lnTo>
                <a:lnTo>
                  <a:pt x="665" y="264"/>
                </a:lnTo>
                <a:lnTo>
                  <a:pt x="663" y="262"/>
                </a:lnTo>
                <a:lnTo>
                  <a:pt x="662" y="258"/>
                </a:lnTo>
                <a:lnTo>
                  <a:pt x="662" y="255"/>
                </a:lnTo>
                <a:lnTo>
                  <a:pt x="662" y="253"/>
                </a:lnTo>
                <a:lnTo>
                  <a:pt x="663" y="250"/>
                </a:lnTo>
                <a:lnTo>
                  <a:pt x="665" y="248"/>
                </a:lnTo>
                <a:lnTo>
                  <a:pt x="666" y="246"/>
                </a:lnTo>
                <a:lnTo>
                  <a:pt x="669" y="243"/>
                </a:lnTo>
                <a:lnTo>
                  <a:pt x="672" y="242"/>
                </a:lnTo>
                <a:lnTo>
                  <a:pt x="674" y="241"/>
                </a:lnTo>
                <a:lnTo>
                  <a:pt x="677" y="240"/>
                </a:lnTo>
                <a:close/>
                <a:moveTo>
                  <a:pt x="482" y="150"/>
                </a:moveTo>
                <a:lnTo>
                  <a:pt x="903" y="150"/>
                </a:lnTo>
                <a:lnTo>
                  <a:pt x="903" y="75"/>
                </a:lnTo>
                <a:lnTo>
                  <a:pt x="902" y="68"/>
                </a:lnTo>
                <a:lnTo>
                  <a:pt x="901" y="60"/>
                </a:lnTo>
                <a:lnTo>
                  <a:pt x="899" y="54"/>
                </a:lnTo>
                <a:lnTo>
                  <a:pt x="897" y="47"/>
                </a:lnTo>
                <a:lnTo>
                  <a:pt x="894" y="40"/>
                </a:lnTo>
                <a:lnTo>
                  <a:pt x="889" y="34"/>
                </a:lnTo>
                <a:lnTo>
                  <a:pt x="885" y="28"/>
                </a:lnTo>
                <a:lnTo>
                  <a:pt x="880" y="22"/>
                </a:lnTo>
                <a:lnTo>
                  <a:pt x="874" y="18"/>
                </a:lnTo>
                <a:lnTo>
                  <a:pt x="869" y="13"/>
                </a:lnTo>
                <a:lnTo>
                  <a:pt x="863" y="10"/>
                </a:lnTo>
                <a:lnTo>
                  <a:pt x="856" y="6"/>
                </a:lnTo>
                <a:lnTo>
                  <a:pt x="850" y="3"/>
                </a:lnTo>
                <a:lnTo>
                  <a:pt x="842" y="1"/>
                </a:lnTo>
                <a:lnTo>
                  <a:pt x="835" y="0"/>
                </a:lnTo>
                <a:lnTo>
                  <a:pt x="828" y="0"/>
                </a:lnTo>
                <a:lnTo>
                  <a:pt x="279" y="0"/>
                </a:lnTo>
                <a:lnTo>
                  <a:pt x="272" y="0"/>
                </a:lnTo>
                <a:lnTo>
                  <a:pt x="264" y="1"/>
                </a:lnTo>
                <a:lnTo>
                  <a:pt x="258" y="2"/>
                </a:lnTo>
                <a:lnTo>
                  <a:pt x="251" y="4"/>
                </a:lnTo>
                <a:lnTo>
                  <a:pt x="245" y="7"/>
                </a:lnTo>
                <a:lnTo>
                  <a:pt x="240" y="11"/>
                </a:lnTo>
                <a:lnTo>
                  <a:pt x="234" y="14"/>
                </a:lnTo>
                <a:lnTo>
                  <a:pt x="230" y="18"/>
                </a:lnTo>
                <a:lnTo>
                  <a:pt x="226" y="24"/>
                </a:lnTo>
                <a:lnTo>
                  <a:pt x="221" y="28"/>
                </a:lnTo>
                <a:lnTo>
                  <a:pt x="218" y="33"/>
                </a:lnTo>
                <a:lnTo>
                  <a:pt x="216" y="40"/>
                </a:lnTo>
                <a:lnTo>
                  <a:pt x="214" y="46"/>
                </a:lnTo>
                <a:lnTo>
                  <a:pt x="212" y="53"/>
                </a:lnTo>
                <a:lnTo>
                  <a:pt x="211" y="59"/>
                </a:lnTo>
                <a:lnTo>
                  <a:pt x="211" y="66"/>
                </a:lnTo>
                <a:lnTo>
                  <a:pt x="211" y="150"/>
                </a:lnTo>
                <a:lnTo>
                  <a:pt x="361" y="150"/>
                </a:lnTo>
                <a:lnTo>
                  <a:pt x="371" y="151"/>
                </a:lnTo>
                <a:lnTo>
                  <a:pt x="382" y="152"/>
                </a:lnTo>
                <a:lnTo>
                  <a:pt x="392" y="154"/>
                </a:lnTo>
                <a:lnTo>
                  <a:pt x="401" y="158"/>
                </a:lnTo>
                <a:lnTo>
                  <a:pt x="411" y="161"/>
                </a:lnTo>
                <a:lnTo>
                  <a:pt x="421" y="166"/>
                </a:lnTo>
                <a:lnTo>
                  <a:pt x="429" y="172"/>
                </a:lnTo>
                <a:lnTo>
                  <a:pt x="438" y="178"/>
                </a:lnTo>
                <a:lnTo>
                  <a:pt x="445" y="184"/>
                </a:lnTo>
                <a:lnTo>
                  <a:pt x="453" y="192"/>
                </a:lnTo>
                <a:lnTo>
                  <a:pt x="459" y="199"/>
                </a:lnTo>
                <a:lnTo>
                  <a:pt x="464" y="209"/>
                </a:lnTo>
                <a:lnTo>
                  <a:pt x="468" y="218"/>
                </a:lnTo>
                <a:lnTo>
                  <a:pt x="471" y="227"/>
                </a:lnTo>
                <a:lnTo>
                  <a:pt x="473" y="238"/>
                </a:lnTo>
                <a:lnTo>
                  <a:pt x="474" y="249"/>
                </a:lnTo>
                <a:lnTo>
                  <a:pt x="474" y="291"/>
                </a:lnTo>
                <a:lnTo>
                  <a:pt x="473" y="302"/>
                </a:lnTo>
                <a:lnTo>
                  <a:pt x="471" y="313"/>
                </a:lnTo>
                <a:lnTo>
                  <a:pt x="468" y="323"/>
                </a:lnTo>
                <a:lnTo>
                  <a:pt x="463" y="333"/>
                </a:lnTo>
                <a:lnTo>
                  <a:pt x="457" y="342"/>
                </a:lnTo>
                <a:lnTo>
                  <a:pt x="451" y="350"/>
                </a:lnTo>
                <a:lnTo>
                  <a:pt x="443" y="357"/>
                </a:lnTo>
                <a:lnTo>
                  <a:pt x="436" y="365"/>
                </a:lnTo>
                <a:lnTo>
                  <a:pt x="427" y="370"/>
                </a:lnTo>
                <a:lnTo>
                  <a:pt x="418" y="375"/>
                </a:lnTo>
                <a:lnTo>
                  <a:pt x="408" y="381"/>
                </a:lnTo>
                <a:lnTo>
                  <a:pt x="398" y="384"/>
                </a:lnTo>
                <a:lnTo>
                  <a:pt x="390" y="387"/>
                </a:lnTo>
                <a:lnTo>
                  <a:pt x="380" y="389"/>
                </a:lnTo>
                <a:lnTo>
                  <a:pt x="370" y="390"/>
                </a:lnTo>
                <a:lnTo>
                  <a:pt x="361" y="391"/>
                </a:lnTo>
                <a:lnTo>
                  <a:pt x="304" y="391"/>
                </a:lnTo>
                <a:lnTo>
                  <a:pt x="297" y="405"/>
                </a:lnTo>
                <a:lnTo>
                  <a:pt x="289" y="424"/>
                </a:lnTo>
                <a:lnTo>
                  <a:pt x="283" y="433"/>
                </a:lnTo>
                <a:lnTo>
                  <a:pt x="277" y="443"/>
                </a:lnTo>
                <a:lnTo>
                  <a:pt x="270" y="453"/>
                </a:lnTo>
                <a:lnTo>
                  <a:pt x="261" y="463"/>
                </a:lnTo>
                <a:lnTo>
                  <a:pt x="252" y="473"/>
                </a:lnTo>
                <a:lnTo>
                  <a:pt x="243" y="482"/>
                </a:lnTo>
                <a:lnTo>
                  <a:pt x="232" y="490"/>
                </a:lnTo>
                <a:lnTo>
                  <a:pt x="220" y="498"/>
                </a:lnTo>
                <a:lnTo>
                  <a:pt x="208" y="503"/>
                </a:lnTo>
                <a:lnTo>
                  <a:pt x="194" y="507"/>
                </a:lnTo>
                <a:lnTo>
                  <a:pt x="181" y="511"/>
                </a:lnTo>
                <a:lnTo>
                  <a:pt x="166" y="512"/>
                </a:lnTo>
                <a:lnTo>
                  <a:pt x="162" y="512"/>
                </a:lnTo>
                <a:lnTo>
                  <a:pt x="160" y="511"/>
                </a:lnTo>
                <a:lnTo>
                  <a:pt x="157" y="509"/>
                </a:lnTo>
                <a:lnTo>
                  <a:pt x="155" y="507"/>
                </a:lnTo>
                <a:lnTo>
                  <a:pt x="153" y="505"/>
                </a:lnTo>
                <a:lnTo>
                  <a:pt x="152" y="503"/>
                </a:lnTo>
                <a:lnTo>
                  <a:pt x="150" y="500"/>
                </a:lnTo>
                <a:lnTo>
                  <a:pt x="150" y="497"/>
                </a:lnTo>
                <a:lnTo>
                  <a:pt x="150" y="493"/>
                </a:lnTo>
                <a:lnTo>
                  <a:pt x="152" y="491"/>
                </a:lnTo>
                <a:lnTo>
                  <a:pt x="153" y="488"/>
                </a:lnTo>
                <a:lnTo>
                  <a:pt x="155" y="486"/>
                </a:lnTo>
                <a:lnTo>
                  <a:pt x="157" y="484"/>
                </a:lnTo>
                <a:lnTo>
                  <a:pt x="160" y="483"/>
                </a:lnTo>
                <a:lnTo>
                  <a:pt x="162" y="482"/>
                </a:lnTo>
                <a:lnTo>
                  <a:pt x="166" y="482"/>
                </a:lnTo>
                <a:lnTo>
                  <a:pt x="173" y="482"/>
                </a:lnTo>
                <a:lnTo>
                  <a:pt x="179" y="481"/>
                </a:lnTo>
                <a:lnTo>
                  <a:pt x="186" y="478"/>
                </a:lnTo>
                <a:lnTo>
                  <a:pt x="192" y="477"/>
                </a:lnTo>
                <a:lnTo>
                  <a:pt x="204" y="472"/>
                </a:lnTo>
                <a:lnTo>
                  <a:pt x="216" y="464"/>
                </a:lnTo>
                <a:lnTo>
                  <a:pt x="226" y="456"/>
                </a:lnTo>
                <a:lnTo>
                  <a:pt x="235" y="447"/>
                </a:lnTo>
                <a:lnTo>
                  <a:pt x="244" y="438"/>
                </a:lnTo>
                <a:lnTo>
                  <a:pt x="251" y="427"/>
                </a:lnTo>
                <a:lnTo>
                  <a:pt x="263" y="407"/>
                </a:lnTo>
                <a:lnTo>
                  <a:pt x="272" y="389"/>
                </a:lnTo>
                <a:lnTo>
                  <a:pt x="277" y="376"/>
                </a:lnTo>
                <a:lnTo>
                  <a:pt x="279" y="371"/>
                </a:lnTo>
                <a:lnTo>
                  <a:pt x="281" y="367"/>
                </a:lnTo>
                <a:lnTo>
                  <a:pt x="285" y="364"/>
                </a:lnTo>
                <a:lnTo>
                  <a:pt x="289" y="361"/>
                </a:lnTo>
                <a:lnTo>
                  <a:pt x="293" y="361"/>
                </a:lnTo>
                <a:lnTo>
                  <a:pt x="296" y="361"/>
                </a:lnTo>
                <a:lnTo>
                  <a:pt x="361" y="361"/>
                </a:lnTo>
                <a:lnTo>
                  <a:pt x="368" y="360"/>
                </a:lnTo>
                <a:lnTo>
                  <a:pt x="375" y="359"/>
                </a:lnTo>
                <a:lnTo>
                  <a:pt x="381" y="358"/>
                </a:lnTo>
                <a:lnTo>
                  <a:pt x="389" y="356"/>
                </a:lnTo>
                <a:lnTo>
                  <a:pt x="395" y="353"/>
                </a:lnTo>
                <a:lnTo>
                  <a:pt x="403" y="350"/>
                </a:lnTo>
                <a:lnTo>
                  <a:pt x="409" y="346"/>
                </a:lnTo>
                <a:lnTo>
                  <a:pt x="415" y="342"/>
                </a:lnTo>
                <a:lnTo>
                  <a:pt x="421" y="337"/>
                </a:lnTo>
                <a:lnTo>
                  <a:pt x="427" y="331"/>
                </a:lnTo>
                <a:lnTo>
                  <a:pt x="431" y="326"/>
                </a:lnTo>
                <a:lnTo>
                  <a:pt x="436" y="320"/>
                </a:lnTo>
                <a:lnTo>
                  <a:pt x="439" y="313"/>
                </a:lnTo>
                <a:lnTo>
                  <a:pt x="442" y="307"/>
                </a:lnTo>
                <a:lnTo>
                  <a:pt x="443" y="299"/>
                </a:lnTo>
                <a:lnTo>
                  <a:pt x="444" y="291"/>
                </a:lnTo>
                <a:lnTo>
                  <a:pt x="444" y="249"/>
                </a:lnTo>
                <a:lnTo>
                  <a:pt x="443" y="241"/>
                </a:lnTo>
                <a:lnTo>
                  <a:pt x="442" y="234"/>
                </a:lnTo>
                <a:lnTo>
                  <a:pt x="439" y="226"/>
                </a:lnTo>
                <a:lnTo>
                  <a:pt x="436" y="220"/>
                </a:lnTo>
                <a:lnTo>
                  <a:pt x="431" y="213"/>
                </a:lnTo>
                <a:lnTo>
                  <a:pt x="427" y="208"/>
                </a:lnTo>
                <a:lnTo>
                  <a:pt x="421" y="203"/>
                </a:lnTo>
                <a:lnTo>
                  <a:pt x="415" y="198"/>
                </a:lnTo>
                <a:lnTo>
                  <a:pt x="409" y="194"/>
                </a:lnTo>
                <a:lnTo>
                  <a:pt x="403" y="191"/>
                </a:lnTo>
                <a:lnTo>
                  <a:pt x="395" y="188"/>
                </a:lnTo>
                <a:lnTo>
                  <a:pt x="389" y="184"/>
                </a:lnTo>
                <a:lnTo>
                  <a:pt x="375" y="181"/>
                </a:lnTo>
                <a:lnTo>
                  <a:pt x="361" y="180"/>
                </a:lnTo>
                <a:lnTo>
                  <a:pt x="211" y="180"/>
                </a:lnTo>
                <a:lnTo>
                  <a:pt x="211" y="182"/>
                </a:lnTo>
                <a:lnTo>
                  <a:pt x="191" y="186"/>
                </a:lnTo>
                <a:lnTo>
                  <a:pt x="172" y="190"/>
                </a:lnTo>
                <a:lnTo>
                  <a:pt x="153" y="196"/>
                </a:lnTo>
                <a:lnTo>
                  <a:pt x="134" y="204"/>
                </a:lnTo>
                <a:lnTo>
                  <a:pt x="116" y="213"/>
                </a:lnTo>
                <a:lnTo>
                  <a:pt x="99" y="225"/>
                </a:lnTo>
                <a:lnTo>
                  <a:pt x="82" y="238"/>
                </a:lnTo>
                <a:lnTo>
                  <a:pt x="67" y="253"/>
                </a:lnTo>
                <a:lnTo>
                  <a:pt x="59" y="262"/>
                </a:lnTo>
                <a:lnTo>
                  <a:pt x="53" y="270"/>
                </a:lnTo>
                <a:lnTo>
                  <a:pt x="45" y="280"/>
                </a:lnTo>
                <a:lnTo>
                  <a:pt x="39" y="290"/>
                </a:lnTo>
                <a:lnTo>
                  <a:pt x="34" y="300"/>
                </a:lnTo>
                <a:lnTo>
                  <a:pt x="28" y="311"/>
                </a:lnTo>
                <a:lnTo>
                  <a:pt x="23" y="322"/>
                </a:lnTo>
                <a:lnTo>
                  <a:pt x="19" y="335"/>
                </a:lnTo>
                <a:lnTo>
                  <a:pt x="14" y="346"/>
                </a:lnTo>
                <a:lnTo>
                  <a:pt x="11" y="360"/>
                </a:lnTo>
                <a:lnTo>
                  <a:pt x="8" y="373"/>
                </a:lnTo>
                <a:lnTo>
                  <a:pt x="5" y="388"/>
                </a:lnTo>
                <a:lnTo>
                  <a:pt x="2" y="403"/>
                </a:lnTo>
                <a:lnTo>
                  <a:pt x="1" y="418"/>
                </a:lnTo>
                <a:lnTo>
                  <a:pt x="0" y="434"/>
                </a:lnTo>
                <a:lnTo>
                  <a:pt x="0" y="452"/>
                </a:lnTo>
                <a:lnTo>
                  <a:pt x="0" y="572"/>
                </a:lnTo>
                <a:lnTo>
                  <a:pt x="0" y="582"/>
                </a:lnTo>
                <a:lnTo>
                  <a:pt x="1" y="593"/>
                </a:lnTo>
                <a:lnTo>
                  <a:pt x="2" y="603"/>
                </a:lnTo>
                <a:lnTo>
                  <a:pt x="5" y="614"/>
                </a:lnTo>
                <a:lnTo>
                  <a:pt x="10" y="633"/>
                </a:lnTo>
                <a:lnTo>
                  <a:pt x="18" y="652"/>
                </a:lnTo>
                <a:lnTo>
                  <a:pt x="26" y="670"/>
                </a:lnTo>
                <a:lnTo>
                  <a:pt x="37" y="688"/>
                </a:lnTo>
                <a:lnTo>
                  <a:pt x="50" y="705"/>
                </a:lnTo>
                <a:lnTo>
                  <a:pt x="64" y="720"/>
                </a:lnTo>
                <a:lnTo>
                  <a:pt x="79" y="734"/>
                </a:lnTo>
                <a:lnTo>
                  <a:pt x="95" y="745"/>
                </a:lnTo>
                <a:lnTo>
                  <a:pt x="112" y="756"/>
                </a:lnTo>
                <a:lnTo>
                  <a:pt x="130" y="766"/>
                </a:lnTo>
                <a:lnTo>
                  <a:pt x="149" y="773"/>
                </a:lnTo>
                <a:lnTo>
                  <a:pt x="170" y="779"/>
                </a:lnTo>
                <a:lnTo>
                  <a:pt x="179" y="780"/>
                </a:lnTo>
                <a:lnTo>
                  <a:pt x="190" y="782"/>
                </a:lnTo>
                <a:lnTo>
                  <a:pt x="200" y="782"/>
                </a:lnTo>
                <a:lnTo>
                  <a:pt x="211" y="783"/>
                </a:lnTo>
                <a:lnTo>
                  <a:pt x="492" y="783"/>
                </a:lnTo>
                <a:lnTo>
                  <a:pt x="498" y="782"/>
                </a:lnTo>
                <a:lnTo>
                  <a:pt x="505" y="781"/>
                </a:lnTo>
                <a:lnTo>
                  <a:pt x="511" y="780"/>
                </a:lnTo>
                <a:lnTo>
                  <a:pt x="517" y="777"/>
                </a:lnTo>
                <a:lnTo>
                  <a:pt x="523" y="773"/>
                </a:lnTo>
                <a:lnTo>
                  <a:pt x="529" y="770"/>
                </a:lnTo>
                <a:lnTo>
                  <a:pt x="533" y="766"/>
                </a:lnTo>
                <a:lnTo>
                  <a:pt x="538" y="762"/>
                </a:lnTo>
                <a:lnTo>
                  <a:pt x="542" y="756"/>
                </a:lnTo>
                <a:lnTo>
                  <a:pt x="546" y="750"/>
                </a:lnTo>
                <a:lnTo>
                  <a:pt x="549" y="744"/>
                </a:lnTo>
                <a:lnTo>
                  <a:pt x="552" y="737"/>
                </a:lnTo>
                <a:lnTo>
                  <a:pt x="554" y="730"/>
                </a:lnTo>
                <a:lnTo>
                  <a:pt x="556" y="723"/>
                </a:lnTo>
                <a:lnTo>
                  <a:pt x="557" y="715"/>
                </a:lnTo>
                <a:lnTo>
                  <a:pt x="557" y="708"/>
                </a:lnTo>
                <a:lnTo>
                  <a:pt x="556" y="695"/>
                </a:lnTo>
                <a:lnTo>
                  <a:pt x="554" y="683"/>
                </a:lnTo>
                <a:lnTo>
                  <a:pt x="549" y="673"/>
                </a:lnTo>
                <a:lnTo>
                  <a:pt x="544" y="662"/>
                </a:lnTo>
                <a:lnTo>
                  <a:pt x="647" y="662"/>
                </a:lnTo>
                <a:lnTo>
                  <a:pt x="655" y="662"/>
                </a:lnTo>
                <a:lnTo>
                  <a:pt x="662" y="661"/>
                </a:lnTo>
                <a:lnTo>
                  <a:pt x="669" y="659"/>
                </a:lnTo>
                <a:lnTo>
                  <a:pt x="676" y="656"/>
                </a:lnTo>
                <a:lnTo>
                  <a:pt x="682" y="653"/>
                </a:lnTo>
                <a:lnTo>
                  <a:pt x="689" y="649"/>
                </a:lnTo>
                <a:lnTo>
                  <a:pt x="694" y="645"/>
                </a:lnTo>
                <a:lnTo>
                  <a:pt x="700" y="639"/>
                </a:lnTo>
                <a:lnTo>
                  <a:pt x="705" y="634"/>
                </a:lnTo>
                <a:lnTo>
                  <a:pt x="709" y="629"/>
                </a:lnTo>
                <a:lnTo>
                  <a:pt x="714" y="622"/>
                </a:lnTo>
                <a:lnTo>
                  <a:pt x="717" y="616"/>
                </a:lnTo>
                <a:lnTo>
                  <a:pt x="719" y="609"/>
                </a:lnTo>
                <a:lnTo>
                  <a:pt x="721" y="602"/>
                </a:lnTo>
                <a:lnTo>
                  <a:pt x="722" y="594"/>
                </a:lnTo>
                <a:lnTo>
                  <a:pt x="722" y="587"/>
                </a:lnTo>
                <a:lnTo>
                  <a:pt x="722" y="579"/>
                </a:lnTo>
                <a:lnTo>
                  <a:pt x="721" y="572"/>
                </a:lnTo>
                <a:lnTo>
                  <a:pt x="719" y="565"/>
                </a:lnTo>
                <a:lnTo>
                  <a:pt x="717" y="558"/>
                </a:lnTo>
                <a:lnTo>
                  <a:pt x="714" y="551"/>
                </a:lnTo>
                <a:lnTo>
                  <a:pt x="709" y="546"/>
                </a:lnTo>
                <a:lnTo>
                  <a:pt x="705" y="540"/>
                </a:lnTo>
                <a:lnTo>
                  <a:pt x="700" y="534"/>
                </a:lnTo>
                <a:lnTo>
                  <a:pt x="694" y="530"/>
                </a:lnTo>
                <a:lnTo>
                  <a:pt x="689" y="525"/>
                </a:lnTo>
                <a:lnTo>
                  <a:pt x="682" y="521"/>
                </a:lnTo>
                <a:lnTo>
                  <a:pt x="676" y="518"/>
                </a:lnTo>
                <a:lnTo>
                  <a:pt x="669" y="515"/>
                </a:lnTo>
                <a:lnTo>
                  <a:pt x="662" y="514"/>
                </a:lnTo>
                <a:lnTo>
                  <a:pt x="655" y="512"/>
                </a:lnTo>
                <a:lnTo>
                  <a:pt x="647" y="512"/>
                </a:lnTo>
                <a:lnTo>
                  <a:pt x="301" y="512"/>
                </a:lnTo>
                <a:lnTo>
                  <a:pt x="293" y="511"/>
                </a:lnTo>
                <a:lnTo>
                  <a:pt x="287" y="508"/>
                </a:lnTo>
                <a:lnTo>
                  <a:pt x="279" y="505"/>
                </a:lnTo>
                <a:lnTo>
                  <a:pt x="273" y="501"/>
                </a:lnTo>
                <a:lnTo>
                  <a:pt x="267" y="496"/>
                </a:lnTo>
                <a:lnTo>
                  <a:pt x="263" y="489"/>
                </a:lnTo>
                <a:lnTo>
                  <a:pt x="259" y="483"/>
                </a:lnTo>
                <a:lnTo>
                  <a:pt x="257" y="475"/>
                </a:lnTo>
                <a:lnTo>
                  <a:pt x="264" y="478"/>
                </a:lnTo>
                <a:lnTo>
                  <a:pt x="271" y="479"/>
                </a:lnTo>
                <a:lnTo>
                  <a:pt x="278" y="482"/>
                </a:lnTo>
                <a:lnTo>
                  <a:pt x="286" y="482"/>
                </a:lnTo>
                <a:lnTo>
                  <a:pt x="828" y="482"/>
                </a:lnTo>
                <a:lnTo>
                  <a:pt x="836" y="482"/>
                </a:lnTo>
                <a:lnTo>
                  <a:pt x="842" y="479"/>
                </a:lnTo>
                <a:lnTo>
                  <a:pt x="850" y="478"/>
                </a:lnTo>
                <a:lnTo>
                  <a:pt x="856" y="475"/>
                </a:lnTo>
                <a:lnTo>
                  <a:pt x="863" y="472"/>
                </a:lnTo>
                <a:lnTo>
                  <a:pt x="869" y="469"/>
                </a:lnTo>
                <a:lnTo>
                  <a:pt x="876" y="463"/>
                </a:lnTo>
                <a:lnTo>
                  <a:pt x="881" y="459"/>
                </a:lnTo>
                <a:lnTo>
                  <a:pt x="885" y="454"/>
                </a:lnTo>
                <a:lnTo>
                  <a:pt x="889" y="447"/>
                </a:lnTo>
                <a:lnTo>
                  <a:pt x="894" y="442"/>
                </a:lnTo>
                <a:lnTo>
                  <a:pt x="897" y="435"/>
                </a:lnTo>
                <a:lnTo>
                  <a:pt x="899" y="428"/>
                </a:lnTo>
                <a:lnTo>
                  <a:pt x="901" y="422"/>
                </a:lnTo>
                <a:lnTo>
                  <a:pt x="902" y="414"/>
                </a:lnTo>
                <a:lnTo>
                  <a:pt x="903" y="407"/>
                </a:lnTo>
                <a:lnTo>
                  <a:pt x="903" y="180"/>
                </a:lnTo>
                <a:lnTo>
                  <a:pt x="482" y="180"/>
                </a:lnTo>
                <a:lnTo>
                  <a:pt x="479" y="180"/>
                </a:lnTo>
                <a:lnTo>
                  <a:pt x="475" y="179"/>
                </a:lnTo>
                <a:lnTo>
                  <a:pt x="473" y="178"/>
                </a:lnTo>
                <a:lnTo>
                  <a:pt x="471" y="176"/>
                </a:lnTo>
                <a:lnTo>
                  <a:pt x="469" y="174"/>
                </a:lnTo>
                <a:lnTo>
                  <a:pt x="468" y="172"/>
                </a:lnTo>
                <a:lnTo>
                  <a:pt x="467" y="168"/>
                </a:lnTo>
                <a:lnTo>
                  <a:pt x="467" y="165"/>
                </a:lnTo>
                <a:lnTo>
                  <a:pt x="467" y="162"/>
                </a:lnTo>
                <a:lnTo>
                  <a:pt x="468" y="160"/>
                </a:lnTo>
                <a:lnTo>
                  <a:pt x="469" y="157"/>
                </a:lnTo>
                <a:lnTo>
                  <a:pt x="471" y="154"/>
                </a:lnTo>
                <a:lnTo>
                  <a:pt x="473" y="153"/>
                </a:lnTo>
                <a:lnTo>
                  <a:pt x="475" y="151"/>
                </a:lnTo>
                <a:lnTo>
                  <a:pt x="479" y="150"/>
                </a:lnTo>
                <a:lnTo>
                  <a:pt x="482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2" name="Rectangle: Rounded Corners 51"/>
          <p:cNvSpPr/>
          <p:nvPr/>
        </p:nvSpPr>
        <p:spPr>
          <a:xfrm rot="2700000">
            <a:off x="6888069" y="3700036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: Rounded Corners 52"/>
          <p:cNvSpPr/>
          <p:nvPr/>
        </p:nvSpPr>
        <p:spPr>
          <a:xfrm rot="2700000">
            <a:off x="6888069" y="4818969"/>
            <a:ext cx="559571" cy="559572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5" name="Group 54"/>
          <p:cNvGrpSpPr/>
          <p:nvPr/>
        </p:nvGrpSpPr>
        <p:grpSpPr>
          <a:xfrm>
            <a:off x="7024979" y="3850637"/>
            <a:ext cx="285750" cy="220663"/>
            <a:chOff x="3746500" y="800100"/>
            <a:chExt cx="285750" cy="220663"/>
          </a:xfrm>
          <a:solidFill>
            <a:schemeClr val="bg1"/>
          </a:solidFill>
        </p:grpSpPr>
        <p:sp>
          <p:nvSpPr>
            <p:cNvPr id="56" name="Freeform 307"/>
            <p:cNvSpPr>
              <a:spLocks/>
            </p:cNvSpPr>
            <p:nvPr/>
          </p:nvSpPr>
          <p:spPr bwMode="auto">
            <a:xfrm>
              <a:off x="3786188" y="917575"/>
              <a:ext cx="33338" cy="33338"/>
            </a:xfrm>
            <a:custGeom>
              <a:avLst/>
              <a:gdLst>
                <a:gd name="T0" fmla="*/ 0 w 105"/>
                <a:gd name="T1" fmla="*/ 105 h 105"/>
                <a:gd name="T2" fmla="*/ 105 w 105"/>
                <a:gd name="T3" fmla="*/ 75 h 105"/>
                <a:gd name="T4" fmla="*/ 30 w 105"/>
                <a:gd name="T5" fmla="*/ 0 h 105"/>
                <a:gd name="T6" fmla="*/ 0 w 105"/>
                <a:gd name="T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105">
                  <a:moveTo>
                    <a:pt x="0" y="105"/>
                  </a:moveTo>
                  <a:lnTo>
                    <a:pt x="105" y="75"/>
                  </a:lnTo>
                  <a:lnTo>
                    <a:pt x="3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7" name="Freeform 308"/>
            <p:cNvSpPr>
              <a:spLocks noEditPoints="1"/>
            </p:cNvSpPr>
            <p:nvPr/>
          </p:nvSpPr>
          <p:spPr bwMode="auto">
            <a:xfrm>
              <a:off x="3746500" y="857250"/>
              <a:ext cx="285750" cy="163513"/>
            </a:xfrm>
            <a:custGeom>
              <a:avLst/>
              <a:gdLst>
                <a:gd name="T0" fmla="*/ 466 w 903"/>
                <a:gd name="T1" fmla="*/ 241 h 512"/>
                <a:gd name="T2" fmla="*/ 461 w 903"/>
                <a:gd name="T3" fmla="*/ 240 h 512"/>
                <a:gd name="T4" fmla="*/ 455 w 903"/>
                <a:gd name="T5" fmla="*/ 236 h 512"/>
                <a:gd name="T6" fmla="*/ 452 w 903"/>
                <a:gd name="T7" fmla="*/ 232 h 512"/>
                <a:gd name="T8" fmla="*/ 451 w 903"/>
                <a:gd name="T9" fmla="*/ 226 h 512"/>
                <a:gd name="T10" fmla="*/ 452 w 903"/>
                <a:gd name="T11" fmla="*/ 220 h 512"/>
                <a:gd name="T12" fmla="*/ 455 w 903"/>
                <a:gd name="T13" fmla="*/ 215 h 512"/>
                <a:gd name="T14" fmla="*/ 461 w 903"/>
                <a:gd name="T15" fmla="*/ 212 h 512"/>
                <a:gd name="T16" fmla="*/ 466 w 903"/>
                <a:gd name="T17" fmla="*/ 211 h 512"/>
                <a:gd name="T18" fmla="*/ 771 w 903"/>
                <a:gd name="T19" fmla="*/ 211 h 512"/>
                <a:gd name="T20" fmla="*/ 776 w 903"/>
                <a:gd name="T21" fmla="*/ 214 h 512"/>
                <a:gd name="T22" fmla="*/ 780 w 903"/>
                <a:gd name="T23" fmla="*/ 217 h 512"/>
                <a:gd name="T24" fmla="*/ 783 w 903"/>
                <a:gd name="T25" fmla="*/ 222 h 512"/>
                <a:gd name="T26" fmla="*/ 783 w 903"/>
                <a:gd name="T27" fmla="*/ 229 h 512"/>
                <a:gd name="T28" fmla="*/ 780 w 903"/>
                <a:gd name="T29" fmla="*/ 234 h 512"/>
                <a:gd name="T30" fmla="*/ 776 w 903"/>
                <a:gd name="T31" fmla="*/ 239 h 512"/>
                <a:gd name="T32" fmla="*/ 771 w 903"/>
                <a:gd name="T33" fmla="*/ 241 h 512"/>
                <a:gd name="T34" fmla="*/ 768 w 903"/>
                <a:gd name="T35" fmla="*/ 362 h 512"/>
                <a:gd name="T36" fmla="*/ 313 w 903"/>
                <a:gd name="T37" fmla="*/ 361 h 512"/>
                <a:gd name="T38" fmla="*/ 307 w 903"/>
                <a:gd name="T39" fmla="*/ 359 h 512"/>
                <a:gd name="T40" fmla="*/ 303 w 903"/>
                <a:gd name="T41" fmla="*/ 354 h 512"/>
                <a:gd name="T42" fmla="*/ 301 w 903"/>
                <a:gd name="T43" fmla="*/ 349 h 512"/>
                <a:gd name="T44" fmla="*/ 301 w 903"/>
                <a:gd name="T45" fmla="*/ 344 h 512"/>
                <a:gd name="T46" fmla="*/ 303 w 903"/>
                <a:gd name="T47" fmla="*/ 338 h 512"/>
                <a:gd name="T48" fmla="*/ 307 w 903"/>
                <a:gd name="T49" fmla="*/ 334 h 512"/>
                <a:gd name="T50" fmla="*/ 313 w 903"/>
                <a:gd name="T51" fmla="*/ 332 h 512"/>
                <a:gd name="T52" fmla="*/ 768 w 903"/>
                <a:gd name="T53" fmla="*/ 331 h 512"/>
                <a:gd name="T54" fmla="*/ 774 w 903"/>
                <a:gd name="T55" fmla="*/ 333 h 512"/>
                <a:gd name="T56" fmla="*/ 778 w 903"/>
                <a:gd name="T57" fmla="*/ 336 h 512"/>
                <a:gd name="T58" fmla="*/ 781 w 903"/>
                <a:gd name="T59" fmla="*/ 340 h 512"/>
                <a:gd name="T60" fmla="*/ 783 w 903"/>
                <a:gd name="T61" fmla="*/ 347 h 512"/>
                <a:gd name="T62" fmla="*/ 781 w 903"/>
                <a:gd name="T63" fmla="*/ 352 h 512"/>
                <a:gd name="T64" fmla="*/ 778 w 903"/>
                <a:gd name="T65" fmla="*/ 357 h 512"/>
                <a:gd name="T66" fmla="*/ 773 w 903"/>
                <a:gd name="T67" fmla="*/ 360 h 512"/>
                <a:gd name="T68" fmla="*/ 768 w 903"/>
                <a:gd name="T69" fmla="*/ 362 h 512"/>
                <a:gd name="T70" fmla="*/ 548 w 903"/>
                <a:gd name="T71" fmla="*/ 0 h 512"/>
                <a:gd name="T72" fmla="*/ 261 w 903"/>
                <a:gd name="T73" fmla="*/ 286 h 512"/>
                <a:gd name="T74" fmla="*/ 111 w 903"/>
                <a:gd name="T75" fmla="*/ 330 h 512"/>
                <a:gd name="T76" fmla="*/ 107 w 903"/>
                <a:gd name="T77" fmla="*/ 330 h 512"/>
                <a:gd name="T78" fmla="*/ 100 w 903"/>
                <a:gd name="T79" fmla="*/ 329 h 512"/>
                <a:gd name="T80" fmla="*/ 96 w 903"/>
                <a:gd name="T81" fmla="*/ 325 h 512"/>
                <a:gd name="T82" fmla="*/ 92 w 903"/>
                <a:gd name="T83" fmla="*/ 319 h 512"/>
                <a:gd name="T84" fmla="*/ 92 w 903"/>
                <a:gd name="T85" fmla="*/ 310 h 512"/>
                <a:gd name="T86" fmla="*/ 136 w 903"/>
                <a:gd name="T87" fmla="*/ 160 h 512"/>
                <a:gd name="T88" fmla="*/ 295 w 903"/>
                <a:gd name="T89" fmla="*/ 0 h 512"/>
                <a:gd name="T90" fmla="*/ 11 w 903"/>
                <a:gd name="T91" fmla="*/ 0 h 512"/>
                <a:gd name="T92" fmla="*/ 6 w 903"/>
                <a:gd name="T93" fmla="*/ 3 h 512"/>
                <a:gd name="T94" fmla="*/ 3 w 903"/>
                <a:gd name="T95" fmla="*/ 7 h 512"/>
                <a:gd name="T96" fmla="*/ 1 w 903"/>
                <a:gd name="T97" fmla="*/ 12 h 512"/>
                <a:gd name="T98" fmla="*/ 0 w 903"/>
                <a:gd name="T99" fmla="*/ 497 h 512"/>
                <a:gd name="T100" fmla="*/ 1 w 903"/>
                <a:gd name="T101" fmla="*/ 502 h 512"/>
                <a:gd name="T102" fmla="*/ 4 w 903"/>
                <a:gd name="T103" fmla="*/ 508 h 512"/>
                <a:gd name="T104" fmla="*/ 9 w 903"/>
                <a:gd name="T105" fmla="*/ 511 h 512"/>
                <a:gd name="T106" fmla="*/ 15 w 903"/>
                <a:gd name="T107" fmla="*/ 512 h 512"/>
                <a:gd name="T108" fmla="*/ 891 w 903"/>
                <a:gd name="T109" fmla="*/ 512 h 512"/>
                <a:gd name="T110" fmla="*/ 896 w 903"/>
                <a:gd name="T111" fmla="*/ 509 h 512"/>
                <a:gd name="T112" fmla="*/ 901 w 903"/>
                <a:gd name="T113" fmla="*/ 506 h 512"/>
                <a:gd name="T114" fmla="*/ 903 w 903"/>
                <a:gd name="T115" fmla="*/ 500 h 512"/>
                <a:gd name="T116" fmla="*/ 903 w 903"/>
                <a:gd name="T117" fmla="*/ 15 h 512"/>
                <a:gd name="T118" fmla="*/ 902 w 903"/>
                <a:gd name="T119" fmla="*/ 9 h 512"/>
                <a:gd name="T120" fmla="*/ 898 w 903"/>
                <a:gd name="T121" fmla="*/ 5 h 512"/>
                <a:gd name="T122" fmla="*/ 894 w 903"/>
                <a:gd name="T123" fmla="*/ 1 h 512"/>
                <a:gd name="T124" fmla="*/ 888 w 903"/>
                <a:gd name="T125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512">
                  <a:moveTo>
                    <a:pt x="768" y="241"/>
                  </a:moveTo>
                  <a:lnTo>
                    <a:pt x="466" y="241"/>
                  </a:lnTo>
                  <a:lnTo>
                    <a:pt x="464" y="241"/>
                  </a:lnTo>
                  <a:lnTo>
                    <a:pt x="461" y="240"/>
                  </a:lnTo>
                  <a:lnTo>
                    <a:pt x="459" y="239"/>
                  </a:lnTo>
                  <a:lnTo>
                    <a:pt x="455" y="236"/>
                  </a:lnTo>
                  <a:lnTo>
                    <a:pt x="454" y="234"/>
                  </a:lnTo>
                  <a:lnTo>
                    <a:pt x="452" y="232"/>
                  </a:lnTo>
                  <a:lnTo>
                    <a:pt x="452" y="229"/>
                  </a:lnTo>
                  <a:lnTo>
                    <a:pt x="451" y="226"/>
                  </a:lnTo>
                  <a:lnTo>
                    <a:pt x="452" y="222"/>
                  </a:lnTo>
                  <a:lnTo>
                    <a:pt x="452" y="220"/>
                  </a:lnTo>
                  <a:lnTo>
                    <a:pt x="454" y="217"/>
                  </a:lnTo>
                  <a:lnTo>
                    <a:pt x="455" y="215"/>
                  </a:lnTo>
                  <a:lnTo>
                    <a:pt x="459" y="214"/>
                  </a:lnTo>
                  <a:lnTo>
                    <a:pt x="461" y="212"/>
                  </a:lnTo>
                  <a:lnTo>
                    <a:pt x="464" y="212"/>
                  </a:lnTo>
                  <a:lnTo>
                    <a:pt x="466" y="211"/>
                  </a:lnTo>
                  <a:lnTo>
                    <a:pt x="768" y="211"/>
                  </a:lnTo>
                  <a:lnTo>
                    <a:pt x="771" y="211"/>
                  </a:lnTo>
                  <a:lnTo>
                    <a:pt x="774" y="212"/>
                  </a:lnTo>
                  <a:lnTo>
                    <a:pt x="776" y="214"/>
                  </a:lnTo>
                  <a:lnTo>
                    <a:pt x="778" y="215"/>
                  </a:lnTo>
                  <a:lnTo>
                    <a:pt x="780" y="217"/>
                  </a:lnTo>
                  <a:lnTo>
                    <a:pt x="781" y="220"/>
                  </a:lnTo>
                  <a:lnTo>
                    <a:pt x="783" y="222"/>
                  </a:lnTo>
                  <a:lnTo>
                    <a:pt x="783" y="226"/>
                  </a:lnTo>
                  <a:lnTo>
                    <a:pt x="783" y="229"/>
                  </a:lnTo>
                  <a:lnTo>
                    <a:pt x="781" y="232"/>
                  </a:lnTo>
                  <a:lnTo>
                    <a:pt x="780" y="234"/>
                  </a:lnTo>
                  <a:lnTo>
                    <a:pt x="778" y="236"/>
                  </a:lnTo>
                  <a:lnTo>
                    <a:pt x="776" y="239"/>
                  </a:lnTo>
                  <a:lnTo>
                    <a:pt x="773" y="240"/>
                  </a:lnTo>
                  <a:lnTo>
                    <a:pt x="771" y="241"/>
                  </a:lnTo>
                  <a:lnTo>
                    <a:pt x="768" y="241"/>
                  </a:lnTo>
                  <a:close/>
                  <a:moveTo>
                    <a:pt x="768" y="362"/>
                  </a:moveTo>
                  <a:lnTo>
                    <a:pt x="316" y="362"/>
                  </a:lnTo>
                  <a:lnTo>
                    <a:pt x="313" y="361"/>
                  </a:lnTo>
                  <a:lnTo>
                    <a:pt x="311" y="360"/>
                  </a:lnTo>
                  <a:lnTo>
                    <a:pt x="307" y="359"/>
                  </a:lnTo>
                  <a:lnTo>
                    <a:pt x="305" y="357"/>
                  </a:lnTo>
                  <a:lnTo>
                    <a:pt x="303" y="354"/>
                  </a:lnTo>
                  <a:lnTo>
                    <a:pt x="302" y="352"/>
                  </a:lnTo>
                  <a:lnTo>
                    <a:pt x="301" y="349"/>
                  </a:lnTo>
                  <a:lnTo>
                    <a:pt x="301" y="347"/>
                  </a:lnTo>
                  <a:lnTo>
                    <a:pt x="301" y="344"/>
                  </a:lnTo>
                  <a:lnTo>
                    <a:pt x="302" y="340"/>
                  </a:lnTo>
                  <a:lnTo>
                    <a:pt x="303" y="338"/>
                  </a:lnTo>
                  <a:lnTo>
                    <a:pt x="305" y="336"/>
                  </a:lnTo>
                  <a:lnTo>
                    <a:pt x="307" y="334"/>
                  </a:lnTo>
                  <a:lnTo>
                    <a:pt x="311" y="333"/>
                  </a:lnTo>
                  <a:lnTo>
                    <a:pt x="313" y="332"/>
                  </a:lnTo>
                  <a:lnTo>
                    <a:pt x="316" y="332"/>
                  </a:lnTo>
                  <a:lnTo>
                    <a:pt x="768" y="331"/>
                  </a:lnTo>
                  <a:lnTo>
                    <a:pt x="771" y="332"/>
                  </a:lnTo>
                  <a:lnTo>
                    <a:pt x="774" y="333"/>
                  </a:lnTo>
                  <a:lnTo>
                    <a:pt x="776" y="334"/>
                  </a:lnTo>
                  <a:lnTo>
                    <a:pt x="778" y="336"/>
                  </a:lnTo>
                  <a:lnTo>
                    <a:pt x="780" y="338"/>
                  </a:lnTo>
                  <a:lnTo>
                    <a:pt x="781" y="340"/>
                  </a:lnTo>
                  <a:lnTo>
                    <a:pt x="783" y="344"/>
                  </a:lnTo>
                  <a:lnTo>
                    <a:pt x="783" y="347"/>
                  </a:lnTo>
                  <a:lnTo>
                    <a:pt x="783" y="349"/>
                  </a:lnTo>
                  <a:lnTo>
                    <a:pt x="781" y="352"/>
                  </a:lnTo>
                  <a:lnTo>
                    <a:pt x="780" y="354"/>
                  </a:lnTo>
                  <a:lnTo>
                    <a:pt x="778" y="357"/>
                  </a:lnTo>
                  <a:lnTo>
                    <a:pt x="776" y="359"/>
                  </a:lnTo>
                  <a:lnTo>
                    <a:pt x="773" y="360"/>
                  </a:lnTo>
                  <a:lnTo>
                    <a:pt x="771" y="361"/>
                  </a:lnTo>
                  <a:lnTo>
                    <a:pt x="768" y="362"/>
                  </a:lnTo>
                  <a:close/>
                  <a:moveTo>
                    <a:pt x="888" y="0"/>
                  </a:moveTo>
                  <a:lnTo>
                    <a:pt x="548" y="0"/>
                  </a:lnTo>
                  <a:lnTo>
                    <a:pt x="265" y="284"/>
                  </a:lnTo>
                  <a:lnTo>
                    <a:pt x="261" y="286"/>
                  </a:lnTo>
                  <a:lnTo>
                    <a:pt x="258" y="288"/>
                  </a:lnTo>
                  <a:lnTo>
                    <a:pt x="111" y="330"/>
                  </a:lnTo>
                  <a:lnTo>
                    <a:pt x="109" y="330"/>
                  </a:lnTo>
                  <a:lnTo>
                    <a:pt x="107" y="330"/>
                  </a:lnTo>
                  <a:lnTo>
                    <a:pt x="104" y="330"/>
                  </a:lnTo>
                  <a:lnTo>
                    <a:pt x="100" y="329"/>
                  </a:lnTo>
                  <a:lnTo>
                    <a:pt x="98" y="328"/>
                  </a:lnTo>
                  <a:lnTo>
                    <a:pt x="96" y="325"/>
                  </a:lnTo>
                  <a:lnTo>
                    <a:pt x="94" y="322"/>
                  </a:lnTo>
                  <a:lnTo>
                    <a:pt x="92" y="319"/>
                  </a:lnTo>
                  <a:lnTo>
                    <a:pt x="92" y="315"/>
                  </a:lnTo>
                  <a:lnTo>
                    <a:pt x="92" y="310"/>
                  </a:lnTo>
                  <a:lnTo>
                    <a:pt x="134" y="163"/>
                  </a:lnTo>
                  <a:lnTo>
                    <a:pt x="136" y="160"/>
                  </a:lnTo>
                  <a:lnTo>
                    <a:pt x="138" y="157"/>
                  </a:lnTo>
                  <a:lnTo>
                    <a:pt x="29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7"/>
                  </a:lnTo>
                  <a:lnTo>
                    <a:pt x="1" y="500"/>
                  </a:lnTo>
                  <a:lnTo>
                    <a:pt x="1" y="502"/>
                  </a:lnTo>
                  <a:lnTo>
                    <a:pt x="3" y="506"/>
                  </a:lnTo>
                  <a:lnTo>
                    <a:pt x="4" y="508"/>
                  </a:lnTo>
                  <a:lnTo>
                    <a:pt x="6" y="510"/>
                  </a:lnTo>
                  <a:lnTo>
                    <a:pt x="9" y="511"/>
                  </a:lnTo>
                  <a:lnTo>
                    <a:pt x="11" y="512"/>
                  </a:lnTo>
                  <a:lnTo>
                    <a:pt x="15" y="512"/>
                  </a:lnTo>
                  <a:lnTo>
                    <a:pt x="888" y="512"/>
                  </a:lnTo>
                  <a:lnTo>
                    <a:pt x="891" y="512"/>
                  </a:lnTo>
                  <a:lnTo>
                    <a:pt x="894" y="511"/>
                  </a:lnTo>
                  <a:lnTo>
                    <a:pt x="896" y="509"/>
                  </a:lnTo>
                  <a:lnTo>
                    <a:pt x="898" y="508"/>
                  </a:lnTo>
                  <a:lnTo>
                    <a:pt x="901" y="506"/>
                  </a:lnTo>
                  <a:lnTo>
                    <a:pt x="902" y="502"/>
                  </a:lnTo>
                  <a:lnTo>
                    <a:pt x="903" y="500"/>
                  </a:lnTo>
                  <a:lnTo>
                    <a:pt x="903" y="497"/>
                  </a:lnTo>
                  <a:lnTo>
                    <a:pt x="903" y="15"/>
                  </a:lnTo>
                  <a:lnTo>
                    <a:pt x="903" y="12"/>
                  </a:lnTo>
                  <a:lnTo>
                    <a:pt x="902" y="9"/>
                  </a:lnTo>
                  <a:lnTo>
                    <a:pt x="901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4" y="1"/>
                  </a:lnTo>
                  <a:lnTo>
                    <a:pt x="891" y="0"/>
                  </a:lnTo>
                  <a:lnTo>
                    <a:pt x="888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8" name="Freeform 309"/>
            <p:cNvSpPr>
              <a:spLocks/>
            </p:cNvSpPr>
            <p:nvPr/>
          </p:nvSpPr>
          <p:spPr bwMode="auto">
            <a:xfrm>
              <a:off x="3802063" y="841375"/>
              <a:ext cx="95250" cy="93663"/>
            </a:xfrm>
            <a:custGeom>
              <a:avLst/>
              <a:gdLst>
                <a:gd name="T0" fmla="*/ 299 w 299"/>
                <a:gd name="T1" fmla="*/ 83 h 299"/>
                <a:gd name="T2" fmla="*/ 215 w 299"/>
                <a:gd name="T3" fmla="*/ 0 h 299"/>
                <a:gd name="T4" fmla="*/ 0 w 299"/>
                <a:gd name="T5" fmla="*/ 215 h 299"/>
                <a:gd name="T6" fmla="*/ 83 w 299"/>
                <a:gd name="T7" fmla="*/ 299 h 299"/>
                <a:gd name="T8" fmla="*/ 299 w 299"/>
                <a:gd name="T9" fmla="*/ 8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299">
                  <a:moveTo>
                    <a:pt x="299" y="83"/>
                  </a:moveTo>
                  <a:lnTo>
                    <a:pt x="215" y="0"/>
                  </a:lnTo>
                  <a:lnTo>
                    <a:pt x="0" y="215"/>
                  </a:lnTo>
                  <a:lnTo>
                    <a:pt x="83" y="299"/>
                  </a:lnTo>
                  <a:lnTo>
                    <a:pt x="299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9" name="Freeform 310"/>
            <p:cNvSpPr>
              <a:spLocks/>
            </p:cNvSpPr>
            <p:nvPr/>
          </p:nvSpPr>
          <p:spPr bwMode="auto">
            <a:xfrm>
              <a:off x="3844925" y="800100"/>
              <a:ext cx="92075" cy="60325"/>
            </a:xfrm>
            <a:custGeom>
              <a:avLst/>
              <a:gdLst>
                <a:gd name="T0" fmla="*/ 15 w 292"/>
                <a:gd name="T1" fmla="*/ 143 h 190"/>
                <a:gd name="T2" fmla="*/ 18 w 292"/>
                <a:gd name="T3" fmla="*/ 143 h 190"/>
                <a:gd name="T4" fmla="*/ 21 w 292"/>
                <a:gd name="T5" fmla="*/ 142 h 190"/>
                <a:gd name="T6" fmla="*/ 23 w 292"/>
                <a:gd name="T7" fmla="*/ 141 h 190"/>
                <a:gd name="T8" fmla="*/ 25 w 292"/>
                <a:gd name="T9" fmla="*/ 138 h 190"/>
                <a:gd name="T10" fmla="*/ 114 w 292"/>
                <a:gd name="T11" fmla="*/ 49 h 190"/>
                <a:gd name="T12" fmla="*/ 115 w 292"/>
                <a:gd name="T13" fmla="*/ 51 h 190"/>
                <a:gd name="T14" fmla="*/ 137 w 292"/>
                <a:gd name="T15" fmla="*/ 72 h 190"/>
                <a:gd name="T16" fmla="*/ 103 w 292"/>
                <a:gd name="T17" fmla="*/ 106 h 190"/>
                <a:gd name="T18" fmla="*/ 186 w 292"/>
                <a:gd name="T19" fmla="*/ 190 h 190"/>
                <a:gd name="T20" fmla="*/ 288 w 292"/>
                <a:gd name="T21" fmla="*/ 88 h 190"/>
                <a:gd name="T22" fmla="*/ 289 w 292"/>
                <a:gd name="T23" fmla="*/ 86 h 190"/>
                <a:gd name="T24" fmla="*/ 291 w 292"/>
                <a:gd name="T25" fmla="*/ 84 h 190"/>
                <a:gd name="T26" fmla="*/ 291 w 292"/>
                <a:gd name="T27" fmla="*/ 81 h 190"/>
                <a:gd name="T28" fmla="*/ 292 w 292"/>
                <a:gd name="T29" fmla="*/ 77 h 190"/>
                <a:gd name="T30" fmla="*/ 291 w 292"/>
                <a:gd name="T31" fmla="*/ 75 h 190"/>
                <a:gd name="T32" fmla="*/ 291 w 292"/>
                <a:gd name="T33" fmla="*/ 72 h 190"/>
                <a:gd name="T34" fmla="*/ 289 w 292"/>
                <a:gd name="T35" fmla="*/ 70 h 190"/>
                <a:gd name="T36" fmla="*/ 288 w 292"/>
                <a:gd name="T37" fmla="*/ 68 h 190"/>
                <a:gd name="T38" fmla="*/ 225 w 292"/>
                <a:gd name="T39" fmla="*/ 4 h 190"/>
                <a:gd name="T40" fmla="*/ 223 w 292"/>
                <a:gd name="T41" fmla="*/ 3 h 190"/>
                <a:gd name="T42" fmla="*/ 221 w 292"/>
                <a:gd name="T43" fmla="*/ 1 h 190"/>
                <a:gd name="T44" fmla="*/ 217 w 292"/>
                <a:gd name="T45" fmla="*/ 1 h 190"/>
                <a:gd name="T46" fmla="*/ 215 w 292"/>
                <a:gd name="T47" fmla="*/ 0 h 190"/>
                <a:gd name="T48" fmla="*/ 212 w 292"/>
                <a:gd name="T49" fmla="*/ 1 h 190"/>
                <a:gd name="T50" fmla="*/ 209 w 292"/>
                <a:gd name="T51" fmla="*/ 1 h 190"/>
                <a:gd name="T52" fmla="*/ 207 w 292"/>
                <a:gd name="T53" fmla="*/ 3 h 190"/>
                <a:gd name="T54" fmla="*/ 204 w 292"/>
                <a:gd name="T55" fmla="*/ 4 h 190"/>
                <a:gd name="T56" fmla="*/ 157 w 292"/>
                <a:gd name="T57" fmla="*/ 51 h 190"/>
                <a:gd name="T58" fmla="*/ 137 w 292"/>
                <a:gd name="T59" fmla="*/ 29 h 190"/>
                <a:gd name="T60" fmla="*/ 126 w 292"/>
                <a:gd name="T61" fmla="*/ 17 h 190"/>
                <a:gd name="T62" fmla="*/ 123 w 292"/>
                <a:gd name="T63" fmla="*/ 15 h 190"/>
                <a:gd name="T64" fmla="*/ 121 w 292"/>
                <a:gd name="T65" fmla="*/ 14 h 190"/>
                <a:gd name="T66" fmla="*/ 118 w 292"/>
                <a:gd name="T67" fmla="*/ 13 h 190"/>
                <a:gd name="T68" fmla="*/ 115 w 292"/>
                <a:gd name="T69" fmla="*/ 13 h 190"/>
                <a:gd name="T70" fmla="*/ 112 w 292"/>
                <a:gd name="T71" fmla="*/ 13 h 190"/>
                <a:gd name="T72" fmla="*/ 109 w 292"/>
                <a:gd name="T73" fmla="*/ 14 h 190"/>
                <a:gd name="T74" fmla="*/ 107 w 292"/>
                <a:gd name="T75" fmla="*/ 15 h 190"/>
                <a:gd name="T76" fmla="*/ 104 w 292"/>
                <a:gd name="T77" fmla="*/ 17 h 190"/>
                <a:gd name="T78" fmla="*/ 4 w 292"/>
                <a:gd name="T79" fmla="*/ 117 h 190"/>
                <a:gd name="T80" fmla="*/ 3 w 292"/>
                <a:gd name="T81" fmla="*/ 119 h 190"/>
                <a:gd name="T82" fmla="*/ 1 w 292"/>
                <a:gd name="T83" fmla="*/ 122 h 190"/>
                <a:gd name="T84" fmla="*/ 1 w 292"/>
                <a:gd name="T85" fmla="*/ 125 h 190"/>
                <a:gd name="T86" fmla="*/ 0 w 292"/>
                <a:gd name="T87" fmla="*/ 128 h 190"/>
                <a:gd name="T88" fmla="*/ 1 w 292"/>
                <a:gd name="T89" fmla="*/ 131 h 190"/>
                <a:gd name="T90" fmla="*/ 1 w 292"/>
                <a:gd name="T91" fmla="*/ 133 h 190"/>
                <a:gd name="T92" fmla="*/ 3 w 292"/>
                <a:gd name="T93" fmla="*/ 136 h 190"/>
                <a:gd name="T94" fmla="*/ 4 w 292"/>
                <a:gd name="T95" fmla="*/ 138 h 190"/>
                <a:gd name="T96" fmla="*/ 7 w 292"/>
                <a:gd name="T97" fmla="*/ 141 h 190"/>
                <a:gd name="T98" fmla="*/ 9 w 292"/>
                <a:gd name="T99" fmla="*/ 142 h 190"/>
                <a:gd name="T100" fmla="*/ 12 w 292"/>
                <a:gd name="T101" fmla="*/ 143 h 190"/>
                <a:gd name="T102" fmla="*/ 15 w 292"/>
                <a:gd name="T103" fmla="*/ 14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2" h="190">
                  <a:moveTo>
                    <a:pt x="15" y="143"/>
                  </a:moveTo>
                  <a:lnTo>
                    <a:pt x="18" y="143"/>
                  </a:lnTo>
                  <a:lnTo>
                    <a:pt x="21" y="142"/>
                  </a:lnTo>
                  <a:lnTo>
                    <a:pt x="23" y="141"/>
                  </a:lnTo>
                  <a:lnTo>
                    <a:pt x="25" y="138"/>
                  </a:lnTo>
                  <a:lnTo>
                    <a:pt x="114" y="49"/>
                  </a:lnTo>
                  <a:lnTo>
                    <a:pt x="115" y="51"/>
                  </a:lnTo>
                  <a:lnTo>
                    <a:pt x="137" y="72"/>
                  </a:lnTo>
                  <a:lnTo>
                    <a:pt x="103" y="106"/>
                  </a:lnTo>
                  <a:lnTo>
                    <a:pt x="186" y="190"/>
                  </a:lnTo>
                  <a:lnTo>
                    <a:pt x="288" y="88"/>
                  </a:lnTo>
                  <a:lnTo>
                    <a:pt x="289" y="86"/>
                  </a:lnTo>
                  <a:lnTo>
                    <a:pt x="291" y="84"/>
                  </a:lnTo>
                  <a:lnTo>
                    <a:pt x="291" y="81"/>
                  </a:lnTo>
                  <a:lnTo>
                    <a:pt x="292" y="77"/>
                  </a:lnTo>
                  <a:lnTo>
                    <a:pt x="291" y="75"/>
                  </a:lnTo>
                  <a:lnTo>
                    <a:pt x="291" y="72"/>
                  </a:lnTo>
                  <a:lnTo>
                    <a:pt x="289" y="70"/>
                  </a:lnTo>
                  <a:lnTo>
                    <a:pt x="288" y="68"/>
                  </a:lnTo>
                  <a:lnTo>
                    <a:pt x="225" y="4"/>
                  </a:lnTo>
                  <a:lnTo>
                    <a:pt x="223" y="3"/>
                  </a:lnTo>
                  <a:lnTo>
                    <a:pt x="221" y="1"/>
                  </a:lnTo>
                  <a:lnTo>
                    <a:pt x="217" y="1"/>
                  </a:lnTo>
                  <a:lnTo>
                    <a:pt x="215" y="0"/>
                  </a:lnTo>
                  <a:lnTo>
                    <a:pt x="212" y="1"/>
                  </a:lnTo>
                  <a:lnTo>
                    <a:pt x="209" y="1"/>
                  </a:lnTo>
                  <a:lnTo>
                    <a:pt x="207" y="3"/>
                  </a:lnTo>
                  <a:lnTo>
                    <a:pt x="204" y="4"/>
                  </a:lnTo>
                  <a:lnTo>
                    <a:pt x="157" y="51"/>
                  </a:lnTo>
                  <a:lnTo>
                    <a:pt x="137" y="29"/>
                  </a:lnTo>
                  <a:lnTo>
                    <a:pt x="126" y="17"/>
                  </a:lnTo>
                  <a:lnTo>
                    <a:pt x="123" y="15"/>
                  </a:lnTo>
                  <a:lnTo>
                    <a:pt x="121" y="14"/>
                  </a:lnTo>
                  <a:lnTo>
                    <a:pt x="118" y="13"/>
                  </a:lnTo>
                  <a:lnTo>
                    <a:pt x="115" y="13"/>
                  </a:lnTo>
                  <a:lnTo>
                    <a:pt x="112" y="13"/>
                  </a:lnTo>
                  <a:lnTo>
                    <a:pt x="109" y="14"/>
                  </a:lnTo>
                  <a:lnTo>
                    <a:pt x="107" y="15"/>
                  </a:lnTo>
                  <a:lnTo>
                    <a:pt x="104" y="17"/>
                  </a:lnTo>
                  <a:lnTo>
                    <a:pt x="4" y="117"/>
                  </a:lnTo>
                  <a:lnTo>
                    <a:pt x="3" y="119"/>
                  </a:lnTo>
                  <a:lnTo>
                    <a:pt x="1" y="122"/>
                  </a:lnTo>
                  <a:lnTo>
                    <a:pt x="1" y="125"/>
                  </a:lnTo>
                  <a:lnTo>
                    <a:pt x="0" y="128"/>
                  </a:lnTo>
                  <a:lnTo>
                    <a:pt x="1" y="131"/>
                  </a:lnTo>
                  <a:lnTo>
                    <a:pt x="1" y="133"/>
                  </a:lnTo>
                  <a:lnTo>
                    <a:pt x="3" y="136"/>
                  </a:lnTo>
                  <a:lnTo>
                    <a:pt x="4" y="138"/>
                  </a:lnTo>
                  <a:lnTo>
                    <a:pt x="7" y="141"/>
                  </a:lnTo>
                  <a:lnTo>
                    <a:pt x="9" y="142"/>
                  </a:lnTo>
                  <a:lnTo>
                    <a:pt x="12" y="143"/>
                  </a:lnTo>
                  <a:lnTo>
                    <a:pt x="1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7043039" y="4955880"/>
            <a:ext cx="287338" cy="285750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61" name="Freeform 359"/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2" name="Freeform 360"/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3" name="Freeform 361"/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4" name="Freeform 362"/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7848601" y="2557381"/>
            <a:ext cx="3503612" cy="607017"/>
            <a:chOff x="7748833" y="2577037"/>
            <a:chExt cx="3603380" cy="607017"/>
          </a:xfrm>
        </p:grpSpPr>
        <p:sp>
          <p:nvSpPr>
            <p:cNvPr id="65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66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Step 1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7848601" y="3686034"/>
            <a:ext cx="3503612" cy="607017"/>
            <a:chOff x="7748833" y="2577037"/>
            <a:chExt cx="3603380" cy="607017"/>
          </a:xfrm>
        </p:grpSpPr>
        <p:sp>
          <p:nvSpPr>
            <p:cNvPr id="69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70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Step 2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7848601" y="4795247"/>
            <a:ext cx="3503612" cy="607017"/>
            <a:chOff x="7748833" y="2577037"/>
            <a:chExt cx="3603380" cy="607017"/>
          </a:xfrm>
        </p:grpSpPr>
        <p:sp>
          <p:nvSpPr>
            <p:cNvPr id="72" name="TextBox 25"/>
            <p:cNvSpPr txBox="1"/>
            <p:nvPr/>
          </p:nvSpPr>
          <p:spPr>
            <a:xfrm>
              <a:off x="7748833" y="2860889"/>
              <a:ext cx="360338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There are many variations of passages of Lorem Ipsum available, but the majority have suffered alteration in some form</a:t>
              </a:r>
            </a:p>
          </p:txBody>
        </p:sp>
        <p:sp>
          <p:nvSpPr>
            <p:cNvPr id="73" name="TextBox 25"/>
            <p:cNvSpPr txBox="1"/>
            <p:nvPr/>
          </p:nvSpPr>
          <p:spPr>
            <a:xfrm>
              <a:off x="7749580" y="2577037"/>
              <a:ext cx="66099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Step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32261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620" y="1554822"/>
            <a:ext cx="2143400" cy="422931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t="2589" r="44406" b="784"/>
          <a:stretch/>
        </p:blipFill>
        <p:spPr>
          <a:xfrm>
            <a:off x="6333224" y="2060412"/>
            <a:ext cx="1793825" cy="3133474"/>
          </a:xfrm>
          <a:custGeom>
            <a:avLst/>
            <a:gdLst>
              <a:gd name="connsiteX0" fmla="*/ 0 w 1793825"/>
              <a:gd name="connsiteY0" fmla="*/ 0 h 3133474"/>
              <a:gd name="connsiteX1" fmla="*/ 1793825 w 1793825"/>
              <a:gd name="connsiteY1" fmla="*/ 0 h 3133474"/>
              <a:gd name="connsiteX2" fmla="*/ 1793825 w 1793825"/>
              <a:gd name="connsiteY2" fmla="*/ 3133474 h 3133474"/>
              <a:gd name="connsiteX3" fmla="*/ 0 w 1793825"/>
              <a:gd name="connsiteY3" fmla="*/ 3133474 h 3133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93825" h="3133474">
                <a:moveTo>
                  <a:pt x="0" y="0"/>
                </a:moveTo>
                <a:lnTo>
                  <a:pt x="1793825" y="0"/>
                </a:lnTo>
                <a:lnTo>
                  <a:pt x="1793825" y="3133474"/>
                </a:lnTo>
                <a:lnTo>
                  <a:pt x="0" y="3133474"/>
                </a:lnTo>
                <a:close/>
              </a:path>
            </a:pathLst>
          </a:cu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980" y="1554822"/>
            <a:ext cx="2143400" cy="422931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5" t="2578" r="9033" b="3071"/>
          <a:stretch/>
        </p:blipFill>
        <p:spPr>
          <a:xfrm>
            <a:off x="4022583" y="2060412"/>
            <a:ext cx="1793825" cy="3133474"/>
          </a:xfrm>
          <a:custGeom>
            <a:avLst/>
            <a:gdLst>
              <a:gd name="connsiteX0" fmla="*/ 0 w 1793825"/>
              <a:gd name="connsiteY0" fmla="*/ 0 h 3133474"/>
              <a:gd name="connsiteX1" fmla="*/ 1793825 w 1793825"/>
              <a:gd name="connsiteY1" fmla="*/ 0 h 3133474"/>
              <a:gd name="connsiteX2" fmla="*/ 1793825 w 1793825"/>
              <a:gd name="connsiteY2" fmla="*/ 3133474 h 3133474"/>
              <a:gd name="connsiteX3" fmla="*/ 0 w 1793825"/>
              <a:gd name="connsiteY3" fmla="*/ 3133474 h 3133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93825" h="3133474">
                <a:moveTo>
                  <a:pt x="0" y="0"/>
                </a:moveTo>
                <a:lnTo>
                  <a:pt x="1793825" y="0"/>
                </a:lnTo>
                <a:lnTo>
                  <a:pt x="1793825" y="3133474"/>
                </a:lnTo>
                <a:lnTo>
                  <a:pt x="0" y="3133474"/>
                </a:lnTo>
                <a:close/>
              </a:path>
            </a:pathLst>
          </a:custGeom>
        </p:spPr>
      </p:pic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rgbClr val="0C344C"/>
                </a:solidFill>
                <a:latin typeface="+mj-lt"/>
              </a:rPr>
              <a:t>Device Comparison</a:t>
            </a: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4022583" y="2060412"/>
            <a:ext cx="1208526" cy="2957215"/>
          </a:xfrm>
          <a:custGeom>
            <a:avLst/>
            <a:gdLst>
              <a:gd name="T0" fmla="*/ 0 w 839"/>
              <a:gd name="T1" fmla="*/ 2053 h 2053"/>
              <a:gd name="T2" fmla="*/ 0 w 839"/>
              <a:gd name="T3" fmla="*/ 0 h 2053"/>
              <a:gd name="T4" fmla="*/ 839 w 839"/>
              <a:gd name="T5" fmla="*/ 0 h 2053"/>
              <a:gd name="T6" fmla="*/ 0 w 839"/>
              <a:gd name="T7" fmla="*/ 2053 h 2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39" h="2053">
                <a:moveTo>
                  <a:pt x="0" y="2053"/>
                </a:moveTo>
                <a:lnTo>
                  <a:pt x="0" y="0"/>
                </a:lnTo>
                <a:lnTo>
                  <a:pt x="839" y="0"/>
                </a:lnTo>
                <a:lnTo>
                  <a:pt x="0" y="2053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5"/>
          <p:cNvSpPr>
            <a:spLocks/>
          </p:cNvSpPr>
          <p:nvPr/>
        </p:nvSpPr>
        <p:spPr bwMode="auto">
          <a:xfrm>
            <a:off x="6333223" y="2060412"/>
            <a:ext cx="1208526" cy="2957215"/>
          </a:xfrm>
          <a:custGeom>
            <a:avLst/>
            <a:gdLst>
              <a:gd name="T0" fmla="*/ 0 w 839"/>
              <a:gd name="T1" fmla="*/ 2053 h 2053"/>
              <a:gd name="T2" fmla="*/ 0 w 839"/>
              <a:gd name="T3" fmla="*/ 0 h 2053"/>
              <a:gd name="T4" fmla="*/ 839 w 839"/>
              <a:gd name="T5" fmla="*/ 0 h 2053"/>
              <a:gd name="T6" fmla="*/ 0 w 839"/>
              <a:gd name="T7" fmla="*/ 2053 h 2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39" h="2053">
                <a:moveTo>
                  <a:pt x="0" y="2053"/>
                </a:moveTo>
                <a:lnTo>
                  <a:pt x="0" y="0"/>
                </a:lnTo>
                <a:lnTo>
                  <a:pt x="839" y="0"/>
                </a:lnTo>
                <a:lnTo>
                  <a:pt x="0" y="2053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: Rounded Corners 50"/>
          <p:cNvSpPr/>
          <p:nvPr/>
        </p:nvSpPr>
        <p:spPr>
          <a:xfrm rot="2700000">
            <a:off x="5750867" y="3282016"/>
            <a:ext cx="690266" cy="690267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D80F7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5"/>
          <p:cNvSpPr txBox="1"/>
          <p:nvPr/>
        </p:nvSpPr>
        <p:spPr>
          <a:xfrm>
            <a:off x="5949775" y="3523091"/>
            <a:ext cx="29245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VS</a:t>
            </a:r>
          </a:p>
        </p:txBody>
      </p:sp>
      <p:sp>
        <p:nvSpPr>
          <p:cNvPr id="24" name="TextBox 25"/>
          <p:cNvSpPr txBox="1"/>
          <p:nvPr/>
        </p:nvSpPr>
        <p:spPr>
          <a:xfrm>
            <a:off x="8489533" y="2059943"/>
            <a:ext cx="286267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8490260" y="1748098"/>
            <a:ext cx="28619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 Sample tex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45411" y="2059943"/>
            <a:ext cx="286267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27" name="TextBox 25"/>
          <p:cNvSpPr txBox="1"/>
          <p:nvPr/>
        </p:nvSpPr>
        <p:spPr>
          <a:xfrm>
            <a:off x="846138" y="1748098"/>
            <a:ext cx="28619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 Sample text</a:t>
            </a:r>
          </a:p>
        </p:txBody>
      </p:sp>
      <p:graphicFrame>
        <p:nvGraphicFramePr>
          <p:cNvPr id="34" name="Chart 33"/>
          <p:cNvGraphicFramePr/>
          <p:nvPr/>
        </p:nvGraphicFramePr>
        <p:xfrm>
          <a:off x="8489533" y="2709707"/>
          <a:ext cx="2862680" cy="1758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Box 25"/>
          <p:cNvSpPr txBox="1"/>
          <p:nvPr/>
        </p:nvSpPr>
        <p:spPr>
          <a:xfrm>
            <a:off x="8489533" y="4972480"/>
            <a:ext cx="286267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8487736" y="4545650"/>
            <a:ext cx="340768" cy="312246"/>
            <a:chOff x="2670175" y="739775"/>
            <a:chExt cx="360363" cy="330200"/>
          </a:xfrm>
          <a:solidFill>
            <a:srgbClr val="0C344C"/>
          </a:solidFill>
        </p:grpSpPr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835275" y="904875"/>
              <a:ext cx="195263" cy="165100"/>
            </a:xfrm>
            <a:custGeom>
              <a:avLst/>
              <a:gdLst>
                <a:gd name="T0" fmla="*/ 40 w 52"/>
                <a:gd name="T1" fmla="*/ 0 h 44"/>
                <a:gd name="T2" fmla="*/ 34 w 52"/>
                <a:gd name="T3" fmla="*/ 0 h 44"/>
                <a:gd name="T4" fmla="*/ 14 w 52"/>
                <a:gd name="T5" fmla="*/ 12 h 44"/>
                <a:gd name="T6" fmla="*/ 0 w 52"/>
                <a:gd name="T7" fmla="*/ 12 h 44"/>
                <a:gd name="T8" fmla="*/ 0 w 52"/>
                <a:gd name="T9" fmla="*/ 20 h 44"/>
                <a:gd name="T10" fmla="*/ 12 w 52"/>
                <a:gd name="T11" fmla="*/ 32 h 44"/>
                <a:gd name="T12" fmla="*/ 21 w 52"/>
                <a:gd name="T13" fmla="*/ 32 h 44"/>
                <a:gd name="T14" fmla="*/ 33 w 52"/>
                <a:gd name="T15" fmla="*/ 43 h 44"/>
                <a:gd name="T16" fmla="*/ 34 w 52"/>
                <a:gd name="T17" fmla="*/ 44 h 44"/>
                <a:gd name="T18" fmla="*/ 35 w 52"/>
                <a:gd name="T19" fmla="*/ 44 h 44"/>
                <a:gd name="T20" fmla="*/ 36 w 52"/>
                <a:gd name="T21" fmla="*/ 42 h 44"/>
                <a:gd name="T22" fmla="*/ 36 w 52"/>
                <a:gd name="T23" fmla="*/ 32 h 44"/>
                <a:gd name="T24" fmla="*/ 40 w 52"/>
                <a:gd name="T25" fmla="*/ 32 h 44"/>
                <a:gd name="T26" fmla="*/ 52 w 52"/>
                <a:gd name="T27" fmla="*/ 20 h 44"/>
                <a:gd name="T28" fmla="*/ 52 w 52"/>
                <a:gd name="T29" fmla="*/ 12 h 44"/>
                <a:gd name="T30" fmla="*/ 40 w 52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44">
                  <a:moveTo>
                    <a:pt x="40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0" y="7"/>
                    <a:pt x="23" y="12"/>
                    <a:pt x="1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5" y="32"/>
                    <a:pt x="12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4" y="44"/>
                  </a:cubicBezTo>
                  <a:cubicBezTo>
                    <a:pt x="34" y="44"/>
                    <a:pt x="35" y="44"/>
                    <a:pt x="35" y="44"/>
                  </a:cubicBezTo>
                  <a:cubicBezTo>
                    <a:pt x="36" y="44"/>
                    <a:pt x="36" y="43"/>
                    <a:pt x="36" y="4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7" y="32"/>
                    <a:pt x="52" y="27"/>
                    <a:pt x="52" y="2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5"/>
                    <a:pt x="47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2670175" y="739775"/>
              <a:ext cx="285750" cy="255588"/>
            </a:xfrm>
            <a:custGeom>
              <a:avLst/>
              <a:gdLst>
                <a:gd name="T0" fmla="*/ 76 w 76"/>
                <a:gd name="T1" fmla="*/ 34 h 68"/>
                <a:gd name="T2" fmla="*/ 76 w 76"/>
                <a:gd name="T3" fmla="*/ 18 h 68"/>
                <a:gd name="T4" fmla="*/ 58 w 76"/>
                <a:gd name="T5" fmla="*/ 0 h 68"/>
                <a:gd name="T6" fmla="*/ 18 w 76"/>
                <a:gd name="T7" fmla="*/ 0 h 68"/>
                <a:gd name="T8" fmla="*/ 0 w 76"/>
                <a:gd name="T9" fmla="*/ 18 h 68"/>
                <a:gd name="T10" fmla="*/ 0 w 76"/>
                <a:gd name="T11" fmla="*/ 34 h 68"/>
                <a:gd name="T12" fmla="*/ 18 w 76"/>
                <a:gd name="T13" fmla="*/ 52 h 68"/>
                <a:gd name="T14" fmla="*/ 20 w 76"/>
                <a:gd name="T15" fmla="*/ 52 h 68"/>
                <a:gd name="T16" fmla="*/ 22 w 76"/>
                <a:gd name="T17" fmla="*/ 52 h 68"/>
                <a:gd name="T18" fmla="*/ 22 w 76"/>
                <a:gd name="T19" fmla="*/ 54 h 68"/>
                <a:gd name="T20" fmla="*/ 22 w 76"/>
                <a:gd name="T21" fmla="*/ 66 h 68"/>
                <a:gd name="T22" fmla="*/ 23 w 76"/>
                <a:gd name="T23" fmla="*/ 68 h 68"/>
                <a:gd name="T24" fmla="*/ 24 w 76"/>
                <a:gd name="T25" fmla="*/ 68 h 68"/>
                <a:gd name="T26" fmla="*/ 25 w 76"/>
                <a:gd name="T27" fmla="*/ 67 h 68"/>
                <a:gd name="T28" fmla="*/ 41 w 76"/>
                <a:gd name="T29" fmla="*/ 52 h 68"/>
                <a:gd name="T30" fmla="*/ 42 w 76"/>
                <a:gd name="T31" fmla="*/ 52 h 68"/>
                <a:gd name="T32" fmla="*/ 58 w 76"/>
                <a:gd name="T33" fmla="*/ 52 h 68"/>
                <a:gd name="T34" fmla="*/ 76 w 76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68">
                  <a:moveTo>
                    <a:pt x="76" y="34"/>
                  </a:moveTo>
                  <a:cubicBezTo>
                    <a:pt x="76" y="18"/>
                    <a:pt x="76" y="18"/>
                    <a:pt x="76" y="18"/>
                  </a:cubicBezTo>
                  <a:cubicBezTo>
                    <a:pt x="76" y="8"/>
                    <a:pt x="68" y="0"/>
                    <a:pt x="5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4"/>
                    <a:pt x="8" y="52"/>
                    <a:pt x="1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7"/>
                    <a:pt x="22" y="68"/>
                    <a:pt x="23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5" y="68"/>
                    <a:pt x="25" y="68"/>
                    <a:pt x="25" y="67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8" y="52"/>
                    <a:pt x="76" y="44"/>
                    <a:pt x="7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2" name="TextBox 25"/>
          <p:cNvSpPr txBox="1"/>
          <p:nvPr/>
        </p:nvSpPr>
        <p:spPr>
          <a:xfrm>
            <a:off x="839061" y="4972480"/>
            <a:ext cx="286267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Many desktop publishing packages and web page editors now use Lorem Ipsum as their default model text, and a search for 'lorem ipsum' will uncover many web sites still in their infancy.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3360972" y="4545650"/>
            <a:ext cx="340768" cy="312246"/>
            <a:chOff x="2670175" y="739775"/>
            <a:chExt cx="360363" cy="330200"/>
          </a:xfrm>
          <a:solidFill>
            <a:srgbClr val="0C344C"/>
          </a:solidFill>
        </p:grpSpPr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835275" y="904875"/>
              <a:ext cx="195263" cy="165100"/>
            </a:xfrm>
            <a:custGeom>
              <a:avLst/>
              <a:gdLst>
                <a:gd name="T0" fmla="*/ 40 w 52"/>
                <a:gd name="T1" fmla="*/ 0 h 44"/>
                <a:gd name="T2" fmla="*/ 34 w 52"/>
                <a:gd name="T3" fmla="*/ 0 h 44"/>
                <a:gd name="T4" fmla="*/ 14 w 52"/>
                <a:gd name="T5" fmla="*/ 12 h 44"/>
                <a:gd name="T6" fmla="*/ 0 w 52"/>
                <a:gd name="T7" fmla="*/ 12 h 44"/>
                <a:gd name="T8" fmla="*/ 0 w 52"/>
                <a:gd name="T9" fmla="*/ 20 h 44"/>
                <a:gd name="T10" fmla="*/ 12 w 52"/>
                <a:gd name="T11" fmla="*/ 32 h 44"/>
                <a:gd name="T12" fmla="*/ 21 w 52"/>
                <a:gd name="T13" fmla="*/ 32 h 44"/>
                <a:gd name="T14" fmla="*/ 33 w 52"/>
                <a:gd name="T15" fmla="*/ 43 h 44"/>
                <a:gd name="T16" fmla="*/ 34 w 52"/>
                <a:gd name="T17" fmla="*/ 44 h 44"/>
                <a:gd name="T18" fmla="*/ 35 w 52"/>
                <a:gd name="T19" fmla="*/ 44 h 44"/>
                <a:gd name="T20" fmla="*/ 36 w 52"/>
                <a:gd name="T21" fmla="*/ 42 h 44"/>
                <a:gd name="T22" fmla="*/ 36 w 52"/>
                <a:gd name="T23" fmla="*/ 32 h 44"/>
                <a:gd name="T24" fmla="*/ 40 w 52"/>
                <a:gd name="T25" fmla="*/ 32 h 44"/>
                <a:gd name="T26" fmla="*/ 52 w 52"/>
                <a:gd name="T27" fmla="*/ 20 h 44"/>
                <a:gd name="T28" fmla="*/ 52 w 52"/>
                <a:gd name="T29" fmla="*/ 12 h 44"/>
                <a:gd name="T30" fmla="*/ 40 w 52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44">
                  <a:moveTo>
                    <a:pt x="40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0" y="7"/>
                    <a:pt x="23" y="12"/>
                    <a:pt x="1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5" y="32"/>
                    <a:pt x="12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4" y="44"/>
                  </a:cubicBezTo>
                  <a:cubicBezTo>
                    <a:pt x="34" y="44"/>
                    <a:pt x="35" y="44"/>
                    <a:pt x="35" y="44"/>
                  </a:cubicBezTo>
                  <a:cubicBezTo>
                    <a:pt x="36" y="44"/>
                    <a:pt x="36" y="43"/>
                    <a:pt x="36" y="4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7" y="32"/>
                    <a:pt x="52" y="27"/>
                    <a:pt x="52" y="20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5"/>
                    <a:pt x="47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id-ID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2670175" y="739775"/>
              <a:ext cx="285750" cy="255588"/>
            </a:xfrm>
            <a:custGeom>
              <a:avLst/>
              <a:gdLst>
                <a:gd name="T0" fmla="*/ 76 w 76"/>
                <a:gd name="T1" fmla="*/ 34 h 68"/>
                <a:gd name="T2" fmla="*/ 76 w 76"/>
                <a:gd name="T3" fmla="*/ 18 h 68"/>
                <a:gd name="T4" fmla="*/ 58 w 76"/>
                <a:gd name="T5" fmla="*/ 0 h 68"/>
                <a:gd name="T6" fmla="*/ 18 w 76"/>
                <a:gd name="T7" fmla="*/ 0 h 68"/>
                <a:gd name="T8" fmla="*/ 0 w 76"/>
                <a:gd name="T9" fmla="*/ 18 h 68"/>
                <a:gd name="T10" fmla="*/ 0 w 76"/>
                <a:gd name="T11" fmla="*/ 34 h 68"/>
                <a:gd name="T12" fmla="*/ 18 w 76"/>
                <a:gd name="T13" fmla="*/ 52 h 68"/>
                <a:gd name="T14" fmla="*/ 20 w 76"/>
                <a:gd name="T15" fmla="*/ 52 h 68"/>
                <a:gd name="T16" fmla="*/ 22 w 76"/>
                <a:gd name="T17" fmla="*/ 52 h 68"/>
                <a:gd name="T18" fmla="*/ 22 w 76"/>
                <a:gd name="T19" fmla="*/ 54 h 68"/>
                <a:gd name="T20" fmla="*/ 22 w 76"/>
                <a:gd name="T21" fmla="*/ 66 h 68"/>
                <a:gd name="T22" fmla="*/ 23 w 76"/>
                <a:gd name="T23" fmla="*/ 68 h 68"/>
                <a:gd name="T24" fmla="*/ 24 w 76"/>
                <a:gd name="T25" fmla="*/ 68 h 68"/>
                <a:gd name="T26" fmla="*/ 25 w 76"/>
                <a:gd name="T27" fmla="*/ 67 h 68"/>
                <a:gd name="T28" fmla="*/ 41 w 76"/>
                <a:gd name="T29" fmla="*/ 52 h 68"/>
                <a:gd name="T30" fmla="*/ 42 w 76"/>
                <a:gd name="T31" fmla="*/ 52 h 68"/>
                <a:gd name="T32" fmla="*/ 58 w 76"/>
                <a:gd name="T33" fmla="*/ 52 h 68"/>
                <a:gd name="T34" fmla="*/ 76 w 76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68">
                  <a:moveTo>
                    <a:pt x="76" y="34"/>
                  </a:moveTo>
                  <a:cubicBezTo>
                    <a:pt x="76" y="18"/>
                    <a:pt x="76" y="18"/>
                    <a:pt x="76" y="18"/>
                  </a:cubicBezTo>
                  <a:cubicBezTo>
                    <a:pt x="76" y="8"/>
                    <a:pt x="68" y="0"/>
                    <a:pt x="5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4"/>
                    <a:pt x="8" y="52"/>
                    <a:pt x="18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2" y="67"/>
                    <a:pt x="22" y="68"/>
                    <a:pt x="23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5" y="68"/>
                    <a:pt x="25" y="68"/>
                    <a:pt x="25" y="67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8" y="52"/>
                    <a:pt x="76" y="44"/>
                    <a:pt x="7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id-ID"/>
            </a:p>
          </p:txBody>
        </p:sp>
      </p:grpSp>
      <p:graphicFrame>
        <p:nvGraphicFramePr>
          <p:cNvPr id="46" name="Chart 45"/>
          <p:cNvGraphicFramePr/>
          <p:nvPr/>
        </p:nvGraphicFramePr>
        <p:xfrm>
          <a:off x="845410" y="2709707"/>
          <a:ext cx="2862680" cy="1758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484663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0"/>
            <a:ext cx="12188891" cy="62103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Freeform 8"/>
          <p:cNvSpPr>
            <a:spLocks/>
          </p:cNvSpPr>
          <p:nvPr/>
        </p:nvSpPr>
        <p:spPr bwMode="auto">
          <a:xfrm>
            <a:off x="1625922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6"/>
          <p:cNvSpPr>
            <a:spLocks/>
          </p:cNvSpPr>
          <p:nvPr/>
        </p:nvSpPr>
        <p:spPr bwMode="auto">
          <a:xfrm>
            <a:off x="-200025" y="5247096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7"/>
          <p:cNvSpPr>
            <a:spLocks/>
          </p:cNvSpPr>
          <p:nvPr/>
        </p:nvSpPr>
        <p:spPr bwMode="auto">
          <a:xfrm>
            <a:off x="10781752" y="4721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8"/>
          <p:cNvSpPr>
            <a:spLocks/>
          </p:cNvSpPr>
          <p:nvPr/>
        </p:nvSpPr>
        <p:spPr bwMode="auto">
          <a:xfrm>
            <a:off x="8212883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9"/>
          <p:cNvSpPr>
            <a:spLocks/>
          </p:cNvSpPr>
          <p:nvPr/>
        </p:nvSpPr>
        <p:spPr bwMode="auto">
          <a:xfrm>
            <a:off x="9427288" y="5357407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48"/>
          <p:cNvSpPr>
            <a:spLocks noChangeArrowheads="1"/>
          </p:cNvSpPr>
          <p:nvPr/>
        </p:nvSpPr>
        <p:spPr bwMode="auto">
          <a:xfrm>
            <a:off x="0" y="6210300"/>
            <a:ext cx="12188890" cy="646185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Freeform 46"/>
          <p:cNvSpPr>
            <a:spLocks/>
          </p:cNvSpPr>
          <p:nvPr/>
        </p:nvSpPr>
        <p:spPr bwMode="auto">
          <a:xfrm flipH="1">
            <a:off x="3808422" y="3937000"/>
            <a:ext cx="4575156" cy="2273300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1095299" y="5704484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7"/>
          <p:cNvSpPr>
            <a:spLocks/>
          </p:cNvSpPr>
          <p:nvPr/>
        </p:nvSpPr>
        <p:spPr bwMode="auto">
          <a:xfrm>
            <a:off x="3111839" y="5357407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50"/>
          <p:cNvSpPr>
            <a:spLocks/>
          </p:cNvSpPr>
          <p:nvPr/>
        </p:nvSpPr>
        <p:spPr bwMode="auto">
          <a:xfrm>
            <a:off x="4160648" y="6210300"/>
            <a:ext cx="4010895" cy="1993879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51"/>
          <p:cNvSpPr>
            <a:spLocks/>
          </p:cNvSpPr>
          <p:nvPr/>
        </p:nvSpPr>
        <p:spPr bwMode="auto">
          <a:xfrm>
            <a:off x="3232485" y="62103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56"/>
          <p:cNvSpPr>
            <a:spLocks/>
          </p:cNvSpPr>
          <p:nvPr/>
        </p:nvSpPr>
        <p:spPr bwMode="auto">
          <a:xfrm>
            <a:off x="1186104" y="6210300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3"/>
          <p:cNvSpPr>
            <a:spLocks/>
          </p:cNvSpPr>
          <p:nvPr/>
        </p:nvSpPr>
        <p:spPr bwMode="auto">
          <a:xfrm>
            <a:off x="11273234" y="5876676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4"/>
          <p:cNvSpPr>
            <a:spLocks/>
          </p:cNvSpPr>
          <p:nvPr/>
        </p:nvSpPr>
        <p:spPr bwMode="auto">
          <a:xfrm>
            <a:off x="9171688" y="5956047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5"/>
          <p:cNvSpPr>
            <a:spLocks/>
          </p:cNvSpPr>
          <p:nvPr/>
        </p:nvSpPr>
        <p:spPr bwMode="auto">
          <a:xfrm>
            <a:off x="8983352" y="6044833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6"/>
          <p:cNvSpPr>
            <a:spLocks/>
          </p:cNvSpPr>
          <p:nvPr/>
        </p:nvSpPr>
        <p:spPr bwMode="auto">
          <a:xfrm>
            <a:off x="423473" y="6007166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46"/>
          <p:cNvSpPr>
            <a:spLocks/>
          </p:cNvSpPr>
          <p:nvPr/>
        </p:nvSpPr>
        <p:spPr bwMode="auto">
          <a:xfrm rot="16200000" flipH="1">
            <a:off x="5717017" y="3389972"/>
            <a:ext cx="1808235" cy="898474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46"/>
          <p:cNvSpPr>
            <a:spLocks/>
          </p:cNvSpPr>
          <p:nvPr/>
        </p:nvSpPr>
        <p:spPr bwMode="auto">
          <a:xfrm rot="5400000">
            <a:off x="4641348" y="3389973"/>
            <a:ext cx="1808235" cy="898474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46"/>
          <p:cNvSpPr>
            <a:spLocks/>
          </p:cNvSpPr>
          <p:nvPr/>
        </p:nvSpPr>
        <p:spPr bwMode="auto">
          <a:xfrm rot="10800000">
            <a:off x="5179183" y="2863803"/>
            <a:ext cx="1808235" cy="898474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7" name="Group 36"/>
          <p:cNvGrpSpPr/>
          <p:nvPr/>
        </p:nvGrpSpPr>
        <p:grpSpPr>
          <a:xfrm>
            <a:off x="5306546" y="3705066"/>
            <a:ext cx="287338" cy="268288"/>
            <a:chOff x="4329113" y="1382713"/>
            <a:chExt cx="287338" cy="268288"/>
          </a:xfrm>
          <a:solidFill>
            <a:schemeClr val="bg1"/>
          </a:solidFill>
        </p:grpSpPr>
        <p:sp>
          <p:nvSpPr>
            <p:cNvPr id="38" name="Freeform 1471"/>
            <p:cNvSpPr>
              <a:spLocks/>
            </p:cNvSpPr>
            <p:nvPr/>
          </p:nvSpPr>
          <p:spPr bwMode="auto">
            <a:xfrm>
              <a:off x="4357688" y="1487488"/>
              <a:ext cx="19050" cy="19050"/>
            </a:xfrm>
            <a:custGeom>
              <a:avLst/>
              <a:gdLst>
                <a:gd name="T0" fmla="*/ 29 w 59"/>
                <a:gd name="T1" fmla="*/ 0 h 61"/>
                <a:gd name="T2" fmla="*/ 24 w 59"/>
                <a:gd name="T3" fmla="*/ 1 h 61"/>
                <a:gd name="T4" fmla="*/ 17 w 59"/>
                <a:gd name="T5" fmla="*/ 3 h 61"/>
                <a:gd name="T6" fmla="*/ 13 w 59"/>
                <a:gd name="T7" fmla="*/ 6 h 61"/>
                <a:gd name="T8" fmla="*/ 8 w 59"/>
                <a:gd name="T9" fmla="*/ 9 h 61"/>
                <a:gd name="T10" fmla="*/ 4 w 59"/>
                <a:gd name="T11" fmla="*/ 14 h 61"/>
                <a:gd name="T12" fmla="*/ 2 w 59"/>
                <a:gd name="T13" fmla="*/ 19 h 61"/>
                <a:gd name="T14" fmla="*/ 0 w 59"/>
                <a:gd name="T15" fmla="*/ 25 h 61"/>
                <a:gd name="T16" fmla="*/ 0 w 59"/>
                <a:gd name="T17" fmla="*/ 30 h 61"/>
                <a:gd name="T18" fmla="*/ 0 w 59"/>
                <a:gd name="T19" fmla="*/ 37 h 61"/>
                <a:gd name="T20" fmla="*/ 2 w 59"/>
                <a:gd name="T21" fmla="*/ 42 h 61"/>
                <a:gd name="T22" fmla="*/ 4 w 59"/>
                <a:gd name="T23" fmla="*/ 48 h 61"/>
                <a:gd name="T24" fmla="*/ 8 w 59"/>
                <a:gd name="T25" fmla="*/ 52 h 61"/>
                <a:gd name="T26" fmla="*/ 13 w 59"/>
                <a:gd name="T27" fmla="*/ 56 h 61"/>
                <a:gd name="T28" fmla="*/ 17 w 59"/>
                <a:gd name="T29" fmla="*/ 58 h 61"/>
                <a:gd name="T30" fmla="*/ 24 w 59"/>
                <a:gd name="T31" fmla="*/ 60 h 61"/>
                <a:gd name="T32" fmla="*/ 29 w 59"/>
                <a:gd name="T33" fmla="*/ 61 h 61"/>
                <a:gd name="T34" fmla="*/ 35 w 59"/>
                <a:gd name="T35" fmla="*/ 60 h 61"/>
                <a:gd name="T36" fmla="*/ 42 w 59"/>
                <a:gd name="T37" fmla="*/ 58 h 61"/>
                <a:gd name="T38" fmla="*/ 46 w 59"/>
                <a:gd name="T39" fmla="*/ 56 h 61"/>
                <a:gd name="T40" fmla="*/ 50 w 59"/>
                <a:gd name="T41" fmla="*/ 52 h 61"/>
                <a:gd name="T42" fmla="*/ 55 w 59"/>
                <a:gd name="T43" fmla="*/ 48 h 61"/>
                <a:gd name="T44" fmla="*/ 57 w 59"/>
                <a:gd name="T45" fmla="*/ 42 h 61"/>
                <a:gd name="T46" fmla="*/ 59 w 59"/>
                <a:gd name="T47" fmla="*/ 37 h 61"/>
                <a:gd name="T48" fmla="*/ 59 w 59"/>
                <a:gd name="T49" fmla="*/ 30 h 61"/>
                <a:gd name="T50" fmla="*/ 59 w 59"/>
                <a:gd name="T51" fmla="*/ 25 h 61"/>
                <a:gd name="T52" fmla="*/ 57 w 59"/>
                <a:gd name="T53" fmla="*/ 19 h 61"/>
                <a:gd name="T54" fmla="*/ 55 w 59"/>
                <a:gd name="T55" fmla="*/ 14 h 61"/>
                <a:gd name="T56" fmla="*/ 50 w 59"/>
                <a:gd name="T57" fmla="*/ 9 h 61"/>
                <a:gd name="T58" fmla="*/ 46 w 59"/>
                <a:gd name="T59" fmla="*/ 6 h 61"/>
                <a:gd name="T60" fmla="*/ 42 w 59"/>
                <a:gd name="T61" fmla="*/ 3 h 61"/>
                <a:gd name="T62" fmla="*/ 35 w 59"/>
                <a:gd name="T63" fmla="*/ 1 h 61"/>
                <a:gd name="T64" fmla="*/ 29 w 59"/>
                <a:gd name="T65" fmla="*/ 0 h 61"/>
                <a:gd name="T66" fmla="*/ 29 w 59"/>
                <a:gd name="T6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61">
                  <a:moveTo>
                    <a:pt x="29" y="0"/>
                  </a:moveTo>
                  <a:lnTo>
                    <a:pt x="24" y="1"/>
                  </a:lnTo>
                  <a:lnTo>
                    <a:pt x="17" y="3"/>
                  </a:lnTo>
                  <a:lnTo>
                    <a:pt x="13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2" y="19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2"/>
                  </a:lnTo>
                  <a:lnTo>
                    <a:pt x="13" y="56"/>
                  </a:lnTo>
                  <a:lnTo>
                    <a:pt x="17" y="58"/>
                  </a:lnTo>
                  <a:lnTo>
                    <a:pt x="24" y="60"/>
                  </a:lnTo>
                  <a:lnTo>
                    <a:pt x="29" y="61"/>
                  </a:lnTo>
                  <a:lnTo>
                    <a:pt x="35" y="60"/>
                  </a:lnTo>
                  <a:lnTo>
                    <a:pt x="42" y="58"/>
                  </a:lnTo>
                  <a:lnTo>
                    <a:pt x="46" y="56"/>
                  </a:lnTo>
                  <a:lnTo>
                    <a:pt x="50" y="52"/>
                  </a:lnTo>
                  <a:lnTo>
                    <a:pt x="55" y="48"/>
                  </a:lnTo>
                  <a:lnTo>
                    <a:pt x="57" y="42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9" y="25"/>
                  </a:lnTo>
                  <a:lnTo>
                    <a:pt x="57" y="19"/>
                  </a:lnTo>
                  <a:lnTo>
                    <a:pt x="55" y="14"/>
                  </a:lnTo>
                  <a:lnTo>
                    <a:pt x="50" y="9"/>
                  </a:lnTo>
                  <a:lnTo>
                    <a:pt x="46" y="6"/>
                  </a:lnTo>
                  <a:lnTo>
                    <a:pt x="42" y="3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72"/>
            <p:cNvSpPr>
              <a:spLocks noEditPoints="1"/>
            </p:cNvSpPr>
            <p:nvPr/>
          </p:nvSpPr>
          <p:spPr bwMode="auto">
            <a:xfrm>
              <a:off x="4329113" y="1458913"/>
              <a:ext cx="287338" cy="192088"/>
            </a:xfrm>
            <a:custGeom>
              <a:avLst/>
              <a:gdLst>
                <a:gd name="T0" fmla="*/ 211 w 905"/>
                <a:gd name="T1" fmla="*/ 302 h 604"/>
                <a:gd name="T2" fmla="*/ 120 w 905"/>
                <a:gd name="T3" fmla="*/ 181 h 604"/>
                <a:gd name="T4" fmla="*/ 103 w 905"/>
                <a:gd name="T5" fmla="*/ 178 h 604"/>
                <a:gd name="T6" fmla="*/ 87 w 905"/>
                <a:gd name="T7" fmla="*/ 170 h 604"/>
                <a:gd name="T8" fmla="*/ 74 w 905"/>
                <a:gd name="T9" fmla="*/ 159 h 604"/>
                <a:gd name="T10" fmla="*/ 65 w 905"/>
                <a:gd name="T11" fmla="*/ 143 h 604"/>
                <a:gd name="T12" fmla="*/ 61 w 905"/>
                <a:gd name="T13" fmla="*/ 127 h 604"/>
                <a:gd name="T14" fmla="*/ 62 w 905"/>
                <a:gd name="T15" fmla="*/ 108 h 604"/>
                <a:gd name="T16" fmla="*/ 67 w 905"/>
                <a:gd name="T17" fmla="*/ 91 h 604"/>
                <a:gd name="T18" fmla="*/ 77 w 905"/>
                <a:gd name="T19" fmla="*/ 78 h 604"/>
                <a:gd name="T20" fmla="*/ 92 w 905"/>
                <a:gd name="T21" fmla="*/ 67 h 604"/>
                <a:gd name="T22" fmla="*/ 108 w 905"/>
                <a:gd name="T23" fmla="*/ 62 h 604"/>
                <a:gd name="T24" fmla="*/ 127 w 905"/>
                <a:gd name="T25" fmla="*/ 61 h 604"/>
                <a:gd name="T26" fmla="*/ 144 w 905"/>
                <a:gd name="T27" fmla="*/ 65 h 604"/>
                <a:gd name="T28" fmla="*/ 159 w 905"/>
                <a:gd name="T29" fmla="*/ 74 h 604"/>
                <a:gd name="T30" fmla="*/ 170 w 905"/>
                <a:gd name="T31" fmla="*/ 87 h 604"/>
                <a:gd name="T32" fmla="*/ 178 w 905"/>
                <a:gd name="T33" fmla="*/ 103 h 604"/>
                <a:gd name="T34" fmla="*/ 181 w 905"/>
                <a:gd name="T35" fmla="*/ 120 h 604"/>
                <a:gd name="T36" fmla="*/ 178 w 905"/>
                <a:gd name="T37" fmla="*/ 138 h 604"/>
                <a:gd name="T38" fmla="*/ 170 w 905"/>
                <a:gd name="T39" fmla="*/ 155 h 604"/>
                <a:gd name="T40" fmla="*/ 159 w 905"/>
                <a:gd name="T41" fmla="*/ 167 h 604"/>
                <a:gd name="T42" fmla="*/ 144 w 905"/>
                <a:gd name="T43" fmla="*/ 177 h 604"/>
                <a:gd name="T44" fmla="*/ 127 w 905"/>
                <a:gd name="T45" fmla="*/ 181 h 604"/>
                <a:gd name="T46" fmla="*/ 829 w 905"/>
                <a:gd name="T47" fmla="*/ 0 h 604"/>
                <a:gd name="T48" fmla="*/ 60 w 905"/>
                <a:gd name="T49" fmla="*/ 2 h 604"/>
                <a:gd name="T50" fmla="*/ 40 w 905"/>
                <a:gd name="T51" fmla="*/ 9 h 604"/>
                <a:gd name="T52" fmla="*/ 22 w 905"/>
                <a:gd name="T53" fmla="*/ 22 h 604"/>
                <a:gd name="T54" fmla="*/ 9 w 905"/>
                <a:gd name="T55" fmla="*/ 39 h 604"/>
                <a:gd name="T56" fmla="*/ 1 w 905"/>
                <a:gd name="T57" fmla="*/ 61 h 604"/>
                <a:gd name="T58" fmla="*/ 0 w 905"/>
                <a:gd name="T59" fmla="*/ 347 h 604"/>
                <a:gd name="T60" fmla="*/ 3 w 905"/>
                <a:gd name="T61" fmla="*/ 369 h 604"/>
                <a:gd name="T62" fmla="*/ 13 w 905"/>
                <a:gd name="T63" fmla="*/ 389 h 604"/>
                <a:gd name="T64" fmla="*/ 27 w 905"/>
                <a:gd name="T65" fmla="*/ 405 h 604"/>
                <a:gd name="T66" fmla="*/ 46 w 905"/>
                <a:gd name="T67" fmla="*/ 417 h 604"/>
                <a:gd name="T68" fmla="*/ 67 w 905"/>
                <a:gd name="T69" fmla="*/ 422 h 604"/>
                <a:gd name="T70" fmla="*/ 181 w 905"/>
                <a:gd name="T71" fmla="*/ 588 h 604"/>
                <a:gd name="T72" fmla="*/ 183 w 905"/>
                <a:gd name="T73" fmla="*/ 597 h 604"/>
                <a:gd name="T74" fmla="*/ 190 w 905"/>
                <a:gd name="T75" fmla="*/ 603 h 604"/>
                <a:gd name="T76" fmla="*/ 709 w 905"/>
                <a:gd name="T77" fmla="*/ 604 h 604"/>
                <a:gd name="T78" fmla="*/ 718 w 905"/>
                <a:gd name="T79" fmla="*/ 600 h 604"/>
                <a:gd name="T80" fmla="*/ 723 w 905"/>
                <a:gd name="T81" fmla="*/ 594 h 604"/>
                <a:gd name="T82" fmla="*/ 724 w 905"/>
                <a:gd name="T83" fmla="*/ 422 h 604"/>
                <a:gd name="T84" fmla="*/ 845 w 905"/>
                <a:gd name="T85" fmla="*/ 421 h 604"/>
                <a:gd name="T86" fmla="*/ 866 w 905"/>
                <a:gd name="T87" fmla="*/ 413 h 604"/>
                <a:gd name="T88" fmla="*/ 882 w 905"/>
                <a:gd name="T89" fmla="*/ 400 h 604"/>
                <a:gd name="T90" fmla="*/ 896 w 905"/>
                <a:gd name="T91" fmla="*/ 382 h 604"/>
                <a:gd name="T92" fmla="*/ 903 w 905"/>
                <a:gd name="T93" fmla="*/ 363 h 604"/>
                <a:gd name="T94" fmla="*/ 905 w 905"/>
                <a:gd name="T95" fmla="*/ 75 h 604"/>
                <a:gd name="T96" fmla="*/ 901 w 905"/>
                <a:gd name="T97" fmla="*/ 53 h 604"/>
                <a:gd name="T98" fmla="*/ 892 w 905"/>
                <a:gd name="T99" fmla="*/ 33 h 604"/>
                <a:gd name="T100" fmla="*/ 877 w 905"/>
                <a:gd name="T101" fmla="*/ 17 h 604"/>
                <a:gd name="T102" fmla="*/ 859 w 905"/>
                <a:gd name="T103" fmla="*/ 6 h 604"/>
                <a:gd name="T104" fmla="*/ 837 w 905"/>
                <a:gd name="T105" fmla="*/ 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5" h="604">
                  <a:moveTo>
                    <a:pt x="693" y="573"/>
                  </a:moveTo>
                  <a:lnTo>
                    <a:pt x="211" y="573"/>
                  </a:lnTo>
                  <a:lnTo>
                    <a:pt x="211" y="302"/>
                  </a:lnTo>
                  <a:lnTo>
                    <a:pt x="693" y="302"/>
                  </a:lnTo>
                  <a:lnTo>
                    <a:pt x="693" y="573"/>
                  </a:lnTo>
                  <a:close/>
                  <a:moveTo>
                    <a:pt x="120" y="181"/>
                  </a:moveTo>
                  <a:lnTo>
                    <a:pt x="114" y="181"/>
                  </a:lnTo>
                  <a:lnTo>
                    <a:pt x="108" y="180"/>
                  </a:lnTo>
                  <a:lnTo>
                    <a:pt x="103" y="178"/>
                  </a:lnTo>
                  <a:lnTo>
                    <a:pt x="97" y="177"/>
                  </a:lnTo>
                  <a:lnTo>
                    <a:pt x="92" y="173"/>
                  </a:lnTo>
                  <a:lnTo>
                    <a:pt x="87" y="170"/>
                  </a:lnTo>
                  <a:lnTo>
                    <a:pt x="82" y="167"/>
                  </a:lnTo>
                  <a:lnTo>
                    <a:pt x="77" y="163"/>
                  </a:lnTo>
                  <a:lnTo>
                    <a:pt x="74" y="159"/>
                  </a:lnTo>
                  <a:lnTo>
                    <a:pt x="71" y="155"/>
                  </a:lnTo>
                  <a:lnTo>
                    <a:pt x="67" y="149"/>
                  </a:lnTo>
                  <a:lnTo>
                    <a:pt x="65" y="143"/>
                  </a:lnTo>
                  <a:lnTo>
                    <a:pt x="63" y="138"/>
                  </a:lnTo>
                  <a:lnTo>
                    <a:pt x="62" y="132"/>
                  </a:lnTo>
                  <a:lnTo>
                    <a:pt x="61" y="127"/>
                  </a:lnTo>
                  <a:lnTo>
                    <a:pt x="60" y="120"/>
                  </a:lnTo>
                  <a:lnTo>
                    <a:pt x="61" y="115"/>
                  </a:lnTo>
                  <a:lnTo>
                    <a:pt x="62" y="108"/>
                  </a:lnTo>
                  <a:lnTo>
                    <a:pt x="63" y="103"/>
                  </a:lnTo>
                  <a:lnTo>
                    <a:pt x="65" y="97"/>
                  </a:lnTo>
                  <a:lnTo>
                    <a:pt x="67" y="91"/>
                  </a:lnTo>
                  <a:lnTo>
                    <a:pt x="71" y="87"/>
                  </a:lnTo>
                  <a:lnTo>
                    <a:pt x="74" y="83"/>
                  </a:lnTo>
                  <a:lnTo>
                    <a:pt x="77" y="78"/>
                  </a:lnTo>
                  <a:lnTo>
                    <a:pt x="82" y="74"/>
                  </a:lnTo>
                  <a:lnTo>
                    <a:pt x="87" y="70"/>
                  </a:lnTo>
                  <a:lnTo>
                    <a:pt x="92" y="67"/>
                  </a:lnTo>
                  <a:lnTo>
                    <a:pt x="97" y="65"/>
                  </a:lnTo>
                  <a:lnTo>
                    <a:pt x="103" y="63"/>
                  </a:lnTo>
                  <a:lnTo>
                    <a:pt x="108" y="62"/>
                  </a:lnTo>
                  <a:lnTo>
                    <a:pt x="114" y="61"/>
                  </a:lnTo>
                  <a:lnTo>
                    <a:pt x="120" y="61"/>
                  </a:lnTo>
                  <a:lnTo>
                    <a:pt x="127" y="61"/>
                  </a:lnTo>
                  <a:lnTo>
                    <a:pt x="133" y="62"/>
                  </a:lnTo>
                  <a:lnTo>
                    <a:pt x="138" y="63"/>
                  </a:lnTo>
                  <a:lnTo>
                    <a:pt x="144" y="65"/>
                  </a:lnTo>
                  <a:lnTo>
                    <a:pt x="149" y="67"/>
                  </a:lnTo>
                  <a:lnTo>
                    <a:pt x="155" y="70"/>
                  </a:lnTo>
                  <a:lnTo>
                    <a:pt x="159" y="74"/>
                  </a:lnTo>
                  <a:lnTo>
                    <a:pt x="164" y="78"/>
                  </a:lnTo>
                  <a:lnTo>
                    <a:pt x="167" y="83"/>
                  </a:lnTo>
                  <a:lnTo>
                    <a:pt x="170" y="87"/>
                  </a:lnTo>
                  <a:lnTo>
                    <a:pt x="173" y="91"/>
                  </a:lnTo>
                  <a:lnTo>
                    <a:pt x="176" y="97"/>
                  </a:lnTo>
                  <a:lnTo>
                    <a:pt x="178" y="103"/>
                  </a:lnTo>
                  <a:lnTo>
                    <a:pt x="179" y="108"/>
                  </a:lnTo>
                  <a:lnTo>
                    <a:pt x="180" y="115"/>
                  </a:lnTo>
                  <a:lnTo>
                    <a:pt x="181" y="120"/>
                  </a:lnTo>
                  <a:lnTo>
                    <a:pt x="180" y="127"/>
                  </a:lnTo>
                  <a:lnTo>
                    <a:pt x="179" y="132"/>
                  </a:lnTo>
                  <a:lnTo>
                    <a:pt x="178" y="138"/>
                  </a:lnTo>
                  <a:lnTo>
                    <a:pt x="176" y="143"/>
                  </a:lnTo>
                  <a:lnTo>
                    <a:pt x="173" y="149"/>
                  </a:lnTo>
                  <a:lnTo>
                    <a:pt x="170" y="155"/>
                  </a:lnTo>
                  <a:lnTo>
                    <a:pt x="167" y="159"/>
                  </a:lnTo>
                  <a:lnTo>
                    <a:pt x="164" y="163"/>
                  </a:lnTo>
                  <a:lnTo>
                    <a:pt x="159" y="167"/>
                  </a:lnTo>
                  <a:lnTo>
                    <a:pt x="155" y="171"/>
                  </a:lnTo>
                  <a:lnTo>
                    <a:pt x="149" y="173"/>
                  </a:lnTo>
                  <a:lnTo>
                    <a:pt x="144" y="177"/>
                  </a:lnTo>
                  <a:lnTo>
                    <a:pt x="138" y="178"/>
                  </a:lnTo>
                  <a:lnTo>
                    <a:pt x="133" y="180"/>
                  </a:lnTo>
                  <a:lnTo>
                    <a:pt x="127" y="181"/>
                  </a:lnTo>
                  <a:lnTo>
                    <a:pt x="120" y="181"/>
                  </a:lnTo>
                  <a:lnTo>
                    <a:pt x="120" y="181"/>
                  </a:lnTo>
                  <a:close/>
                  <a:moveTo>
                    <a:pt x="829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6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5" y="46"/>
                  </a:lnTo>
                  <a:lnTo>
                    <a:pt x="3" y="53"/>
                  </a:lnTo>
                  <a:lnTo>
                    <a:pt x="1" y="61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347"/>
                  </a:lnTo>
                  <a:lnTo>
                    <a:pt x="0" y="355"/>
                  </a:lnTo>
                  <a:lnTo>
                    <a:pt x="1" y="363"/>
                  </a:lnTo>
                  <a:lnTo>
                    <a:pt x="3" y="369"/>
                  </a:lnTo>
                  <a:lnTo>
                    <a:pt x="5" y="376"/>
                  </a:lnTo>
                  <a:lnTo>
                    <a:pt x="9" y="382"/>
                  </a:lnTo>
                  <a:lnTo>
                    <a:pt x="13" y="389"/>
                  </a:lnTo>
                  <a:lnTo>
                    <a:pt x="16" y="395"/>
                  </a:lnTo>
                  <a:lnTo>
                    <a:pt x="22" y="400"/>
                  </a:lnTo>
                  <a:lnTo>
                    <a:pt x="27" y="405"/>
                  </a:lnTo>
                  <a:lnTo>
                    <a:pt x="33" y="409"/>
                  </a:lnTo>
                  <a:lnTo>
                    <a:pt x="40" y="413"/>
                  </a:lnTo>
                  <a:lnTo>
                    <a:pt x="46" y="417"/>
                  </a:lnTo>
                  <a:lnTo>
                    <a:pt x="53" y="419"/>
                  </a:lnTo>
                  <a:lnTo>
                    <a:pt x="60" y="421"/>
                  </a:lnTo>
                  <a:lnTo>
                    <a:pt x="67" y="422"/>
                  </a:lnTo>
                  <a:lnTo>
                    <a:pt x="75" y="422"/>
                  </a:lnTo>
                  <a:lnTo>
                    <a:pt x="181" y="422"/>
                  </a:lnTo>
                  <a:lnTo>
                    <a:pt x="181" y="588"/>
                  </a:lnTo>
                  <a:lnTo>
                    <a:pt x="181" y="592"/>
                  </a:lnTo>
                  <a:lnTo>
                    <a:pt x="182" y="594"/>
                  </a:lnTo>
                  <a:lnTo>
                    <a:pt x="183" y="597"/>
                  </a:lnTo>
                  <a:lnTo>
                    <a:pt x="186" y="599"/>
                  </a:lnTo>
                  <a:lnTo>
                    <a:pt x="188" y="600"/>
                  </a:lnTo>
                  <a:lnTo>
                    <a:pt x="190" y="603"/>
                  </a:lnTo>
                  <a:lnTo>
                    <a:pt x="192" y="604"/>
                  </a:lnTo>
                  <a:lnTo>
                    <a:pt x="196" y="604"/>
                  </a:lnTo>
                  <a:lnTo>
                    <a:pt x="709" y="604"/>
                  </a:lnTo>
                  <a:lnTo>
                    <a:pt x="712" y="603"/>
                  </a:lnTo>
                  <a:lnTo>
                    <a:pt x="714" y="603"/>
                  </a:lnTo>
                  <a:lnTo>
                    <a:pt x="718" y="600"/>
                  </a:lnTo>
                  <a:lnTo>
                    <a:pt x="720" y="599"/>
                  </a:lnTo>
                  <a:lnTo>
                    <a:pt x="721" y="597"/>
                  </a:lnTo>
                  <a:lnTo>
                    <a:pt x="723" y="594"/>
                  </a:lnTo>
                  <a:lnTo>
                    <a:pt x="723" y="592"/>
                  </a:lnTo>
                  <a:lnTo>
                    <a:pt x="724" y="588"/>
                  </a:lnTo>
                  <a:lnTo>
                    <a:pt x="724" y="422"/>
                  </a:lnTo>
                  <a:lnTo>
                    <a:pt x="829" y="422"/>
                  </a:lnTo>
                  <a:lnTo>
                    <a:pt x="837" y="422"/>
                  </a:lnTo>
                  <a:lnTo>
                    <a:pt x="845" y="421"/>
                  </a:lnTo>
                  <a:lnTo>
                    <a:pt x="852" y="419"/>
                  </a:lnTo>
                  <a:lnTo>
                    <a:pt x="859" y="417"/>
                  </a:lnTo>
                  <a:lnTo>
                    <a:pt x="866" y="413"/>
                  </a:lnTo>
                  <a:lnTo>
                    <a:pt x="871" y="409"/>
                  </a:lnTo>
                  <a:lnTo>
                    <a:pt x="877" y="405"/>
                  </a:lnTo>
                  <a:lnTo>
                    <a:pt x="882" y="400"/>
                  </a:lnTo>
                  <a:lnTo>
                    <a:pt x="888" y="395"/>
                  </a:lnTo>
                  <a:lnTo>
                    <a:pt x="892" y="389"/>
                  </a:lnTo>
                  <a:lnTo>
                    <a:pt x="896" y="382"/>
                  </a:lnTo>
                  <a:lnTo>
                    <a:pt x="899" y="376"/>
                  </a:lnTo>
                  <a:lnTo>
                    <a:pt x="901" y="369"/>
                  </a:lnTo>
                  <a:lnTo>
                    <a:pt x="903" y="363"/>
                  </a:lnTo>
                  <a:lnTo>
                    <a:pt x="905" y="355"/>
                  </a:lnTo>
                  <a:lnTo>
                    <a:pt x="905" y="347"/>
                  </a:lnTo>
                  <a:lnTo>
                    <a:pt x="905" y="75"/>
                  </a:lnTo>
                  <a:lnTo>
                    <a:pt x="905" y="67"/>
                  </a:lnTo>
                  <a:lnTo>
                    <a:pt x="903" y="61"/>
                  </a:lnTo>
                  <a:lnTo>
                    <a:pt x="901" y="53"/>
                  </a:lnTo>
                  <a:lnTo>
                    <a:pt x="899" y="46"/>
                  </a:lnTo>
                  <a:lnTo>
                    <a:pt x="896" y="39"/>
                  </a:lnTo>
                  <a:lnTo>
                    <a:pt x="892" y="33"/>
                  </a:lnTo>
                  <a:lnTo>
                    <a:pt x="888" y="27"/>
                  </a:lnTo>
                  <a:lnTo>
                    <a:pt x="882" y="22"/>
                  </a:lnTo>
                  <a:lnTo>
                    <a:pt x="877" y="17"/>
                  </a:lnTo>
                  <a:lnTo>
                    <a:pt x="871" y="13"/>
                  </a:lnTo>
                  <a:lnTo>
                    <a:pt x="866" y="9"/>
                  </a:lnTo>
                  <a:lnTo>
                    <a:pt x="859" y="6"/>
                  </a:lnTo>
                  <a:lnTo>
                    <a:pt x="852" y="3"/>
                  </a:lnTo>
                  <a:lnTo>
                    <a:pt x="845" y="2"/>
                  </a:lnTo>
                  <a:lnTo>
                    <a:pt x="837" y="1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473"/>
            <p:cNvSpPr>
              <a:spLocks noEditPoints="1"/>
            </p:cNvSpPr>
            <p:nvPr/>
          </p:nvSpPr>
          <p:spPr bwMode="auto">
            <a:xfrm>
              <a:off x="4386263" y="1382713"/>
              <a:ext cx="173038" cy="66675"/>
            </a:xfrm>
            <a:custGeom>
              <a:avLst/>
              <a:gdLst>
                <a:gd name="T0" fmla="*/ 407 w 543"/>
                <a:gd name="T1" fmla="*/ 15 h 211"/>
                <a:gd name="T2" fmla="*/ 528 w 543"/>
                <a:gd name="T3" fmla="*/ 136 h 211"/>
                <a:gd name="T4" fmla="*/ 407 w 543"/>
                <a:gd name="T5" fmla="*/ 136 h 211"/>
                <a:gd name="T6" fmla="*/ 407 w 543"/>
                <a:gd name="T7" fmla="*/ 15 h 211"/>
                <a:gd name="T8" fmla="*/ 15 w 543"/>
                <a:gd name="T9" fmla="*/ 211 h 211"/>
                <a:gd name="T10" fmla="*/ 528 w 543"/>
                <a:gd name="T11" fmla="*/ 211 h 211"/>
                <a:gd name="T12" fmla="*/ 531 w 543"/>
                <a:gd name="T13" fmla="*/ 211 h 211"/>
                <a:gd name="T14" fmla="*/ 533 w 543"/>
                <a:gd name="T15" fmla="*/ 210 h 211"/>
                <a:gd name="T16" fmla="*/ 537 w 543"/>
                <a:gd name="T17" fmla="*/ 209 h 211"/>
                <a:gd name="T18" fmla="*/ 539 w 543"/>
                <a:gd name="T19" fmla="*/ 206 h 211"/>
                <a:gd name="T20" fmla="*/ 540 w 543"/>
                <a:gd name="T21" fmla="*/ 204 h 211"/>
                <a:gd name="T22" fmla="*/ 542 w 543"/>
                <a:gd name="T23" fmla="*/ 202 h 211"/>
                <a:gd name="T24" fmla="*/ 542 w 543"/>
                <a:gd name="T25" fmla="*/ 199 h 211"/>
                <a:gd name="T26" fmla="*/ 543 w 543"/>
                <a:gd name="T27" fmla="*/ 195 h 211"/>
                <a:gd name="T28" fmla="*/ 543 w 543"/>
                <a:gd name="T29" fmla="*/ 136 h 211"/>
                <a:gd name="T30" fmla="*/ 542 w 543"/>
                <a:gd name="T31" fmla="*/ 132 h 211"/>
                <a:gd name="T32" fmla="*/ 542 w 543"/>
                <a:gd name="T33" fmla="*/ 129 h 211"/>
                <a:gd name="T34" fmla="*/ 540 w 543"/>
                <a:gd name="T35" fmla="*/ 127 h 211"/>
                <a:gd name="T36" fmla="*/ 539 w 543"/>
                <a:gd name="T37" fmla="*/ 125 h 211"/>
                <a:gd name="T38" fmla="*/ 418 w 543"/>
                <a:gd name="T39" fmla="*/ 4 h 211"/>
                <a:gd name="T40" fmla="*/ 415 w 543"/>
                <a:gd name="T41" fmla="*/ 2 h 211"/>
                <a:gd name="T42" fmla="*/ 413 w 543"/>
                <a:gd name="T43" fmla="*/ 1 h 211"/>
                <a:gd name="T44" fmla="*/ 411 w 543"/>
                <a:gd name="T45" fmla="*/ 0 h 211"/>
                <a:gd name="T46" fmla="*/ 407 w 543"/>
                <a:gd name="T47" fmla="*/ 0 h 211"/>
                <a:gd name="T48" fmla="*/ 15 w 543"/>
                <a:gd name="T49" fmla="*/ 0 h 211"/>
                <a:gd name="T50" fmla="*/ 11 w 543"/>
                <a:gd name="T51" fmla="*/ 0 h 211"/>
                <a:gd name="T52" fmla="*/ 9 w 543"/>
                <a:gd name="T53" fmla="*/ 1 h 211"/>
                <a:gd name="T54" fmla="*/ 7 w 543"/>
                <a:gd name="T55" fmla="*/ 2 h 211"/>
                <a:gd name="T56" fmla="*/ 5 w 543"/>
                <a:gd name="T57" fmla="*/ 4 h 211"/>
                <a:gd name="T58" fmla="*/ 2 w 543"/>
                <a:gd name="T59" fmla="*/ 6 h 211"/>
                <a:gd name="T60" fmla="*/ 1 w 543"/>
                <a:gd name="T61" fmla="*/ 8 h 211"/>
                <a:gd name="T62" fmla="*/ 0 w 543"/>
                <a:gd name="T63" fmla="*/ 12 h 211"/>
                <a:gd name="T64" fmla="*/ 0 w 543"/>
                <a:gd name="T65" fmla="*/ 15 h 211"/>
                <a:gd name="T66" fmla="*/ 0 w 543"/>
                <a:gd name="T67" fmla="*/ 195 h 211"/>
                <a:gd name="T68" fmla="*/ 0 w 543"/>
                <a:gd name="T69" fmla="*/ 199 h 211"/>
                <a:gd name="T70" fmla="*/ 1 w 543"/>
                <a:gd name="T71" fmla="*/ 201 h 211"/>
                <a:gd name="T72" fmla="*/ 2 w 543"/>
                <a:gd name="T73" fmla="*/ 204 h 211"/>
                <a:gd name="T74" fmla="*/ 5 w 543"/>
                <a:gd name="T75" fmla="*/ 206 h 211"/>
                <a:gd name="T76" fmla="*/ 7 w 543"/>
                <a:gd name="T77" fmla="*/ 209 h 211"/>
                <a:gd name="T78" fmla="*/ 9 w 543"/>
                <a:gd name="T79" fmla="*/ 210 h 211"/>
                <a:gd name="T80" fmla="*/ 11 w 543"/>
                <a:gd name="T81" fmla="*/ 211 h 211"/>
                <a:gd name="T82" fmla="*/ 15 w 543"/>
                <a:gd name="T83" fmla="*/ 211 h 211"/>
                <a:gd name="T84" fmla="*/ 15 w 543"/>
                <a:gd name="T85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43" h="211">
                  <a:moveTo>
                    <a:pt x="407" y="15"/>
                  </a:moveTo>
                  <a:lnTo>
                    <a:pt x="528" y="136"/>
                  </a:lnTo>
                  <a:lnTo>
                    <a:pt x="407" y="136"/>
                  </a:lnTo>
                  <a:lnTo>
                    <a:pt x="407" y="15"/>
                  </a:lnTo>
                  <a:close/>
                  <a:moveTo>
                    <a:pt x="15" y="211"/>
                  </a:moveTo>
                  <a:lnTo>
                    <a:pt x="528" y="211"/>
                  </a:lnTo>
                  <a:lnTo>
                    <a:pt x="531" y="211"/>
                  </a:lnTo>
                  <a:lnTo>
                    <a:pt x="533" y="210"/>
                  </a:lnTo>
                  <a:lnTo>
                    <a:pt x="537" y="209"/>
                  </a:lnTo>
                  <a:lnTo>
                    <a:pt x="539" y="206"/>
                  </a:lnTo>
                  <a:lnTo>
                    <a:pt x="540" y="204"/>
                  </a:lnTo>
                  <a:lnTo>
                    <a:pt x="542" y="202"/>
                  </a:lnTo>
                  <a:lnTo>
                    <a:pt x="542" y="199"/>
                  </a:lnTo>
                  <a:lnTo>
                    <a:pt x="543" y="195"/>
                  </a:lnTo>
                  <a:lnTo>
                    <a:pt x="543" y="136"/>
                  </a:lnTo>
                  <a:lnTo>
                    <a:pt x="542" y="132"/>
                  </a:lnTo>
                  <a:lnTo>
                    <a:pt x="542" y="129"/>
                  </a:lnTo>
                  <a:lnTo>
                    <a:pt x="540" y="127"/>
                  </a:lnTo>
                  <a:lnTo>
                    <a:pt x="539" y="125"/>
                  </a:lnTo>
                  <a:lnTo>
                    <a:pt x="418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1" y="0"/>
                  </a:lnTo>
                  <a:lnTo>
                    <a:pt x="407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5"/>
                  </a:lnTo>
                  <a:lnTo>
                    <a:pt x="0" y="199"/>
                  </a:lnTo>
                  <a:lnTo>
                    <a:pt x="1" y="201"/>
                  </a:lnTo>
                  <a:lnTo>
                    <a:pt x="2" y="204"/>
                  </a:lnTo>
                  <a:lnTo>
                    <a:pt x="5" y="206"/>
                  </a:lnTo>
                  <a:lnTo>
                    <a:pt x="7" y="209"/>
                  </a:lnTo>
                  <a:lnTo>
                    <a:pt x="9" y="210"/>
                  </a:lnTo>
                  <a:lnTo>
                    <a:pt x="11" y="211"/>
                  </a:lnTo>
                  <a:lnTo>
                    <a:pt x="15" y="211"/>
                  </a:lnTo>
                  <a:lnTo>
                    <a:pt x="15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74"/>
            <p:cNvSpPr>
              <a:spLocks/>
            </p:cNvSpPr>
            <p:nvPr/>
          </p:nvSpPr>
          <p:spPr bwMode="auto">
            <a:xfrm>
              <a:off x="4414838" y="1573213"/>
              <a:ext cx="115888" cy="11113"/>
            </a:xfrm>
            <a:custGeom>
              <a:avLst/>
              <a:gdLst>
                <a:gd name="T0" fmla="*/ 15 w 363"/>
                <a:gd name="T1" fmla="*/ 31 h 31"/>
                <a:gd name="T2" fmla="*/ 347 w 363"/>
                <a:gd name="T3" fmla="*/ 31 h 31"/>
                <a:gd name="T4" fmla="*/ 350 w 363"/>
                <a:gd name="T5" fmla="*/ 31 h 31"/>
                <a:gd name="T6" fmla="*/ 353 w 363"/>
                <a:gd name="T7" fmla="*/ 30 h 31"/>
                <a:gd name="T8" fmla="*/ 356 w 363"/>
                <a:gd name="T9" fmla="*/ 29 h 31"/>
                <a:gd name="T10" fmla="*/ 358 w 363"/>
                <a:gd name="T11" fmla="*/ 27 h 31"/>
                <a:gd name="T12" fmla="*/ 359 w 363"/>
                <a:gd name="T13" fmla="*/ 25 h 31"/>
                <a:gd name="T14" fmla="*/ 361 w 363"/>
                <a:gd name="T15" fmla="*/ 21 h 31"/>
                <a:gd name="T16" fmla="*/ 363 w 363"/>
                <a:gd name="T17" fmla="*/ 19 h 31"/>
                <a:gd name="T18" fmla="*/ 363 w 363"/>
                <a:gd name="T19" fmla="*/ 16 h 31"/>
                <a:gd name="T20" fmla="*/ 363 w 363"/>
                <a:gd name="T21" fmla="*/ 13 h 31"/>
                <a:gd name="T22" fmla="*/ 361 w 363"/>
                <a:gd name="T23" fmla="*/ 10 h 31"/>
                <a:gd name="T24" fmla="*/ 359 w 363"/>
                <a:gd name="T25" fmla="*/ 8 h 31"/>
                <a:gd name="T26" fmla="*/ 358 w 363"/>
                <a:gd name="T27" fmla="*/ 6 h 31"/>
                <a:gd name="T28" fmla="*/ 356 w 363"/>
                <a:gd name="T29" fmla="*/ 4 h 31"/>
                <a:gd name="T30" fmla="*/ 353 w 363"/>
                <a:gd name="T31" fmla="*/ 3 h 31"/>
                <a:gd name="T32" fmla="*/ 350 w 363"/>
                <a:gd name="T33" fmla="*/ 2 h 31"/>
                <a:gd name="T34" fmla="*/ 347 w 363"/>
                <a:gd name="T35" fmla="*/ 2 h 31"/>
                <a:gd name="T36" fmla="*/ 15 w 363"/>
                <a:gd name="T37" fmla="*/ 0 h 31"/>
                <a:gd name="T38" fmla="*/ 12 w 363"/>
                <a:gd name="T39" fmla="*/ 2 h 31"/>
                <a:gd name="T40" fmla="*/ 10 w 363"/>
                <a:gd name="T41" fmla="*/ 3 h 31"/>
                <a:gd name="T42" fmla="*/ 6 w 363"/>
                <a:gd name="T43" fmla="*/ 4 h 31"/>
                <a:gd name="T44" fmla="*/ 4 w 363"/>
                <a:gd name="T45" fmla="*/ 6 h 31"/>
                <a:gd name="T46" fmla="*/ 3 w 363"/>
                <a:gd name="T47" fmla="*/ 8 h 31"/>
                <a:gd name="T48" fmla="*/ 1 w 363"/>
                <a:gd name="T49" fmla="*/ 10 h 31"/>
                <a:gd name="T50" fmla="*/ 1 w 363"/>
                <a:gd name="T51" fmla="*/ 13 h 31"/>
                <a:gd name="T52" fmla="*/ 0 w 363"/>
                <a:gd name="T53" fmla="*/ 16 h 31"/>
                <a:gd name="T54" fmla="*/ 1 w 363"/>
                <a:gd name="T55" fmla="*/ 19 h 31"/>
                <a:gd name="T56" fmla="*/ 1 w 363"/>
                <a:gd name="T57" fmla="*/ 21 h 31"/>
                <a:gd name="T58" fmla="*/ 3 w 363"/>
                <a:gd name="T59" fmla="*/ 25 h 31"/>
                <a:gd name="T60" fmla="*/ 4 w 363"/>
                <a:gd name="T61" fmla="*/ 27 h 31"/>
                <a:gd name="T62" fmla="*/ 6 w 363"/>
                <a:gd name="T63" fmla="*/ 29 h 31"/>
                <a:gd name="T64" fmla="*/ 10 w 363"/>
                <a:gd name="T65" fmla="*/ 30 h 31"/>
                <a:gd name="T66" fmla="*/ 12 w 363"/>
                <a:gd name="T67" fmla="*/ 31 h 31"/>
                <a:gd name="T68" fmla="*/ 15 w 363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1">
                  <a:moveTo>
                    <a:pt x="15" y="31"/>
                  </a:moveTo>
                  <a:lnTo>
                    <a:pt x="347" y="31"/>
                  </a:lnTo>
                  <a:lnTo>
                    <a:pt x="350" y="31"/>
                  </a:lnTo>
                  <a:lnTo>
                    <a:pt x="353" y="30"/>
                  </a:lnTo>
                  <a:lnTo>
                    <a:pt x="356" y="29"/>
                  </a:lnTo>
                  <a:lnTo>
                    <a:pt x="358" y="27"/>
                  </a:lnTo>
                  <a:lnTo>
                    <a:pt x="359" y="25"/>
                  </a:lnTo>
                  <a:lnTo>
                    <a:pt x="361" y="21"/>
                  </a:lnTo>
                  <a:lnTo>
                    <a:pt x="363" y="19"/>
                  </a:lnTo>
                  <a:lnTo>
                    <a:pt x="363" y="16"/>
                  </a:lnTo>
                  <a:lnTo>
                    <a:pt x="363" y="13"/>
                  </a:lnTo>
                  <a:lnTo>
                    <a:pt x="361" y="10"/>
                  </a:lnTo>
                  <a:lnTo>
                    <a:pt x="359" y="8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3" y="3"/>
                  </a:lnTo>
                  <a:lnTo>
                    <a:pt x="350" y="2"/>
                  </a:lnTo>
                  <a:lnTo>
                    <a:pt x="347" y="2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0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10" y="30"/>
                  </a:lnTo>
                  <a:lnTo>
                    <a:pt x="12" y="31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475"/>
            <p:cNvSpPr>
              <a:spLocks/>
            </p:cNvSpPr>
            <p:nvPr/>
          </p:nvSpPr>
          <p:spPr bwMode="auto">
            <a:xfrm>
              <a:off x="4414838" y="1593850"/>
              <a:ext cx="115888" cy="9525"/>
            </a:xfrm>
            <a:custGeom>
              <a:avLst/>
              <a:gdLst>
                <a:gd name="T0" fmla="*/ 15 w 363"/>
                <a:gd name="T1" fmla="*/ 30 h 30"/>
                <a:gd name="T2" fmla="*/ 347 w 363"/>
                <a:gd name="T3" fmla="*/ 30 h 30"/>
                <a:gd name="T4" fmla="*/ 350 w 363"/>
                <a:gd name="T5" fmla="*/ 30 h 30"/>
                <a:gd name="T6" fmla="*/ 353 w 363"/>
                <a:gd name="T7" fmla="*/ 29 h 30"/>
                <a:gd name="T8" fmla="*/ 356 w 363"/>
                <a:gd name="T9" fmla="*/ 28 h 30"/>
                <a:gd name="T10" fmla="*/ 358 w 363"/>
                <a:gd name="T11" fmla="*/ 26 h 30"/>
                <a:gd name="T12" fmla="*/ 359 w 363"/>
                <a:gd name="T13" fmla="*/ 23 h 30"/>
                <a:gd name="T14" fmla="*/ 361 w 363"/>
                <a:gd name="T15" fmla="*/ 21 h 30"/>
                <a:gd name="T16" fmla="*/ 363 w 363"/>
                <a:gd name="T17" fmla="*/ 19 h 30"/>
                <a:gd name="T18" fmla="*/ 363 w 363"/>
                <a:gd name="T19" fmla="*/ 16 h 30"/>
                <a:gd name="T20" fmla="*/ 363 w 363"/>
                <a:gd name="T21" fmla="*/ 12 h 30"/>
                <a:gd name="T22" fmla="*/ 361 w 363"/>
                <a:gd name="T23" fmla="*/ 9 h 30"/>
                <a:gd name="T24" fmla="*/ 359 w 363"/>
                <a:gd name="T25" fmla="*/ 7 h 30"/>
                <a:gd name="T26" fmla="*/ 358 w 363"/>
                <a:gd name="T27" fmla="*/ 5 h 30"/>
                <a:gd name="T28" fmla="*/ 356 w 363"/>
                <a:gd name="T29" fmla="*/ 2 h 30"/>
                <a:gd name="T30" fmla="*/ 353 w 363"/>
                <a:gd name="T31" fmla="*/ 1 h 30"/>
                <a:gd name="T32" fmla="*/ 350 w 363"/>
                <a:gd name="T33" fmla="*/ 0 h 30"/>
                <a:gd name="T34" fmla="*/ 347 w 363"/>
                <a:gd name="T35" fmla="*/ 0 h 30"/>
                <a:gd name="T36" fmla="*/ 15 w 363"/>
                <a:gd name="T37" fmla="*/ 0 h 30"/>
                <a:gd name="T38" fmla="*/ 12 w 363"/>
                <a:gd name="T39" fmla="*/ 0 h 30"/>
                <a:gd name="T40" fmla="*/ 10 w 363"/>
                <a:gd name="T41" fmla="*/ 1 h 30"/>
                <a:gd name="T42" fmla="*/ 6 w 363"/>
                <a:gd name="T43" fmla="*/ 2 h 30"/>
                <a:gd name="T44" fmla="*/ 4 w 363"/>
                <a:gd name="T45" fmla="*/ 5 h 30"/>
                <a:gd name="T46" fmla="*/ 3 w 363"/>
                <a:gd name="T47" fmla="*/ 7 h 30"/>
                <a:gd name="T48" fmla="*/ 1 w 363"/>
                <a:gd name="T49" fmla="*/ 9 h 30"/>
                <a:gd name="T50" fmla="*/ 1 w 363"/>
                <a:gd name="T51" fmla="*/ 12 h 30"/>
                <a:gd name="T52" fmla="*/ 0 w 363"/>
                <a:gd name="T53" fmla="*/ 16 h 30"/>
                <a:gd name="T54" fmla="*/ 1 w 363"/>
                <a:gd name="T55" fmla="*/ 18 h 30"/>
                <a:gd name="T56" fmla="*/ 1 w 363"/>
                <a:gd name="T57" fmla="*/ 21 h 30"/>
                <a:gd name="T58" fmla="*/ 3 w 363"/>
                <a:gd name="T59" fmla="*/ 23 h 30"/>
                <a:gd name="T60" fmla="*/ 4 w 363"/>
                <a:gd name="T61" fmla="*/ 26 h 30"/>
                <a:gd name="T62" fmla="*/ 6 w 363"/>
                <a:gd name="T63" fmla="*/ 28 h 30"/>
                <a:gd name="T64" fmla="*/ 10 w 363"/>
                <a:gd name="T65" fmla="*/ 29 h 30"/>
                <a:gd name="T66" fmla="*/ 12 w 363"/>
                <a:gd name="T67" fmla="*/ 30 h 30"/>
                <a:gd name="T68" fmla="*/ 15 w 363"/>
                <a:gd name="T69" fmla="*/ 30 h 30"/>
                <a:gd name="T70" fmla="*/ 15 w 363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3" h="30">
                  <a:moveTo>
                    <a:pt x="15" y="30"/>
                  </a:moveTo>
                  <a:lnTo>
                    <a:pt x="347" y="30"/>
                  </a:lnTo>
                  <a:lnTo>
                    <a:pt x="350" y="30"/>
                  </a:lnTo>
                  <a:lnTo>
                    <a:pt x="353" y="29"/>
                  </a:lnTo>
                  <a:lnTo>
                    <a:pt x="356" y="28"/>
                  </a:lnTo>
                  <a:lnTo>
                    <a:pt x="358" y="26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3" y="19"/>
                  </a:lnTo>
                  <a:lnTo>
                    <a:pt x="363" y="16"/>
                  </a:lnTo>
                  <a:lnTo>
                    <a:pt x="363" y="12"/>
                  </a:lnTo>
                  <a:lnTo>
                    <a:pt x="361" y="9"/>
                  </a:lnTo>
                  <a:lnTo>
                    <a:pt x="359" y="7"/>
                  </a:lnTo>
                  <a:lnTo>
                    <a:pt x="358" y="5"/>
                  </a:lnTo>
                  <a:lnTo>
                    <a:pt x="356" y="2"/>
                  </a:lnTo>
                  <a:lnTo>
                    <a:pt x="353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476"/>
            <p:cNvSpPr>
              <a:spLocks/>
            </p:cNvSpPr>
            <p:nvPr/>
          </p:nvSpPr>
          <p:spPr bwMode="auto">
            <a:xfrm>
              <a:off x="4414838" y="1612900"/>
              <a:ext cx="115888" cy="9525"/>
            </a:xfrm>
            <a:custGeom>
              <a:avLst/>
              <a:gdLst>
                <a:gd name="T0" fmla="*/ 15 w 363"/>
                <a:gd name="T1" fmla="*/ 30 h 30"/>
                <a:gd name="T2" fmla="*/ 347 w 363"/>
                <a:gd name="T3" fmla="*/ 30 h 30"/>
                <a:gd name="T4" fmla="*/ 350 w 363"/>
                <a:gd name="T5" fmla="*/ 30 h 30"/>
                <a:gd name="T6" fmla="*/ 353 w 363"/>
                <a:gd name="T7" fmla="*/ 29 h 30"/>
                <a:gd name="T8" fmla="*/ 356 w 363"/>
                <a:gd name="T9" fmla="*/ 28 h 30"/>
                <a:gd name="T10" fmla="*/ 358 w 363"/>
                <a:gd name="T11" fmla="*/ 26 h 30"/>
                <a:gd name="T12" fmla="*/ 359 w 363"/>
                <a:gd name="T13" fmla="*/ 23 h 30"/>
                <a:gd name="T14" fmla="*/ 361 w 363"/>
                <a:gd name="T15" fmla="*/ 21 h 30"/>
                <a:gd name="T16" fmla="*/ 363 w 363"/>
                <a:gd name="T17" fmla="*/ 18 h 30"/>
                <a:gd name="T18" fmla="*/ 363 w 363"/>
                <a:gd name="T19" fmla="*/ 14 h 30"/>
                <a:gd name="T20" fmla="*/ 363 w 363"/>
                <a:gd name="T21" fmla="*/ 12 h 30"/>
                <a:gd name="T22" fmla="*/ 361 w 363"/>
                <a:gd name="T23" fmla="*/ 9 h 30"/>
                <a:gd name="T24" fmla="*/ 359 w 363"/>
                <a:gd name="T25" fmla="*/ 7 h 30"/>
                <a:gd name="T26" fmla="*/ 358 w 363"/>
                <a:gd name="T27" fmla="*/ 5 h 30"/>
                <a:gd name="T28" fmla="*/ 356 w 363"/>
                <a:gd name="T29" fmla="*/ 2 h 30"/>
                <a:gd name="T30" fmla="*/ 353 w 363"/>
                <a:gd name="T31" fmla="*/ 1 h 30"/>
                <a:gd name="T32" fmla="*/ 350 w 363"/>
                <a:gd name="T33" fmla="*/ 0 h 30"/>
                <a:gd name="T34" fmla="*/ 347 w 363"/>
                <a:gd name="T35" fmla="*/ 0 h 30"/>
                <a:gd name="T36" fmla="*/ 15 w 363"/>
                <a:gd name="T37" fmla="*/ 0 h 30"/>
                <a:gd name="T38" fmla="*/ 12 w 363"/>
                <a:gd name="T39" fmla="*/ 0 h 30"/>
                <a:gd name="T40" fmla="*/ 10 w 363"/>
                <a:gd name="T41" fmla="*/ 1 h 30"/>
                <a:gd name="T42" fmla="*/ 6 w 363"/>
                <a:gd name="T43" fmla="*/ 2 h 30"/>
                <a:gd name="T44" fmla="*/ 4 w 363"/>
                <a:gd name="T45" fmla="*/ 5 h 30"/>
                <a:gd name="T46" fmla="*/ 3 w 363"/>
                <a:gd name="T47" fmla="*/ 7 h 30"/>
                <a:gd name="T48" fmla="*/ 1 w 363"/>
                <a:gd name="T49" fmla="*/ 9 h 30"/>
                <a:gd name="T50" fmla="*/ 1 w 363"/>
                <a:gd name="T51" fmla="*/ 12 h 30"/>
                <a:gd name="T52" fmla="*/ 0 w 363"/>
                <a:gd name="T53" fmla="*/ 14 h 30"/>
                <a:gd name="T54" fmla="*/ 1 w 363"/>
                <a:gd name="T55" fmla="*/ 18 h 30"/>
                <a:gd name="T56" fmla="*/ 1 w 363"/>
                <a:gd name="T57" fmla="*/ 21 h 30"/>
                <a:gd name="T58" fmla="*/ 3 w 363"/>
                <a:gd name="T59" fmla="*/ 23 h 30"/>
                <a:gd name="T60" fmla="*/ 4 w 363"/>
                <a:gd name="T61" fmla="*/ 26 h 30"/>
                <a:gd name="T62" fmla="*/ 6 w 363"/>
                <a:gd name="T63" fmla="*/ 28 h 30"/>
                <a:gd name="T64" fmla="*/ 10 w 363"/>
                <a:gd name="T65" fmla="*/ 29 h 30"/>
                <a:gd name="T66" fmla="*/ 12 w 363"/>
                <a:gd name="T67" fmla="*/ 30 h 30"/>
                <a:gd name="T68" fmla="*/ 15 w 363"/>
                <a:gd name="T69" fmla="*/ 30 h 30"/>
                <a:gd name="T70" fmla="*/ 15 w 363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3" h="30">
                  <a:moveTo>
                    <a:pt x="15" y="30"/>
                  </a:moveTo>
                  <a:lnTo>
                    <a:pt x="347" y="30"/>
                  </a:lnTo>
                  <a:lnTo>
                    <a:pt x="350" y="30"/>
                  </a:lnTo>
                  <a:lnTo>
                    <a:pt x="353" y="29"/>
                  </a:lnTo>
                  <a:lnTo>
                    <a:pt x="356" y="28"/>
                  </a:lnTo>
                  <a:lnTo>
                    <a:pt x="358" y="26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3" y="18"/>
                  </a:lnTo>
                  <a:lnTo>
                    <a:pt x="363" y="14"/>
                  </a:lnTo>
                  <a:lnTo>
                    <a:pt x="363" y="12"/>
                  </a:lnTo>
                  <a:lnTo>
                    <a:pt x="361" y="9"/>
                  </a:lnTo>
                  <a:lnTo>
                    <a:pt x="359" y="7"/>
                  </a:lnTo>
                  <a:lnTo>
                    <a:pt x="358" y="5"/>
                  </a:lnTo>
                  <a:lnTo>
                    <a:pt x="356" y="2"/>
                  </a:lnTo>
                  <a:lnTo>
                    <a:pt x="353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4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4" name="Freeform 1496"/>
          <p:cNvSpPr>
            <a:spLocks noEditPoints="1"/>
          </p:cNvSpPr>
          <p:nvPr/>
        </p:nvSpPr>
        <p:spPr bwMode="auto">
          <a:xfrm>
            <a:off x="6620112" y="3695540"/>
            <a:ext cx="220663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1592"/>
          <p:cNvSpPr>
            <a:spLocks noEditPoints="1"/>
          </p:cNvSpPr>
          <p:nvPr/>
        </p:nvSpPr>
        <p:spPr bwMode="auto">
          <a:xfrm>
            <a:off x="5939631" y="3070885"/>
            <a:ext cx="287338" cy="268288"/>
          </a:xfrm>
          <a:custGeom>
            <a:avLst/>
            <a:gdLst>
              <a:gd name="T0" fmla="*/ 91 w 905"/>
              <a:gd name="T1" fmla="*/ 90 h 845"/>
              <a:gd name="T2" fmla="*/ 452 w 905"/>
              <a:gd name="T3" fmla="*/ 679 h 845"/>
              <a:gd name="T4" fmla="*/ 436 w 905"/>
              <a:gd name="T5" fmla="*/ 673 h 845"/>
              <a:gd name="T6" fmla="*/ 425 w 905"/>
              <a:gd name="T7" fmla="*/ 660 h 845"/>
              <a:gd name="T8" fmla="*/ 423 w 905"/>
              <a:gd name="T9" fmla="*/ 642 h 845"/>
              <a:gd name="T10" fmla="*/ 431 w 905"/>
              <a:gd name="T11" fmla="*/ 627 h 845"/>
              <a:gd name="T12" fmla="*/ 447 w 905"/>
              <a:gd name="T13" fmla="*/ 619 h 845"/>
              <a:gd name="T14" fmla="*/ 465 w 905"/>
              <a:gd name="T15" fmla="*/ 621 h 845"/>
              <a:gd name="T16" fmla="*/ 478 w 905"/>
              <a:gd name="T17" fmla="*/ 631 h 845"/>
              <a:gd name="T18" fmla="*/ 482 w 905"/>
              <a:gd name="T19" fmla="*/ 649 h 845"/>
              <a:gd name="T20" fmla="*/ 478 w 905"/>
              <a:gd name="T21" fmla="*/ 666 h 845"/>
              <a:gd name="T22" fmla="*/ 465 w 905"/>
              <a:gd name="T23" fmla="*/ 677 h 845"/>
              <a:gd name="T24" fmla="*/ 830 w 905"/>
              <a:gd name="T25" fmla="*/ 0 h 845"/>
              <a:gd name="T26" fmla="*/ 60 w 905"/>
              <a:gd name="T27" fmla="*/ 2 h 845"/>
              <a:gd name="T28" fmla="*/ 40 w 905"/>
              <a:gd name="T29" fmla="*/ 8 h 845"/>
              <a:gd name="T30" fmla="*/ 22 w 905"/>
              <a:gd name="T31" fmla="*/ 22 h 845"/>
              <a:gd name="T32" fmla="*/ 9 w 905"/>
              <a:gd name="T33" fmla="*/ 39 h 845"/>
              <a:gd name="T34" fmla="*/ 1 w 905"/>
              <a:gd name="T35" fmla="*/ 60 h 845"/>
              <a:gd name="T36" fmla="*/ 0 w 905"/>
              <a:gd name="T37" fmla="*/ 649 h 845"/>
              <a:gd name="T38" fmla="*/ 3 w 905"/>
              <a:gd name="T39" fmla="*/ 671 h 845"/>
              <a:gd name="T40" fmla="*/ 13 w 905"/>
              <a:gd name="T41" fmla="*/ 691 h 845"/>
              <a:gd name="T42" fmla="*/ 28 w 905"/>
              <a:gd name="T43" fmla="*/ 706 h 845"/>
              <a:gd name="T44" fmla="*/ 46 w 905"/>
              <a:gd name="T45" fmla="*/ 718 h 845"/>
              <a:gd name="T46" fmla="*/ 67 w 905"/>
              <a:gd name="T47" fmla="*/ 724 h 845"/>
              <a:gd name="T48" fmla="*/ 306 w 905"/>
              <a:gd name="T49" fmla="*/ 815 h 845"/>
              <a:gd name="T50" fmla="*/ 175 w 905"/>
              <a:gd name="T51" fmla="*/ 816 h 845"/>
              <a:gd name="T52" fmla="*/ 168 w 905"/>
              <a:gd name="T53" fmla="*/ 822 h 845"/>
              <a:gd name="T54" fmla="*/ 166 w 905"/>
              <a:gd name="T55" fmla="*/ 829 h 845"/>
              <a:gd name="T56" fmla="*/ 168 w 905"/>
              <a:gd name="T57" fmla="*/ 838 h 845"/>
              <a:gd name="T58" fmla="*/ 175 w 905"/>
              <a:gd name="T59" fmla="*/ 844 h 845"/>
              <a:gd name="T60" fmla="*/ 316 w 905"/>
              <a:gd name="T61" fmla="*/ 845 h 845"/>
              <a:gd name="T62" fmla="*/ 725 w 905"/>
              <a:gd name="T63" fmla="*/ 845 h 845"/>
              <a:gd name="T64" fmla="*/ 732 w 905"/>
              <a:gd name="T65" fmla="*/ 843 h 845"/>
              <a:gd name="T66" fmla="*/ 738 w 905"/>
              <a:gd name="T67" fmla="*/ 836 h 845"/>
              <a:gd name="T68" fmla="*/ 739 w 905"/>
              <a:gd name="T69" fmla="*/ 827 h 845"/>
              <a:gd name="T70" fmla="*/ 734 w 905"/>
              <a:gd name="T71" fmla="*/ 819 h 845"/>
              <a:gd name="T72" fmla="*/ 727 w 905"/>
              <a:gd name="T73" fmla="*/ 815 h 845"/>
              <a:gd name="T74" fmla="*/ 565 w 905"/>
              <a:gd name="T75" fmla="*/ 724 h 845"/>
              <a:gd name="T76" fmla="*/ 845 w 905"/>
              <a:gd name="T77" fmla="*/ 722 h 845"/>
              <a:gd name="T78" fmla="*/ 866 w 905"/>
              <a:gd name="T79" fmla="*/ 715 h 845"/>
              <a:gd name="T80" fmla="*/ 883 w 905"/>
              <a:gd name="T81" fmla="*/ 702 h 845"/>
              <a:gd name="T82" fmla="*/ 896 w 905"/>
              <a:gd name="T83" fmla="*/ 684 h 845"/>
              <a:gd name="T84" fmla="*/ 904 w 905"/>
              <a:gd name="T85" fmla="*/ 663 h 845"/>
              <a:gd name="T86" fmla="*/ 905 w 905"/>
              <a:gd name="T87" fmla="*/ 75 h 845"/>
              <a:gd name="T88" fmla="*/ 901 w 905"/>
              <a:gd name="T89" fmla="*/ 53 h 845"/>
              <a:gd name="T90" fmla="*/ 893 w 905"/>
              <a:gd name="T91" fmla="*/ 33 h 845"/>
              <a:gd name="T92" fmla="*/ 878 w 905"/>
              <a:gd name="T93" fmla="*/ 17 h 845"/>
              <a:gd name="T94" fmla="*/ 859 w 905"/>
              <a:gd name="T95" fmla="*/ 5 h 845"/>
              <a:gd name="T96" fmla="*/ 837 w 905"/>
              <a:gd name="T97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5" h="845">
                <a:moveTo>
                  <a:pt x="815" y="604"/>
                </a:moveTo>
                <a:lnTo>
                  <a:pt x="91" y="604"/>
                </a:lnTo>
                <a:lnTo>
                  <a:pt x="91" y="90"/>
                </a:lnTo>
                <a:lnTo>
                  <a:pt x="815" y="90"/>
                </a:lnTo>
                <a:lnTo>
                  <a:pt x="815" y="604"/>
                </a:lnTo>
                <a:close/>
                <a:moveTo>
                  <a:pt x="452" y="679"/>
                </a:moveTo>
                <a:lnTo>
                  <a:pt x="447" y="678"/>
                </a:lnTo>
                <a:lnTo>
                  <a:pt x="441" y="677"/>
                </a:lnTo>
                <a:lnTo>
                  <a:pt x="436" y="673"/>
                </a:lnTo>
                <a:lnTo>
                  <a:pt x="431" y="670"/>
                </a:lnTo>
                <a:lnTo>
                  <a:pt x="428" y="666"/>
                </a:lnTo>
                <a:lnTo>
                  <a:pt x="425" y="660"/>
                </a:lnTo>
                <a:lnTo>
                  <a:pt x="423" y="654"/>
                </a:lnTo>
                <a:lnTo>
                  <a:pt x="423" y="649"/>
                </a:lnTo>
                <a:lnTo>
                  <a:pt x="423" y="642"/>
                </a:lnTo>
                <a:lnTo>
                  <a:pt x="425" y="637"/>
                </a:lnTo>
                <a:lnTo>
                  <a:pt x="428" y="631"/>
                </a:lnTo>
                <a:lnTo>
                  <a:pt x="431" y="627"/>
                </a:lnTo>
                <a:lnTo>
                  <a:pt x="436" y="623"/>
                </a:lnTo>
                <a:lnTo>
                  <a:pt x="441" y="621"/>
                </a:lnTo>
                <a:lnTo>
                  <a:pt x="447" y="619"/>
                </a:lnTo>
                <a:lnTo>
                  <a:pt x="452" y="618"/>
                </a:lnTo>
                <a:lnTo>
                  <a:pt x="459" y="619"/>
                </a:lnTo>
                <a:lnTo>
                  <a:pt x="465" y="621"/>
                </a:lnTo>
                <a:lnTo>
                  <a:pt x="469" y="623"/>
                </a:lnTo>
                <a:lnTo>
                  <a:pt x="473" y="627"/>
                </a:lnTo>
                <a:lnTo>
                  <a:pt x="478" y="631"/>
                </a:lnTo>
                <a:lnTo>
                  <a:pt x="480" y="637"/>
                </a:lnTo>
                <a:lnTo>
                  <a:pt x="482" y="642"/>
                </a:lnTo>
                <a:lnTo>
                  <a:pt x="482" y="649"/>
                </a:lnTo>
                <a:lnTo>
                  <a:pt x="482" y="654"/>
                </a:lnTo>
                <a:lnTo>
                  <a:pt x="480" y="660"/>
                </a:lnTo>
                <a:lnTo>
                  <a:pt x="478" y="666"/>
                </a:lnTo>
                <a:lnTo>
                  <a:pt x="473" y="670"/>
                </a:lnTo>
                <a:lnTo>
                  <a:pt x="469" y="673"/>
                </a:lnTo>
                <a:lnTo>
                  <a:pt x="465" y="677"/>
                </a:lnTo>
                <a:lnTo>
                  <a:pt x="459" y="678"/>
                </a:lnTo>
                <a:lnTo>
                  <a:pt x="452" y="679"/>
                </a:lnTo>
                <a:close/>
                <a:moveTo>
                  <a:pt x="830" y="0"/>
                </a:moveTo>
                <a:lnTo>
                  <a:pt x="75" y="0"/>
                </a:lnTo>
                <a:lnTo>
                  <a:pt x="67" y="0"/>
                </a:lnTo>
                <a:lnTo>
                  <a:pt x="60" y="2"/>
                </a:lnTo>
                <a:lnTo>
                  <a:pt x="53" y="3"/>
                </a:lnTo>
                <a:lnTo>
                  <a:pt x="46" y="5"/>
                </a:lnTo>
                <a:lnTo>
                  <a:pt x="40" y="8"/>
                </a:lnTo>
                <a:lnTo>
                  <a:pt x="33" y="13"/>
                </a:lnTo>
                <a:lnTo>
                  <a:pt x="28" y="17"/>
                </a:lnTo>
                <a:lnTo>
                  <a:pt x="22" y="22"/>
                </a:lnTo>
                <a:lnTo>
                  <a:pt x="18" y="27"/>
                </a:lnTo>
                <a:lnTo>
                  <a:pt x="13" y="33"/>
                </a:lnTo>
                <a:lnTo>
                  <a:pt x="9" y="39"/>
                </a:lnTo>
                <a:lnTo>
                  <a:pt x="6" y="46"/>
                </a:lnTo>
                <a:lnTo>
                  <a:pt x="3" y="53"/>
                </a:lnTo>
                <a:lnTo>
                  <a:pt x="1" y="60"/>
                </a:lnTo>
                <a:lnTo>
                  <a:pt x="0" y="67"/>
                </a:lnTo>
                <a:lnTo>
                  <a:pt x="0" y="75"/>
                </a:lnTo>
                <a:lnTo>
                  <a:pt x="0" y="649"/>
                </a:lnTo>
                <a:lnTo>
                  <a:pt x="0" y="657"/>
                </a:lnTo>
                <a:lnTo>
                  <a:pt x="1" y="663"/>
                </a:lnTo>
                <a:lnTo>
                  <a:pt x="3" y="671"/>
                </a:lnTo>
                <a:lnTo>
                  <a:pt x="6" y="678"/>
                </a:lnTo>
                <a:lnTo>
                  <a:pt x="9" y="684"/>
                </a:lnTo>
                <a:lnTo>
                  <a:pt x="13" y="691"/>
                </a:lnTo>
                <a:lnTo>
                  <a:pt x="18" y="697"/>
                </a:lnTo>
                <a:lnTo>
                  <a:pt x="22" y="702"/>
                </a:lnTo>
                <a:lnTo>
                  <a:pt x="28" y="706"/>
                </a:lnTo>
                <a:lnTo>
                  <a:pt x="33" y="711"/>
                </a:lnTo>
                <a:lnTo>
                  <a:pt x="40" y="715"/>
                </a:lnTo>
                <a:lnTo>
                  <a:pt x="46" y="718"/>
                </a:lnTo>
                <a:lnTo>
                  <a:pt x="53" y="721"/>
                </a:lnTo>
                <a:lnTo>
                  <a:pt x="60" y="722"/>
                </a:lnTo>
                <a:lnTo>
                  <a:pt x="67" y="724"/>
                </a:lnTo>
                <a:lnTo>
                  <a:pt x="75" y="724"/>
                </a:lnTo>
                <a:lnTo>
                  <a:pt x="341" y="724"/>
                </a:lnTo>
                <a:lnTo>
                  <a:pt x="306" y="815"/>
                </a:lnTo>
                <a:lnTo>
                  <a:pt x="181" y="815"/>
                </a:lnTo>
                <a:lnTo>
                  <a:pt x="178" y="815"/>
                </a:lnTo>
                <a:lnTo>
                  <a:pt x="175" y="816"/>
                </a:lnTo>
                <a:lnTo>
                  <a:pt x="173" y="817"/>
                </a:lnTo>
                <a:lnTo>
                  <a:pt x="170" y="819"/>
                </a:lnTo>
                <a:lnTo>
                  <a:pt x="168" y="822"/>
                </a:lnTo>
                <a:lnTo>
                  <a:pt x="167" y="824"/>
                </a:lnTo>
                <a:lnTo>
                  <a:pt x="166" y="827"/>
                </a:lnTo>
                <a:lnTo>
                  <a:pt x="166" y="829"/>
                </a:lnTo>
                <a:lnTo>
                  <a:pt x="166" y="833"/>
                </a:lnTo>
                <a:lnTo>
                  <a:pt x="167" y="836"/>
                </a:lnTo>
                <a:lnTo>
                  <a:pt x="168" y="838"/>
                </a:lnTo>
                <a:lnTo>
                  <a:pt x="170" y="840"/>
                </a:lnTo>
                <a:lnTo>
                  <a:pt x="173" y="843"/>
                </a:lnTo>
                <a:lnTo>
                  <a:pt x="175" y="844"/>
                </a:lnTo>
                <a:lnTo>
                  <a:pt x="178" y="845"/>
                </a:lnTo>
                <a:lnTo>
                  <a:pt x="181" y="845"/>
                </a:lnTo>
                <a:lnTo>
                  <a:pt x="316" y="845"/>
                </a:lnTo>
                <a:lnTo>
                  <a:pt x="588" y="845"/>
                </a:lnTo>
                <a:lnTo>
                  <a:pt x="588" y="845"/>
                </a:lnTo>
                <a:lnTo>
                  <a:pt x="725" y="845"/>
                </a:lnTo>
                <a:lnTo>
                  <a:pt x="727" y="845"/>
                </a:lnTo>
                <a:lnTo>
                  <a:pt x="730" y="844"/>
                </a:lnTo>
                <a:lnTo>
                  <a:pt x="732" y="843"/>
                </a:lnTo>
                <a:lnTo>
                  <a:pt x="734" y="840"/>
                </a:lnTo>
                <a:lnTo>
                  <a:pt x="737" y="838"/>
                </a:lnTo>
                <a:lnTo>
                  <a:pt x="738" y="836"/>
                </a:lnTo>
                <a:lnTo>
                  <a:pt x="739" y="833"/>
                </a:lnTo>
                <a:lnTo>
                  <a:pt x="739" y="829"/>
                </a:lnTo>
                <a:lnTo>
                  <a:pt x="739" y="827"/>
                </a:lnTo>
                <a:lnTo>
                  <a:pt x="738" y="824"/>
                </a:lnTo>
                <a:lnTo>
                  <a:pt x="737" y="822"/>
                </a:lnTo>
                <a:lnTo>
                  <a:pt x="734" y="819"/>
                </a:lnTo>
                <a:lnTo>
                  <a:pt x="732" y="817"/>
                </a:lnTo>
                <a:lnTo>
                  <a:pt x="730" y="816"/>
                </a:lnTo>
                <a:lnTo>
                  <a:pt x="727" y="815"/>
                </a:lnTo>
                <a:lnTo>
                  <a:pt x="725" y="815"/>
                </a:lnTo>
                <a:lnTo>
                  <a:pt x="598" y="815"/>
                </a:lnTo>
                <a:lnTo>
                  <a:pt x="565" y="724"/>
                </a:lnTo>
                <a:lnTo>
                  <a:pt x="830" y="724"/>
                </a:lnTo>
                <a:lnTo>
                  <a:pt x="837" y="723"/>
                </a:lnTo>
                <a:lnTo>
                  <a:pt x="845" y="722"/>
                </a:lnTo>
                <a:lnTo>
                  <a:pt x="852" y="721"/>
                </a:lnTo>
                <a:lnTo>
                  <a:pt x="859" y="718"/>
                </a:lnTo>
                <a:lnTo>
                  <a:pt x="866" y="715"/>
                </a:lnTo>
                <a:lnTo>
                  <a:pt x="872" y="711"/>
                </a:lnTo>
                <a:lnTo>
                  <a:pt x="878" y="706"/>
                </a:lnTo>
                <a:lnTo>
                  <a:pt x="883" y="702"/>
                </a:lnTo>
                <a:lnTo>
                  <a:pt x="888" y="697"/>
                </a:lnTo>
                <a:lnTo>
                  <a:pt x="893" y="691"/>
                </a:lnTo>
                <a:lnTo>
                  <a:pt x="896" y="684"/>
                </a:lnTo>
                <a:lnTo>
                  <a:pt x="899" y="678"/>
                </a:lnTo>
                <a:lnTo>
                  <a:pt x="901" y="671"/>
                </a:lnTo>
                <a:lnTo>
                  <a:pt x="904" y="663"/>
                </a:lnTo>
                <a:lnTo>
                  <a:pt x="905" y="657"/>
                </a:lnTo>
                <a:lnTo>
                  <a:pt x="905" y="649"/>
                </a:lnTo>
                <a:lnTo>
                  <a:pt x="905" y="75"/>
                </a:lnTo>
                <a:lnTo>
                  <a:pt x="905" y="67"/>
                </a:lnTo>
                <a:lnTo>
                  <a:pt x="904" y="60"/>
                </a:lnTo>
                <a:lnTo>
                  <a:pt x="901" y="53"/>
                </a:lnTo>
                <a:lnTo>
                  <a:pt x="899" y="46"/>
                </a:lnTo>
                <a:lnTo>
                  <a:pt x="896" y="39"/>
                </a:lnTo>
                <a:lnTo>
                  <a:pt x="893" y="33"/>
                </a:lnTo>
                <a:lnTo>
                  <a:pt x="888" y="27"/>
                </a:lnTo>
                <a:lnTo>
                  <a:pt x="883" y="22"/>
                </a:lnTo>
                <a:lnTo>
                  <a:pt x="878" y="17"/>
                </a:lnTo>
                <a:lnTo>
                  <a:pt x="872" y="13"/>
                </a:lnTo>
                <a:lnTo>
                  <a:pt x="866" y="8"/>
                </a:lnTo>
                <a:lnTo>
                  <a:pt x="859" y="5"/>
                </a:lnTo>
                <a:lnTo>
                  <a:pt x="852" y="3"/>
                </a:lnTo>
                <a:lnTo>
                  <a:pt x="845" y="2"/>
                </a:lnTo>
                <a:lnTo>
                  <a:pt x="837" y="0"/>
                </a:lnTo>
                <a:lnTo>
                  <a:pt x="8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6" name="Group 45"/>
          <p:cNvGrpSpPr/>
          <p:nvPr/>
        </p:nvGrpSpPr>
        <p:grpSpPr>
          <a:xfrm>
            <a:off x="343138" y="4315506"/>
            <a:ext cx="11280295" cy="1200361"/>
            <a:chOff x="343138" y="3531299"/>
            <a:chExt cx="11280295" cy="1200361"/>
          </a:xfrm>
        </p:grpSpPr>
        <p:sp>
          <p:nvSpPr>
            <p:cNvPr id="47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59"/>
            <p:cNvSpPr>
              <a:spLocks noChangeArrowheads="1"/>
            </p:cNvSpPr>
            <p:nvPr/>
          </p:nvSpPr>
          <p:spPr bwMode="auto">
            <a:xfrm>
              <a:off x="8670110" y="3627291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60"/>
            <p:cNvSpPr>
              <a:spLocks noChangeArrowheads="1"/>
            </p:cNvSpPr>
            <p:nvPr/>
          </p:nvSpPr>
          <p:spPr bwMode="auto">
            <a:xfrm>
              <a:off x="3280991" y="455369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64"/>
            <p:cNvSpPr>
              <a:spLocks noChangeArrowheads="1"/>
            </p:cNvSpPr>
            <p:nvPr/>
          </p:nvSpPr>
          <p:spPr bwMode="auto">
            <a:xfrm>
              <a:off x="3346535" y="40229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65"/>
            <p:cNvSpPr>
              <a:spLocks noChangeArrowheads="1"/>
            </p:cNvSpPr>
            <p:nvPr/>
          </p:nvSpPr>
          <p:spPr bwMode="auto">
            <a:xfrm>
              <a:off x="8212883" y="4514009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66"/>
            <p:cNvSpPr>
              <a:spLocks noChangeArrowheads="1"/>
            </p:cNvSpPr>
            <p:nvPr/>
          </p:nvSpPr>
          <p:spPr bwMode="auto">
            <a:xfrm>
              <a:off x="1739835" y="38138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67"/>
            <p:cNvSpPr>
              <a:spLocks noChangeArrowheads="1"/>
            </p:cNvSpPr>
            <p:nvPr/>
          </p:nvSpPr>
          <p:spPr bwMode="auto">
            <a:xfrm>
              <a:off x="1430594" y="454784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68"/>
            <p:cNvSpPr>
              <a:spLocks noChangeArrowheads="1"/>
            </p:cNvSpPr>
            <p:nvPr/>
          </p:nvSpPr>
          <p:spPr bwMode="auto">
            <a:xfrm>
              <a:off x="9253286" y="4654980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73"/>
            <p:cNvSpPr>
              <a:spLocks noChangeArrowheads="1"/>
            </p:cNvSpPr>
            <p:nvPr/>
          </p:nvSpPr>
          <p:spPr bwMode="auto">
            <a:xfrm>
              <a:off x="343138" y="3812050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77"/>
            <p:cNvSpPr>
              <a:spLocks noChangeArrowheads="1"/>
            </p:cNvSpPr>
            <p:nvPr/>
          </p:nvSpPr>
          <p:spPr bwMode="auto">
            <a:xfrm>
              <a:off x="9732716" y="4233523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Text Placeholder 2"/>
          <p:cNvSpPr txBox="1">
            <a:spLocks/>
          </p:cNvSpPr>
          <p:nvPr/>
        </p:nvSpPr>
        <p:spPr>
          <a:xfrm>
            <a:off x="4017347" y="1965054"/>
            <a:ext cx="4154196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332442" y="1545562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886942" y="3302452"/>
            <a:ext cx="3916346" cy="1073517"/>
            <a:chOff x="886942" y="3048782"/>
            <a:chExt cx="3916346" cy="1073517"/>
          </a:xfrm>
        </p:grpSpPr>
        <p:sp>
          <p:nvSpPr>
            <p:cNvPr id="74" name="Text Placeholder 2"/>
            <p:cNvSpPr txBox="1">
              <a:spLocks/>
            </p:cNvSpPr>
            <p:nvPr/>
          </p:nvSpPr>
          <p:spPr>
            <a:xfrm>
              <a:off x="886942" y="3468274"/>
              <a:ext cx="3916346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279281" y="3048782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7358803" y="3302452"/>
            <a:ext cx="3916346" cy="1073517"/>
            <a:chOff x="7108746" y="3302452"/>
            <a:chExt cx="3916346" cy="1073517"/>
          </a:xfrm>
        </p:grpSpPr>
        <p:sp>
          <p:nvSpPr>
            <p:cNvPr id="78" name="Text Placeholder 2"/>
            <p:cNvSpPr txBox="1">
              <a:spLocks/>
            </p:cNvSpPr>
            <p:nvPr/>
          </p:nvSpPr>
          <p:spPr>
            <a:xfrm>
              <a:off x="7108746" y="3721944"/>
              <a:ext cx="3916346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108746" y="3302452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3728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992124" y="1549406"/>
            <a:ext cx="7183437" cy="4689470"/>
            <a:chOff x="3" y="2"/>
            <a:chExt cx="6017" cy="3928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3" y="1735"/>
              <a:ext cx="5482" cy="2195"/>
            </a:xfrm>
            <a:custGeom>
              <a:avLst/>
              <a:gdLst>
                <a:gd name="T0" fmla="*/ 0 w 5482"/>
                <a:gd name="T1" fmla="*/ 2195 h 2195"/>
                <a:gd name="T2" fmla="*/ 5000 w 5482"/>
                <a:gd name="T3" fmla="*/ 0 h 2195"/>
                <a:gd name="T4" fmla="*/ 5482 w 5482"/>
                <a:gd name="T5" fmla="*/ 0 h 2195"/>
                <a:gd name="T6" fmla="*/ 3130 w 5482"/>
                <a:gd name="T7" fmla="*/ 2195 h 2195"/>
                <a:gd name="T8" fmla="*/ 0 w 5482"/>
                <a:gd name="T9" fmla="*/ 2195 h 2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2" h="2195">
                  <a:moveTo>
                    <a:pt x="0" y="2195"/>
                  </a:moveTo>
                  <a:lnTo>
                    <a:pt x="5000" y="0"/>
                  </a:lnTo>
                  <a:lnTo>
                    <a:pt x="5482" y="0"/>
                  </a:lnTo>
                  <a:lnTo>
                    <a:pt x="3130" y="2195"/>
                  </a:lnTo>
                  <a:lnTo>
                    <a:pt x="0" y="21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BFBEBE"/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5003" y="2"/>
              <a:ext cx="1017" cy="1733"/>
            </a:xfrm>
            <a:custGeom>
              <a:avLst/>
              <a:gdLst>
                <a:gd name="T0" fmla="*/ 1017 w 1017"/>
                <a:gd name="T1" fmla="*/ 245 h 1733"/>
                <a:gd name="T2" fmla="*/ 835 w 1017"/>
                <a:gd name="T3" fmla="*/ 0 h 1733"/>
                <a:gd name="T4" fmla="*/ 505 w 1017"/>
                <a:gd name="T5" fmla="*/ 245 h 1733"/>
                <a:gd name="T6" fmla="*/ 658 w 1017"/>
                <a:gd name="T7" fmla="*/ 245 h 1733"/>
                <a:gd name="T8" fmla="*/ 0 w 1017"/>
                <a:gd name="T9" fmla="*/ 1733 h 1733"/>
                <a:gd name="T10" fmla="*/ 482 w 1017"/>
                <a:gd name="T11" fmla="*/ 1733 h 1733"/>
                <a:gd name="T12" fmla="*/ 881 w 1017"/>
                <a:gd name="T13" fmla="*/ 245 h 1733"/>
                <a:gd name="T14" fmla="*/ 1017 w 1017"/>
                <a:gd name="T15" fmla="*/ 245 h 1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7" h="1733">
                  <a:moveTo>
                    <a:pt x="1017" y="245"/>
                  </a:moveTo>
                  <a:lnTo>
                    <a:pt x="835" y="0"/>
                  </a:lnTo>
                  <a:lnTo>
                    <a:pt x="505" y="245"/>
                  </a:lnTo>
                  <a:lnTo>
                    <a:pt x="658" y="245"/>
                  </a:lnTo>
                  <a:lnTo>
                    <a:pt x="0" y="1733"/>
                  </a:lnTo>
                  <a:lnTo>
                    <a:pt x="482" y="1733"/>
                  </a:lnTo>
                  <a:lnTo>
                    <a:pt x="881" y="245"/>
                  </a:lnTo>
                  <a:lnTo>
                    <a:pt x="1017" y="24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80F79"/>
                </a:gs>
                <a:gs pos="100000">
                  <a:srgbClr val="BFBEBE"/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Oval 41"/>
          <p:cNvSpPr/>
          <p:nvPr/>
        </p:nvSpPr>
        <p:spPr>
          <a:xfrm>
            <a:off x="6762228" y="3807892"/>
            <a:ext cx="294210" cy="977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/>
          <p:nvPr/>
        </p:nvSpPr>
        <p:spPr>
          <a:xfrm>
            <a:off x="5942445" y="4311582"/>
            <a:ext cx="381486" cy="12670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/>
          <p:cNvSpPr/>
          <p:nvPr/>
        </p:nvSpPr>
        <p:spPr>
          <a:xfrm>
            <a:off x="4886468" y="4992094"/>
            <a:ext cx="498882" cy="16569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3597229" y="5819128"/>
            <a:ext cx="573571" cy="1905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rgbClr val="0C344C"/>
                </a:solidFill>
                <a:latin typeface="+mj-lt"/>
              </a:rPr>
              <a:t>Growth Infographic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422000" y="4842794"/>
            <a:ext cx="1208388" cy="924031"/>
            <a:chOff x="4275889" y="5054191"/>
            <a:chExt cx="731771" cy="559571"/>
          </a:xfrm>
        </p:grpSpPr>
        <p:sp>
          <p:nvSpPr>
            <p:cNvPr id="11" name="Rectangle: Rounded Corners 73"/>
            <p:cNvSpPr/>
            <p:nvPr/>
          </p:nvSpPr>
          <p:spPr>
            <a:xfrm rot="18900000">
              <a:off x="4639799" y="5150047"/>
              <a:ext cx="367861" cy="36786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50"/>
            <p:cNvSpPr/>
            <p:nvPr/>
          </p:nvSpPr>
          <p:spPr>
            <a:xfrm rot="2700000">
              <a:off x="4275889" y="5054191"/>
              <a:ext cx="559571" cy="55957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Rectangle: Rounded Corners 73"/>
          <p:cNvSpPr/>
          <p:nvPr/>
        </p:nvSpPr>
        <p:spPr>
          <a:xfrm rot="18900000">
            <a:off x="5245370" y="4352265"/>
            <a:ext cx="468064" cy="468066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50"/>
          <p:cNvSpPr/>
          <p:nvPr/>
        </p:nvSpPr>
        <p:spPr>
          <a:xfrm rot="2700000">
            <a:off x="4782333" y="4230298"/>
            <a:ext cx="711995" cy="711996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0C344C"/>
              </a:gs>
              <a:gs pos="100000">
                <a:srgbClr val="19627F"/>
              </a:gs>
            </a:gsLst>
            <a:lin ang="54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73"/>
          <p:cNvSpPr/>
          <p:nvPr/>
        </p:nvSpPr>
        <p:spPr>
          <a:xfrm rot="18900000">
            <a:off x="6204932" y="3865686"/>
            <a:ext cx="338014" cy="338015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50"/>
          <p:cNvSpPr/>
          <p:nvPr/>
        </p:nvSpPr>
        <p:spPr>
          <a:xfrm rot="2700000">
            <a:off x="5870548" y="3777607"/>
            <a:ext cx="514169" cy="514171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6F878C"/>
              </a:gs>
              <a:gs pos="100000">
                <a:srgbClr val="19627F"/>
              </a:gs>
            </a:gsLst>
            <a:lin ang="162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73"/>
          <p:cNvSpPr/>
          <p:nvPr/>
        </p:nvSpPr>
        <p:spPr>
          <a:xfrm rot="18900000">
            <a:off x="6963475" y="3503933"/>
            <a:ext cx="240600" cy="240600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50"/>
          <p:cNvSpPr/>
          <p:nvPr/>
        </p:nvSpPr>
        <p:spPr>
          <a:xfrm rot="2700000">
            <a:off x="6725460" y="3441238"/>
            <a:ext cx="365987" cy="365988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6F878C"/>
              </a:gs>
              <a:gs pos="100000">
                <a:srgbClr val="BFBEBE"/>
              </a:gs>
            </a:gsLst>
            <a:lin ang="54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Freeform 3073"/>
          <p:cNvSpPr>
            <a:spLocks noEditPoints="1"/>
          </p:cNvSpPr>
          <p:nvPr/>
        </p:nvSpPr>
        <p:spPr bwMode="auto">
          <a:xfrm>
            <a:off x="6817802" y="3533581"/>
            <a:ext cx="181302" cy="181302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4404"/>
          <p:cNvSpPr>
            <a:spLocks noEditPoints="1"/>
          </p:cNvSpPr>
          <p:nvPr/>
        </p:nvSpPr>
        <p:spPr bwMode="auto">
          <a:xfrm>
            <a:off x="5034349" y="4444215"/>
            <a:ext cx="207963" cy="284163"/>
          </a:xfrm>
          <a:custGeom>
            <a:avLst/>
            <a:gdLst>
              <a:gd name="T0" fmla="*/ 337 w 658"/>
              <a:gd name="T1" fmla="*/ 615 h 896"/>
              <a:gd name="T2" fmla="*/ 327 w 658"/>
              <a:gd name="T3" fmla="*/ 613 h 896"/>
              <a:gd name="T4" fmla="*/ 219 w 658"/>
              <a:gd name="T5" fmla="*/ 717 h 896"/>
              <a:gd name="T6" fmla="*/ 106 w 658"/>
              <a:gd name="T7" fmla="*/ 664 h 896"/>
              <a:gd name="T8" fmla="*/ 115 w 658"/>
              <a:gd name="T9" fmla="*/ 619 h 896"/>
              <a:gd name="T10" fmla="*/ 143 w 658"/>
              <a:gd name="T11" fmla="*/ 562 h 896"/>
              <a:gd name="T12" fmla="*/ 203 w 658"/>
              <a:gd name="T13" fmla="*/ 501 h 896"/>
              <a:gd name="T14" fmla="*/ 261 w 658"/>
              <a:gd name="T15" fmla="*/ 473 h 896"/>
              <a:gd name="T16" fmla="*/ 306 w 658"/>
              <a:gd name="T17" fmla="*/ 464 h 896"/>
              <a:gd name="T18" fmla="*/ 352 w 658"/>
              <a:gd name="T19" fmla="*/ 464 h 896"/>
              <a:gd name="T20" fmla="*/ 397 w 658"/>
              <a:gd name="T21" fmla="*/ 473 h 896"/>
              <a:gd name="T22" fmla="*/ 438 w 658"/>
              <a:gd name="T23" fmla="*/ 489 h 896"/>
              <a:gd name="T24" fmla="*/ 489 w 658"/>
              <a:gd name="T25" fmla="*/ 527 h 896"/>
              <a:gd name="T26" fmla="*/ 536 w 658"/>
              <a:gd name="T27" fmla="*/ 599 h 896"/>
              <a:gd name="T28" fmla="*/ 549 w 658"/>
              <a:gd name="T29" fmla="*/ 641 h 896"/>
              <a:gd name="T30" fmla="*/ 554 w 658"/>
              <a:gd name="T31" fmla="*/ 687 h 896"/>
              <a:gd name="T32" fmla="*/ 127 w 658"/>
              <a:gd name="T33" fmla="*/ 308 h 896"/>
              <a:gd name="T34" fmla="*/ 109 w 658"/>
              <a:gd name="T35" fmla="*/ 253 h 896"/>
              <a:gd name="T36" fmla="*/ 105 w 658"/>
              <a:gd name="T37" fmla="*/ 29 h 896"/>
              <a:gd name="T38" fmla="*/ 551 w 658"/>
              <a:gd name="T39" fmla="*/ 238 h 896"/>
              <a:gd name="T40" fmla="*/ 537 w 658"/>
              <a:gd name="T41" fmla="*/ 295 h 896"/>
              <a:gd name="T42" fmla="*/ 643 w 658"/>
              <a:gd name="T43" fmla="*/ 866 h 896"/>
              <a:gd name="T44" fmla="*/ 582 w 658"/>
              <a:gd name="T45" fmla="*/ 666 h 896"/>
              <a:gd name="T46" fmla="*/ 564 w 658"/>
              <a:gd name="T47" fmla="*/ 588 h 896"/>
              <a:gd name="T48" fmla="*/ 526 w 658"/>
              <a:gd name="T49" fmla="*/ 523 h 896"/>
              <a:gd name="T50" fmla="*/ 469 w 658"/>
              <a:gd name="T51" fmla="*/ 473 h 896"/>
              <a:gd name="T52" fmla="*/ 436 w 658"/>
              <a:gd name="T53" fmla="*/ 441 h 896"/>
              <a:gd name="T54" fmla="*/ 504 w 658"/>
              <a:gd name="T55" fmla="*/ 395 h 896"/>
              <a:gd name="T56" fmla="*/ 554 w 658"/>
              <a:gd name="T57" fmla="*/ 333 h 896"/>
              <a:gd name="T58" fmla="*/ 578 w 658"/>
              <a:gd name="T59" fmla="*/ 264 h 896"/>
              <a:gd name="T60" fmla="*/ 584 w 658"/>
              <a:gd name="T61" fmla="*/ 29 h 896"/>
              <a:gd name="T62" fmla="*/ 652 w 658"/>
              <a:gd name="T63" fmla="*/ 27 h 896"/>
              <a:gd name="T64" fmla="*/ 658 w 658"/>
              <a:gd name="T65" fmla="*/ 17 h 896"/>
              <a:gd name="T66" fmla="*/ 655 w 658"/>
              <a:gd name="T67" fmla="*/ 6 h 896"/>
              <a:gd name="T68" fmla="*/ 647 w 658"/>
              <a:gd name="T69" fmla="*/ 0 h 896"/>
              <a:gd name="T70" fmla="*/ 15 w 658"/>
              <a:gd name="T71" fmla="*/ 0 h 896"/>
              <a:gd name="T72" fmla="*/ 5 w 658"/>
              <a:gd name="T73" fmla="*/ 4 h 896"/>
              <a:gd name="T74" fmla="*/ 0 w 658"/>
              <a:gd name="T75" fmla="*/ 14 h 896"/>
              <a:gd name="T76" fmla="*/ 5 w 658"/>
              <a:gd name="T77" fmla="*/ 26 h 896"/>
              <a:gd name="T78" fmla="*/ 15 w 658"/>
              <a:gd name="T79" fmla="*/ 29 h 896"/>
              <a:gd name="T80" fmla="*/ 77 w 658"/>
              <a:gd name="T81" fmla="*/ 245 h 896"/>
              <a:gd name="T82" fmla="*/ 96 w 658"/>
              <a:gd name="T83" fmla="*/ 312 h 896"/>
              <a:gd name="T84" fmla="*/ 137 w 658"/>
              <a:gd name="T85" fmla="*/ 378 h 896"/>
              <a:gd name="T86" fmla="*/ 204 w 658"/>
              <a:gd name="T87" fmla="*/ 431 h 896"/>
              <a:gd name="T88" fmla="*/ 207 w 658"/>
              <a:gd name="T89" fmla="*/ 464 h 896"/>
              <a:gd name="T90" fmla="*/ 146 w 658"/>
              <a:gd name="T91" fmla="*/ 510 h 896"/>
              <a:gd name="T92" fmla="*/ 102 w 658"/>
              <a:gd name="T93" fmla="*/ 572 h 896"/>
              <a:gd name="T94" fmla="*/ 78 w 658"/>
              <a:gd name="T95" fmla="*/ 647 h 896"/>
              <a:gd name="T96" fmla="*/ 75 w 658"/>
              <a:gd name="T97" fmla="*/ 866 h 896"/>
              <a:gd name="T98" fmla="*/ 7 w 658"/>
              <a:gd name="T99" fmla="*/ 870 h 896"/>
              <a:gd name="T100" fmla="*/ 0 w 658"/>
              <a:gd name="T101" fmla="*/ 879 h 896"/>
              <a:gd name="T102" fmla="*/ 2 w 658"/>
              <a:gd name="T103" fmla="*/ 890 h 896"/>
              <a:gd name="T104" fmla="*/ 12 w 658"/>
              <a:gd name="T105" fmla="*/ 896 h 896"/>
              <a:gd name="T106" fmla="*/ 643 w 658"/>
              <a:gd name="T107" fmla="*/ 896 h 896"/>
              <a:gd name="T108" fmla="*/ 654 w 658"/>
              <a:gd name="T109" fmla="*/ 892 h 896"/>
              <a:gd name="T110" fmla="*/ 658 w 658"/>
              <a:gd name="T111" fmla="*/ 881 h 896"/>
              <a:gd name="T112" fmla="*/ 654 w 658"/>
              <a:gd name="T113" fmla="*/ 872 h 896"/>
              <a:gd name="T114" fmla="*/ 643 w 658"/>
              <a:gd name="T115" fmla="*/ 86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58" h="896">
                <a:moveTo>
                  <a:pt x="554" y="717"/>
                </a:moveTo>
                <a:lnTo>
                  <a:pt x="440" y="717"/>
                </a:lnTo>
                <a:lnTo>
                  <a:pt x="340" y="617"/>
                </a:lnTo>
                <a:lnTo>
                  <a:pt x="337" y="615"/>
                </a:lnTo>
                <a:lnTo>
                  <a:pt x="335" y="614"/>
                </a:lnTo>
                <a:lnTo>
                  <a:pt x="332" y="613"/>
                </a:lnTo>
                <a:lnTo>
                  <a:pt x="329" y="613"/>
                </a:lnTo>
                <a:lnTo>
                  <a:pt x="327" y="613"/>
                </a:lnTo>
                <a:lnTo>
                  <a:pt x="323" y="614"/>
                </a:lnTo>
                <a:lnTo>
                  <a:pt x="321" y="615"/>
                </a:lnTo>
                <a:lnTo>
                  <a:pt x="318" y="617"/>
                </a:lnTo>
                <a:lnTo>
                  <a:pt x="219" y="717"/>
                </a:lnTo>
                <a:lnTo>
                  <a:pt x="105" y="717"/>
                </a:lnTo>
                <a:lnTo>
                  <a:pt x="105" y="687"/>
                </a:lnTo>
                <a:lnTo>
                  <a:pt x="105" y="676"/>
                </a:lnTo>
                <a:lnTo>
                  <a:pt x="106" y="664"/>
                </a:lnTo>
                <a:lnTo>
                  <a:pt x="107" y="652"/>
                </a:lnTo>
                <a:lnTo>
                  <a:pt x="109" y="642"/>
                </a:lnTo>
                <a:lnTo>
                  <a:pt x="112" y="630"/>
                </a:lnTo>
                <a:lnTo>
                  <a:pt x="115" y="619"/>
                </a:lnTo>
                <a:lnTo>
                  <a:pt x="118" y="610"/>
                </a:lnTo>
                <a:lnTo>
                  <a:pt x="122" y="599"/>
                </a:lnTo>
                <a:lnTo>
                  <a:pt x="132" y="580"/>
                </a:lnTo>
                <a:lnTo>
                  <a:pt x="143" y="562"/>
                </a:lnTo>
                <a:lnTo>
                  <a:pt x="156" y="543"/>
                </a:lnTo>
                <a:lnTo>
                  <a:pt x="169" y="528"/>
                </a:lnTo>
                <a:lnTo>
                  <a:pt x="185" y="513"/>
                </a:lnTo>
                <a:lnTo>
                  <a:pt x="203" y="501"/>
                </a:lnTo>
                <a:lnTo>
                  <a:pt x="222" y="490"/>
                </a:lnTo>
                <a:lnTo>
                  <a:pt x="241" y="480"/>
                </a:lnTo>
                <a:lnTo>
                  <a:pt x="252" y="476"/>
                </a:lnTo>
                <a:lnTo>
                  <a:pt x="261" y="473"/>
                </a:lnTo>
                <a:lnTo>
                  <a:pt x="272" y="470"/>
                </a:lnTo>
                <a:lnTo>
                  <a:pt x="284" y="467"/>
                </a:lnTo>
                <a:lnTo>
                  <a:pt x="295" y="465"/>
                </a:lnTo>
                <a:lnTo>
                  <a:pt x="306" y="464"/>
                </a:lnTo>
                <a:lnTo>
                  <a:pt x="317" y="463"/>
                </a:lnTo>
                <a:lnTo>
                  <a:pt x="329" y="463"/>
                </a:lnTo>
                <a:lnTo>
                  <a:pt x="341" y="463"/>
                </a:lnTo>
                <a:lnTo>
                  <a:pt x="352" y="464"/>
                </a:lnTo>
                <a:lnTo>
                  <a:pt x="364" y="465"/>
                </a:lnTo>
                <a:lnTo>
                  <a:pt x="376" y="467"/>
                </a:lnTo>
                <a:lnTo>
                  <a:pt x="387" y="470"/>
                </a:lnTo>
                <a:lnTo>
                  <a:pt x="397" y="473"/>
                </a:lnTo>
                <a:lnTo>
                  <a:pt x="408" y="476"/>
                </a:lnTo>
                <a:lnTo>
                  <a:pt x="418" y="480"/>
                </a:lnTo>
                <a:lnTo>
                  <a:pt x="428" y="485"/>
                </a:lnTo>
                <a:lnTo>
                  <a:pt x="438" y="489"/>
                </a:lnTo>
                <a:lnTo>
                  <a:pt x="447" y="494"/>
                </a:lnTo>
                <a:lnTo>
                  <a:pt x="456" y="501"/>
                </a:lnTo>
                <a:lnTo>
                  <a:pt x="473" y="513"/>
                </a:lnTo>
                <a:lnTo>
                  <a:pt x="489" y="527"/>
                </a:lnTo>
                <a:lnTo>
                  <a:pt x="503" y="543"/>
                </a:lnTo>
                <a:lnTo>
                  <a:pt x="516" y="560"/>
                </a:lnTo>
                <a:lnTo>
                  <a:pt x="527" y="579"/>
                </a:lnTo>
                <a:lnTo>
                  <a:pt x="536" y="599"/>
                </a:lnTo>
                <a:lnTo>
                  <a:pt x="540" y="609"/>
                </a:lnTo>
                <a:lnTo>
                  <a:pt x="544" y="619"/>
                </a:lnTo>
                <a:lnTo>
                  <a:pt x="546" y="630"/>
                </a:lnTo>
                <a:lnTo>
                  <a:pt x="549" y="641"/>
                </a:lnTo>
                <a:lnTo>
                  <a:pt x="551" y="652"/>
                </a:lnTo>
                <a:lnTo>
                  <a:pt x="552" y="664"/>
                </a:lnTo>
                <a:lnTo>
                  <a:pt x="554" y="675"/>
                </a:lnTo>
                <a:lnTo>
                  <a:pt x="554" y="687"/>
                </a:lnTo>
                <a:lnTo>
                  <a:pt x="554" y="717"/>
                </a:lnTo>
                <a:close/>
                <a:moveTo>
                  <a:pt x="135" y="321"/>
                </a:moveTo>
                <a:lnTo>
                  <a:pt x="133" y="321"/>
                </a:lnTo>
                <a:lnTo>
                  <a:pt x="127" y="308"/>
                </a:lnTo>
                <a:lnTo>
                  <a:pt x="121" y="295"/>
                </a:lnTo>
                <a:lnTo>
                  <a:pt x="116" y="281"/>
                </a:lnTo>
                <a:lnTo>
                  <a:pt x="113" y="267"/>
                </a:lnTo>
                <a:lnTo>
                  <a:pt x="109" y="253"/>
                </a:lnTo>
                <a:lnTo>
                  <a:pt x="106" y="238"/>
                </a:lnTo>
                <a:lnTo>
                  <a:pt x="105" y="223"/>
                </a:lnTo>
                <a:lnTo>
                  <a:pt x="105" y="208"/>
                </a:lnTo>
                <a:lnTo>
                  <a:pt x="105" y="29"/>
                </a:lnTo>
                <a:lnTo>
                  <a:pt x="554" y="29"/>
                </a:lnTo>
                <a:lnTo>
                  <a:pt x="554" y="208"/>
                </a:lnTo>
                <a:lnTo>
                  <a:pt x="554" y="223"/>
                </a:lnTo>
                <a:lnTo>
                  <a:pt x="551" y="238"/>
                </a:lnTo>
                <a:lnTo>
                  <a:pt x="549" y="253"/>
                </a:lnTo>
                <a:lnTo>
                  <a:pt x="546" y="267"/>
                </a:lnTo>
                <a:lnTo>
                  <a:pt x="542" y="281"/>
                </a:lnTo>
                <a:lnTo>
                  <a:pt x="537" y="295"/>
                </a:lnTo>
                <a:lnTo>
                  <a:pt x="531" y="308"/>
                </a:lnTo>
                <a:lnTo>
                  <a:pt x="525" y="321"/>
                </a:lnTo>
                <a:lnTo>
                  <a:pt x="135" y="321"/>
                </a:lnTo>
                <a:close/>
                <a:moveTo>
                  <a:pt x="643" y="866"/>
                </a:moveTo>
                <a:lnTo>
                  <a:pt x="584" y="866"/>
                </a:lnTo>
                <a:lnTo>
                  <a:pt x="584" y="732"/>
                </a:lnTo>
                <a:lnTo>
                  <a:pt x="584" y="687"/>
                </a:lnTo>
                <a:lnTo>
                  <a:pt x="582" y="666"/>
                </a:lnTo>
                <a:lnTo>
                  <a:pt x="580" y="646"/>
                </a:lnTo>
                <a:lnTo>
                  <a:pt x="576" y="626"/>
                </a:lnTo>
                <a:lnTo>
                  <a:pt x="571" y="606"/>
                </a:lnTo>
                <a:lnTo>
                  <a:pt x="564" y="588"/>
                </a:lnTo>
                <a:lnTo>
                  <a:pt x="557" y="570"/>
                </a:lnTo>
                <a:lnTo>
                  <a:pt x="547" y="554"/>
                </a:lnTo>
                <a:lnTo>
                  <a:pt x="537" y="538"/>
                </a:lnTo>
                <a:lnTo>
                  <a:pt x="526" y="523"/>
                </a:lnTo>
                <a:lnTo>
                  <a:pt x="513" y="509"/>
                </a:lnTo>
                <a:lnTo>
                  <a:pt x="499" y="496"/>
                </a:lnTo>
                <a:lnTo>
                  <a:pt x="485" y="483"/>
                </a:lnTo>
                <a:lnTo>
                  <a:pt x="469" y="473"/>
                </a:lnTo>
                <a:lnTo>
                  <a:pt x="453" y="463"/>
                </a:lnTo>
                <a:lnTo>
                  <a:pt x="435" y="455"/>
                </a:lnTo>
                <a:lnTo>
                  <a:pt x="417" y="448"/>
                </a:lnTo>
                <a:lnTo>
                  <a:pt x="436" y="441"/>
                </a:lnTo>
                <a:lnTo>
                  <a:pt x="455" y="431"/>
                </a:lnTo>
                <a:lnTo>
                  <a:pt x="472" y="420"/>
                </a:lnTo>
                <a:lnTo>
                  <a:pt x="489" y="409"/>
                </a:lnTo>
                <a:lnTo>
                  <a:pt x="504" y="395"/>
                </a:lnTo>
                <a:lnTo>
                  <a:pt x="519" y="381"/>
                </a:lnTo>
                <a:lnTo>
                  <a:pt x="532" y="365"/>
                </a:lnTo>
                <a:lnTo>
                  <a:pt x="544" y="348"/>
                </a:lnTo>
                <a:lnTo>
                  <a:pt x="554" y="333"/>
                </a:lnTo>
                <a:lnTo>
                  <a:pt x="561" y="317"/>
                </a:lnTo>
                <a:lnTo>
                  <a:pt x="567" y="299"/>
                </a:lnTo>
                <a:lnTo>
                  <a:pt x="573" y="282"/>
                </a:lnTo>
                <a:lnTo>
                  <a:pt x="578" y="264"/>
                </a:lnTo>
                <a:lnTo>
                  <a:pt x="580" y="246"/>
                </a:lnTo>
                <a:lnTo>
                  <a:pt x="582" y="228"/>
                </a:lnTo>
                <a:lnTo>
                  <a:pt x="584" y="208"/>
                </a:lnTo>
                <a:lnTo>
                  <a:pt x="584" y="29"/>
                </a:lnTo>
                <a:lnTo>
                  <a:pt x="643" y="29"/>
                </a:lnTo>
                <a:lnTo>
                  <a:pt x="647" y="29"/>
                </a:lnTo>
                <a:lnTo>
                  <a:pt x="649" y="28"/>
                </a:lnTo>
                <a:lnTo>
                  <a:pt x="652" y="27"/>
                </a:lnTo>
                <a:lnTo>
                  <a:pt x="654" y="26"/>
                </a:lnTo>
                <a:lnTo>
                  <a:pt x="655" y="23"/>
                </a:lnTo>
                <a:lnTo>
                  <a:pt x="657" y="20"/>
                </a:lnTo>
                <a:lnTo>
                  <a:pt x="658" y="17"/>
                </a:lnTo>
                <a:lnTo>
                  <a:pt x="658" y="14"/>
                </a:lnTo>
                <a:lnTo>
                  <a:pt x="658" y="12"/>
                </a:lnTo>
                <a:lnTo>
                  <a:pt x="657" y="8"/>
                </a:lnTo>
                <a:lnTo>
                  <a:pt x="655" y="6"/>
                </a:lnTo>
                <a:lnTo>
                  <a:pt x="654" y="4"/>
                </a:lnTo>
                <a:lnTo>
                  <a:pt x="652" y="2"/>
                </a:lnTo>
                <a:lnTo>
                  <a:pt x="649" y="1"/>
                </a:lnTo>
                <a:lnTo>
                  <a:pt x="647" y="0"/>
                </a:lnTo>
                <a:lnTo>
                  <a:pt x="643" y="0"/>
                </a:lnTo>
                <a:lnTo>
                  <a:pt x="569" y="0"/>
                </a:lnTo>
                <a:lnTo>
                  <a:pt x="90" y="0"/>
                </a:lnTo>
                <a:lnTo>
                  <a:pt x="15" y="0"/>
                </a:lnTo>
                <a:lnTo>
                  <a:pt x="12" y="0"/>
                </a:lnTo>
                <a:lnTo>
                  <a:pt x="9" y="1"/>
                </a:lnTo>
                <a:lnTo>
                  <a:pt x="7" y="2"/>
                </a:lnTo>
                <a:lnTo>
                  <a:pt x="5" y="4"/>
                </a:lnTo>
                <a:lnTo>
                  <a:pt x="2" y="6"/>
                </a:lnTo>
                <a:lnTo>
                  <a:pt x="1" y="8"/>
                </a:lnTo>
                <a:lnTo>
                  <a:pt x="0" y="12"/>
                </a:lnTo>
                <a:lnTo>
                  <a:pt x="0" y="14"/>
                </a:lnTo>
                <a:lnTo>
                  <a:pt x="0" y="17"/>
                </a:lnTo>
                <a:lnTo>
                  <a:pt x="1" y="20"/>
                </a:lnTo>
                <a:lnTo>
                  <a:pt x="2" y="23"/>
                </a:lnTo>
                <a:lnTo>
                  <a:pt x="5" y="26"/>
                </a:lnTo>
                <a:lnTo>
                  <a:pt x="7" y="27"/>
                </a:lnTo>
                <a:lnTo>
                  <a:pt x="9" y="28"/>
                </a:lnTo>
                <a:lnTo>
                  <a:pt x="12" y="29"/>
                </a:lnTo>
                <a:lnTo>
                  <a:pt x="15" y="29"/>
                </a:lnTo>
                <a:lnTo>
                  <a:pt x="75" y="29"/>
                </a:lnTo>
                <a:lnTo>
                  <a:pt x="75" y="208"/>
                </a:lnTo>
                <a:lnTo>
                  <a:pt x="75" y="227"/>
                </a:lnTo>
                <a:lnTo>
                  <a:pt x="77" y="245"/>
                </a:lnTo>
                <a:lnTo>
                  <a:pt x="81" y="263"/>
                </a:lnTo>
                <a:lnTo>
                  <a:pt x="85" y="280"/>
                </a:lnTo>
                <a:lnTo>
                  <a:pt x="89" y="296"/>
                </a:lnTo>
                <a:lnTo>
                  <a:pt x="96" y="312"/>
                </a:lnTo>
                <a:lnTo>
                  <a:pt x="103" y="328"/>
                </a:lnTo>
                <a:lnTo>
                  <a:pt x="112" y="343"/>
                </a:lnTo>
                <a:lnTo>
                  <a:pt x="124" y="361"/>
                </a:lnTo>
                <a:lnTo>
                  <a:pt x="137" y="378"/>
                </a:lnTo>
                <a:lnTo>
                  <a:pt x="152" y="394"/>
                </a:lnTo>
                <a:lnTo>
                  <a:pt x="168" y="407"/>
                </a:lnTo>
                <a:lnTo>
                  <a:pt x="185" y="420"/>
                </a:lnTo>
                <a:lnTo>
                  <a:pt x="204" y="431"/>
                </a:lnTo>
                <a:lnTo>
                  <a:pt x="222" y="441"/>
                </a:lnTo>
                <a:lnTo>
                  <a:pt x="242" y="448"/>
                </a:lnTo>
                <a:lnTo>
                  <a:pt x="224" y="456"/>
                </a:lnTo>
                <a:lnTo>
                  <a:pt x="207" y="464"/>
                </a:lnTo>
                <a:lnTo>
                  <a:pt x="190" y="474"/>
                </a:lnTo>
                <a:lnTo>
                  <a:pt x="175" y="485"/>
                </a:lnTo>
                <a:lnTo>
                  <a:pt x="160" y="497"/>
                </a:lnTo>
                <a:lnTo>
                  <a:pt x="146" y="510"/>
                </a:lnTo>
                <a:lnTo>
                  <a:pt x="133" y="524"/>
                </a:lnTo>
                <a:lnTo>
                  <a:pt x="121" y="539"/>
                </a:lnTo>
                <a:lnTo>
                  <a:pt x="112" y="555"/>
                </a:lnTo>
                <a:lnTo>
                  <a:pt x="102" y="572"/>
                </a:lnTo>
                <a:lnTo>
                  <a:pt x="93" y="589"/>
                </a:lnTo>
                <a:lnTo>
                  <a:pt x="87" y="609"/>
                </a:lnTo>
                <a:lnTo>
                  <a:pt x="82" y="627"/>
                </a:lnTo>
                <a:lnTo>
                  <a:pt x="78" y="647"/>
                </a:lnTo>
                <a:lnTo>
                  <a:pt x="76" y="666"/>
                </a:lnTo>
                <a:lnTo>
                  <a:pt x="75" y="687"/>
                </a:lnTo>
                <a:lnTo>
                  <a:pt x="75" y="732"/>
                </a:lnTo>
                <a:lnTo>
                  <a:pt x="75" y="866"/>
                </a:lnTo>
                <a:lnTo>
                  <a:pt x="15" y="866"/>
                </a:lnTo>
                <a:lnTo>
                  <a:pt x="12" y="866"/>
                </a:lnTo>
                <a:lnTo>
                  <a:pt x="9" y="868"/>
                </a:lnTo>
                <a:lnTo>
                  <a:pt x="7" y="870"/>
                </a:lnTo>
                <a:lnTo>
                  <a:pt x="5" y="872"/>
                </a:lnTo>
                <a:lnTo>
                  <a:pt x="2" y="874"/>
                </a:lnTo>
                <a:lnTo>
                  <a:pt x="1" y="876"/>
                </a:lnTo>
                <a:lnTo>
                  <a:pt x="0" y="879"/>
                </a:lnTo>
                <a:lnTo>
                  <a:pt x="0" y="881"/>
                </a:lnTo>
                <a:lnTo>
                  <a:pt x="0" y="885"/>
                </a:lnTo>
                <a:lnTo>
                  <a:pt x="1" y="888"/>
                </a:lnTo>
                <a:lnTo>
                  <a:pt x="2" y="890"/>
                </a:lnTo>
                <a:lnTo>
                  <a:pt x="5" y="892"/>
                </a:lnTo>
                <a:lnTo>
                  <a:pt x="7" y="894"/>
                </a:lnTo>
                <a:lnTo>
                  <a:pt x="9" y="895"/>
                </a:lnTo>
                <a:lnTo>
                  <a:pt x="12" y="896"/>
                </a:lnTo>
                <a:lnTo>
                  <a:pt x="15" y="896"/>
                </a:lnTo>
                <a:lnTo>
                  <a:pt x="90" y="896"/>
                </a:lnTo>
                <a:lnTo>
                  <a:pt x="569" y="896"/>
                </a:lnTo>
                <a:lnTo>
                  <a:pt x="643" y="896"/>
                </a:lnTo>
                <a:lnTo>
                  <a:pt x="647" y="896"/>
                </a:lnTo>
                <a:lnTo>
                  <a:pt x="649" y="895"/>
                </a:lnTo>
                <a:lnTo>
                  <a:pt x="652" y="894"/>
                </a:lnTo>
                <a:lnTo>
                  <a:pt x="654" y="892"/>
                </a:lnTo>
                <a:lnTo>
                  <a:pt x="655" y="890"/>
                </a:lnTo>
                <a:lnTo>
                  <a:pt x="657" y="888"/>
                </a:lnTo>
                <a:lnTo>
                  <a:pt x="658" y="885"/>
                </a:lnTo>
                <a:lnTo>
                  <a:pt x="658" y="881"/>
                </a:lnTo>
                <a:lnTo>
                  <a:pt x="658" y="879"/>
                </a:lnTo>
                <a:lnTo>
                  <a:pt x="657" y="876"/>
                </a:lnTo>
                <a:lnTo>
                  <a:pt x="655" y="874"/>
                </a:lnTo>
                <a:lnTo>
                  <a:pt x="654" y="872"/>
                </a:lnTo>
                <a:lnTo>
                  <a:pt x="652" y="870"/>
                </a:lnTo>
                <a:lnTo>
                  <a:pt x="649" y="868"/>
                </a:lnTo>
                <a:lnTo>
                  <a:pt x="647" y="866"/>
                </a:lnTo>
                <a:lnTo>
                  <a:pt x="643" y="8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3678630" y="5114258"/>
            <a:ext cx="410770" cy="381104"/>
            <a:chOff x="9879013" y="2500313"/>
            <a:chExt cx="285750" cy="265113"/>
          </a:xfrm>
          <a:solidFill>
            <a:schemeClr val="bg1"/>
          </a:solidFill>
        </p:grpSpPr>
        <p:sp>
          <p:nvSpPr>
            <p:cNvPr id="26" name="Freeform 3859"/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60"/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861"/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862"/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998250" y="3905310"/>
            <a:ext cx="258763" cy="258763"/>
            <a:chOff x="11045825" y="835025"/>
            <a:chExt cx="258763" cy="258763"/>
          </a:xfrm>
          <a:solidFill>
            <a:schemeClr val="bg1"/>
          </a:solidFill>
        </p:grpSpPr>
        <p:sp>
          <p:nvSpPr>
            <p:cNvPr id="31" name="Freeform 2131"/>
            <p:cNvSpPr>
              <a:spLocks/>
            </p:cNvSpPr>
            <p:nvPr/>
          </p:nvSpPr>
          <p:spPr bwMode="auto">
            <a:xfrm>
              <a:off x="11156950" y="1065213"/>
              <a:ext cx="38100" cy="9525"/>
            </a:xfrm>
            <a:custGeom>
              <a:avLst/>
              <a:gdLst>
                <a:gd name="T0" fmla="*/ 105 w 120"/>
                <a:gd name="T1" fmla="*/ 0 h 29"/>
                <a:gd name="T2" fmla="*/ 14 w 120"/>
                <a:gd name="T3" fmla="*/ 0 h 29"/>
                <a:gd name="T4" fmla="*/ 8 w 120"/>
                <a:gd name="T5" fmla="*/ 1 h 29"/>
                <a:gd name="T6" fmla="*/ 3 w 120"/>
                <a:gd name="T7" fmla="*/ 4 h 29"/>
                <a:gd name="T8" fmla="*/ 1 w 120"/>
                <a:gd name="T9" fmla="*/ 9 h 29"/>
                <a:gd name="T10" fmla="*/ 0 w 120"/>
                <a:gd name="T11" fmla="*/ 15 h 29"/>
                <a:gd name="T12" fmla="*/ 1 w 120"/>
                <a:gd name="T13" fmla="*/ 21 h 29"/>
                <a:gd name="T14" fmla="*/ 3 w 120"/>
                <a:gd name="T15" fmla="*/ 26 h 29"/>
                <a:gd name="T16" fmla="*/ 8 w 120"/>
                <a:gd name="T17" fmla="*/ 28 h 29"/>
                <a:gd name="T18" fmla="*/ 14 w 120"/>
                <a:gd name="T19" fmla="*/ 29 h 29"/>
                <a:gd name="T20" fmla="*/ 105 w 120"/>
                <a:gd name="T21" fmla="*/ 29 h 29"/>
                <a:gd name="T22" fmla="*/ 111 w 120"/>
                <a:gd name="T23" fmla="*/ 28 h 29"/>
                <a:gd name="T24" fmla="*/ 116 w 120"/>
                <a:gd name="T25" fmla="*/ 26 h 29"/>
                <a:gd name="T26" fmla="*/ 118 w 120"/>
                <a:gd name="T27" fmla="*/ 21 h 29"/>
                <a:gd name="T28" fmla="*/ 120 w 120"/>
                <a:gd name="T29" fmla="*/ 15 h 29"/>
                <a:gd name="T30" fmla="*/ 118 w 120"/>
                <a:gd name="T31" fmla="*/ 9 h 29"/>
                <a:gd name="T32" fmla="*/ 116 w 120"/>
                <a:gd name="T33" fmla="*/ 4 h 29"/>
                <a:gd name="T34" fmla="*/ 111 w 120"/>
                <a:gd name="T35" fmla="*/ 1 h 29"/>
                <a:gd name="T36" fmla="*/ 105 w 12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29">
                  <a:moveTo>
                    <a:pt x="105" y="0"/>
                  </a:moveTo>
                  <a:lnTo>
                    <a:pt x="14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3" y="26"/>
                  </a:lnTo>
                  <a:lnTo>
                    <a:pt x="8" y="28"/>
                  </a:lnTo>
                  <a:lnTo>
                    <a:pt x="14" y="29"/>
                  </a:lnTo>
                  <a:lnTo>
                    <a:pt x="105" y="29"/>
                  </a:lnTo>
                  <a:lnTo>
                    <a:pt x="111" y="28"/>
                  </a:lnTo>
                  <a:lnTo>
                    <a:pt x="116" y="26"/>
                  </a:lnTo>
                  <a:lnTo>
                    <a:pt x="118" y="21"/>
                  </a:lnTo>
                  <a:lnTo>
                    <a:pt x="120" y="15"/>
                  </a:lnTo>
                  <a:lnTo>
                    <a:pt x="118" y="9"/>
                  </a:lnTo>
                  <a:lnTo>
                    <a:pt x="116" y="4"/>
                  </a:lnTo>
                  <a:lnTo>
                    <a:pt x="111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132"/>
            <p:cNvSpPr>
              <a:spLocks/>
            </p:cNvSpPr>
            <p:nvPr/>
          </p:nvSpPr>
          <p:spPr bwMode="auto">
            <a:xfrm>
              <a:off x="11166475" y="1084263"/>
              <a:ext cx="19050" cy="9525"/>
            </a:xfrm>
            <a:custGeom>
              <a:avLst/>
              <a:gdLst>
                <a:gd name="T0" fmla="*/ 45 w 61"/>
                <a:gd name="T1" fmla="*/ 0 h 30"/>
                <a:gd name="T2" fmla="*/ 16 w 61"/>
                <a:gd name="T3" fmla="*/ 0 h 30"/>
                <a:gd name="T4" fmla="*/ 10 w 61"/>
                <a:gd name="T5" fmla="*/ 1 h 30"/>
                <a:gd name="T6" fmla="*/ 5 w 61"/>
                <a:gd name="T7" fmla="*/ 5 h 30"/>
                <a:gd name="T8" fmla="*/ 1 w 61"/>
                <a:gd name="T9" fmla="*/ 8 h 30"/>
                <a:gd name="T10" fmla="*/ 0 w 61"/>
                <a:gd name="T11" fmla="*/ 14 h 30"/>
                <a:gd name="T12" fmla="*/ 1 w 61"/>
                <a:gd name="T13" fmla="*/ 21 h 30"/>
                <a:gd name="T14" fmla="*/ 5 w 61"/>
                <a:gd name="T15" fmla="*/ 25 h 30"/>
                <a:gd name="T16" fmla="*/ 10 w 61"/>
                <a:gd name="T17" fmla="*/ 29 h 30"/>
                <a:gd name="T18" fmla="*/ 16 w 61"/>
                <a:gd name="T19" fmla="*/ 30 h 30"/>
                <a:gd name="T20" fmla="*/ 45 w 61"/>
                <a:gd name="T21" fmla="*/ 30 h 30"/>
                <a:gd name="T22" fmla="*/ 51 w 61"/>
                <a:gd name="T23" fmla="*/ 29 h 30"/>
                <a:gd name="T24" fmla="*/ 56 w 61"/>
                <a:gd name="T25" fmla="*/ 25 h 30"/>
                <a:gd name="T26" fmla="*/ 60 w 61"/>
                <a:gd name="T27" fmla="*/ 21 h 30"/>
                <a:gd name="T28" fmla="*/ 61 w 61"/>
                <a:gd name="T29" fmla="*/ 14 h 30"/>
                <a:gd name="T30" fmla="*/ 60 w 61"/>
                <a:gd name="T31" fmla="*/ 8 h 30"/>
                <a:gd name="T32" fmla="*/ 56 w 61"/>
                <a:gd name="T33" fmla="*/ 5 h 30"/>
                <a:gd name="T34" fmla="*/ 51 w 61"/>
                <a:gd name="T35" fmla="*/ 1 h 30"/>
                <a:gd name="T36" fmla="*/ 45 w 61"/>
                <a:gd name="T3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30">
                  <a:moveTo>
                    <a:pt x="45" y="0"/>
                  </a:moveTo>
                  <a:lnTo>
                    <a:pt x="16" y="0"/>
                  </a:lnTo>
                  <a:lnTo>
                    <a:pt x="10" y="1"/>
                  </a:lnTo>
                  <a:lnTo>
                    <a:pt x="5" y="5"/>
                  </a:lnTo>
                  <a:lnTo>
                    <a:pt x="1" y="8"/>
                  </a:lnTo>
                  <a:lnTo>
                    <a:pt x="0" y="14"/>
                  </a:lnTo>
                  <a:lnTo>
                    <a:pt x="1" y="21"/>
                  </a:lnTo>
                  <a:lnTo>
                    <a:pt x="5" y="25"/>
                  </a:lnTo>
                  <a:lnTo>
                    <a:pt x="10" y="29"/>
                  </a:lnTo>
                  <a:lnTo>
                    <a:pt x="16" y="30"/>
                  </a:lnTo>
                  <a:lnTo>
                    <a:pt x="45" y="30"/>
                  </a:lnTo>
                  <a:lnTo>
                    <a:pt x="51" y="29"/>
                  </a:lnTo>
                  <a:lnTo>
                    <a:pt x="56" y="25"/>
                  </a:lnTo>
                  <a:lnTo>
                    <a:pt x="60" y="21"/>
                  </a:lnTo>
                  <a:lnTo>
                    <a:pt x="61" y="14"/>
                  </a:lnTo>
                  <a:lnTo>
                    <a:pt x="60" y="8"/>
                  </a:lnTo>
                  <a:lnTo>
                    <a:pt x="56" y="5"/>
                  </a:lnTo>
                  <a:lnTo>
                    <a:pt x="51" y="1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133"/>
            <p:cNvSpPr>
              <a:spLocks/>
            </p:cNvSpPr>
            <p:nvPr/>
          </p:nvSpPr>
          <p:spPr bwMode="auto">
            <a:xfrm>
              <a:off x="11095038" y="877888"/>
              <a:ext cx="161925" cy="177800"/>
            </a:xfrm>
            <a:custGeom>
              <a:avLst/>
              <a:gdLst>
                <a:gd name="T0" fmla="*/ 242 w 511"/>
                <a:gd name="T1" fmla="*/ 1 h 556"/>
                <a:gd name="T2" fmla="*/ 217 w 511"/>
                <a:gd name="T3" fmla="*/ 3 h 556"/>
                <a:gd name="T4" fmla="*/ 192 w 511"/>
                <a:gd name="T5" fmla="*/ 8 h 556"/>
                <a:gd name="T6" fmla="*/ 168 w 511"/>
                <a:gd name="T7" fmla="*/ 15 h 556"/>
                <a:gd name="T8" fmla="*/ 134 w 511"/>
                <a:gd name="T9" fmla="*/ 31 h 556"/>
                <a:gd name="T10" fmla="*/ 93 w 511"/>
                <a:gd name="T11" fmla="*/ 58 h 556"/>
                <a:gd name="T12" fmla="*/ 59 w 511"/>
                <a:gd name="T13" fmla="*/ 94 h 556"/>
                <a:gd name="T14" fmla="*/ 31 w 511"/>
                <a:gd name="T15" fmla="*/ 134 h 556"/>
                <a:gd name="T16" fmla="*/ 15 w 511"/>
                <a:gd name="T17" fmla="*/ 168 h 556"/>
                <a:gd name="T18" fmla="*/ 8 w 511"/>
                <a:gd name="T19" fmla="*/ 191 h 556"/>
                <a:gd name="T20" fmla="*/ 3 w 511"/>
                <a:gd name="T21" fmla="*/ 217 h 556"/>
                <a:gd name="T22" fmla="*/ 0 w 511"/>
                <a:gd name="T23" fmla="*/ 243 h 556"/>
                <a:gd name="T24" fmla="*/ 0 w 511"/>
                <a:gd name="T25" fmla="*/ 277 h 556"/>
                <a:gd name="T26" fmla="*/ 8 w 511"/>
                <a:gd name="T27" fmla="*/ 317 h 556"/>
                <a:gd name="T28" fmla="*/ 20 w 511"/>
                <a:gd name="T29" fmla="*/ 355 h 556"/>
                <a:gd name="T30" fmla="*/ 39 w 511"/>
                <a:gd name="T31" fmla="*/ 392 h 556"/>
                <a:gd name="T32" fmla="*/ 63 w 511"/>
                <a:gd name="T33" fmla="*/ 423 h 556"/>
                <a:gd name="T34" fmla="*/ 91 w 511"/>
                <a:gd name="T35" fmla="*/ 451 h 556"/>
                <a:gd name="T36" fmla="*/ 124 w 511"/>
                <a:gd name="T37" fmla="*/ 475 h 556"/>
                <a:gd name="T38" fmla="*/ 160 w 511"/>
                <a:gd name="T39" fmla="*/ 493 h 556"/>
                <a:gd name="T40" fmla="*/ 180 w 511"/>
                <a:gd name="T41" fmla="*/ 542 h 556"/>
                <a:gd name="T42" fmla="*/ 185 w 511"/>
                <a:gd name="T43" fmla="*/ 552 h 556"/>
                <a:gd name="T44" fmla="*/ 196 w 511"/>
                <a:gd name="T45" fmla="*/ 556 h 556"/>
                <a:gd name="T46" fmla="*/ 322 w 511"/>
                <a:gd name="T47" fmla="*/ 555 h 556"/>
                <a:gd name="T48" fmla="*/ 330 w 511"/>
                <a:gd name="T49" fmla="*/ 547 h 556"/>
                <a:gd name="T50" fmla="*/ 331 w 511"/>
                <a:gd name="T51" fmla="*/ 500 h 556"/>
                <a:gd name="T52" fmla="*/ 369 w 511"/>
                <a:gd name="T53" fmla="*/ 484 h 556"/>
                <a:gd name="T54" fmla="*/ 405 w 511"/>
                <a:gd name="T55" fmla="*/ 464 h 556"/>
                <a:gd name="T56" fmla="*/ 435 w 511"/>
                <a:gd name="T57" fmla="*/ 438 h 556"/>
                <a:gd name="T58" fmla="*/ 461 w 511"/>
                <a:gd name="T59" fmla="*/ 407 h 556"/>
                <a:gd name="T60" fmla="*/ 483 w 511"/>
                <a:gd name="T61" fmla="*/ 373 h 556"/>
                <a:gd name="T62" fmla="*/ 499 w 511"/>
                <a:gd name="T63" fmla="*/ 337 h 556"/>
                <a:gd name="T64" fmla="*/ 508 w 511"/>
                <a:gd name="T65" fmla="*/ 298 h 556"/>
                <a:gd name="T66" fmla="*/ 511 w 511"/>
                <a:gd name="T67" fmla="*/ 256 h 556"/>
                <a:gd name="T68" fmla="*/ 510 w 511"/>
                <a:gd name="T69" fmla="*/ 229 h 556"/>
                <a:gd name="T70" fmla="*/ 506 w 511"/>
                <a:gd name="T71" fmla="*/ 205 h 556"/>
                <a:gd name="T72" fmla="*/ 500 w 511"/>
                <a:gd name="T73" fmla="*/ 179 h 556"/>
                <a:gd name="T74" fmla="*/ 491 w 511"/>
                <a:gd name="T75" fmla="*/ 156 h 556"/>
                <a:gd name="T76" fmla="*/ 468 w 511"/>
                <a:gd name="T77" fmla="*/ 113 h 556"/>
                <a:gd name="T78" fmla="*/ 436 w 511"/>
                <a:gd name="T79" fmla="*/ 75 h 556"/>
                <a:gd name="T80" fmla="*/ 399 w 511"/>
                <a:gd name="T81" fmla="*/ 44 h 556"/>
                <a:gd name="T82" fmla="*/ 355 w 511"/>
                <a:gd name="T83" fmla="*/ 20 h 556"/>
                <a:gd name="T84" fmla="*/ 331 w 511"/>
                <a:gd name="T85" fmla="*/ 12 h 556"/>
                <a:gd name="T86" fmla="*/ 307 w 511"/>
                <a:gd name="T87" fmla="*/ 6 h 556"/>
                <a:gd name="T88" fmla="*/ 281 w 511"/>
                <a:gd name="T89" fmla="*/ 1 h 556"/>
                <a:gd name="T90" fmla="*/ 256 w 511"/>
                <a:gd name="T91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11" h="556">
                  <a:moveTo>
                    <a:pt x="256" y="0"/>
                  </a:moveTo>
                  <a:lnTo>
                    <a:pt x="242" y="1"/>
                  </a:lnTo>
                  <a:lnTo>
                    <a:pt x="230" y="1"/>
                  </a:lnTo>
                  <a:lnTo>
                    <a:pt x="217" y="3"/>
                  </a:lnTo>
                  <a:lnTo>
                    <a:pt x="204" y="6"/>
                  </a:lnTo>
                  <a:lnTo>
                    <a:pt x="192" y="8"/>
                  </a:lnTo>
                  <a:lnTo>
                    <a:pt x="180" y="12"/>
                  </a:lnTo>
                  <a:lnTo>
                    <a:pt x="168" y="15"/>
                  </a:lnTo>
                  <a:lnTo>
                    <a:pt x="157" y="20"/>
                  </a:lnTo>
                  <a:lnTo>
                    <a:pt x="134" y="31"/>
                  </a:lnTo>
                  <a:lnTo>
                    <a:pt x="113" y="44"/>
                  </a:lnTo>
                  <a:lnTo>
                    <a:pt x="93" y="58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5" y="168"/>
                  </a:lnTo>
                  <a:lnTo>
                    <a:pt x="11" y="179"/>
                  </a:lnTo>
                  <a:lnTo>
                    <a:pt x="8" y="191"/>
                  </a:lnTo>
                  <a:lnTo>
                    <a:pt x="5" y="205"/>
                  </a:lnTo>
                  <a:lnTo>
                    <a:pt x="3" y="217"/>
                  </a:lnTo>
                  <a:lnTo>
                    <a:pt x="2" y="229"/>
                  </a:lnTo>
                  <a:lnTo>
                    <a:pt x="0" y="243"/>
                  </a:lnTo>
                  <a:lnTo>
                    <a:pt x="0" y="256"/>
                  </a:lnTo>
                  <a:lnTo>
                    <a:pt x="0" y="277"/>
                  </a:lnTo>
                  <a:lnTo>
                    <a:pt x="3" y="298"/>
                  </a:lnTo>
                  <a:lnTo>
                    <a:pt x="8" y="317"/>
                  </a:lnTo>
                  <a:lnTo>
                    <a:pt x="13" y="337"/>
                  </a:lnTo>
                  <a:lnTo>
                    <a:pt x="20" y="355"/>
                  </a:lnTo>
                  <a:lnTo>
                    <a:pt x="28" y="373"/>
                  </a:lnTo>
                  <a:lnTo>
                    <a:pt x="39" y="392"/>
                  </a:lnTo>
                  <a:lnTo>
                    <a:pt x="50" y="407"/>
                  </a:lnTo>
                  <a:lnTo>
                    <a:pt x="63" y="423"/>
                  </a:lnTo>
                  <a:lnTo>
                    <a:pt x="76" y="438"/>
                  </a:lnTo>
                  <a:lnTo>
                    <a:pt x="91" y="451"/>
                  </a:lnTo>
                  <a:lnTo>
                    <a:pt x="107" y="464"/>
                  </a:lnTo>
                  <a:lnTo>
                    <a:pt x="124" y="475"/>
                  </a:lnTo>
                  <a:lnTo>
                    <a:pt x="142" y="484"/>
                  </a:lnTo>
                  <a:lnTo>
                    <a:pt x="160" y="493"/>
                  </a:lnTo>
                  <a:lnTo>
                    <a:pt x="180" y="500"/>
                  </a:lnTo>
                  <a:lnTo>
                    <a:pt x="180" y="542"/>
                  </a:lnTo>
                  <a:lnTo>
                    <a:pt x="181" y="547"/>
                  </a:lnTo>
                  <a:lnTo>
                    <a:pt x="185" y="552"/>
                  </a:lnTo>
                  <a:lnTo>
                    <a:pt x="190" y="555"/>
                  </a:lnTo>
                  <a:lnTo>
                    <a:pt x="196" y="556"/>
                  </a:lnTo>
                  <a:lnTo>
                    <a:pt x="316" y="556"/>
                  </a:lnTo>
                  <a:lnTo>
                    <a:pt x="322" y="555"/>
                  </a:lnTo>
                  <a:lnTo>
                    <a:pt x="327" y="552"/>
                  </a:lnTo>
                  <a:lnTo>
                    <a:pt x="330" y="547"/>
                  </a:lnTo>
                  <a:lnTo>
                    <a:pt x="331" y="542"/>
                  </a:lnTo>
                  <a:lnTo>
                    <a:pt x="331" y="500"/>
                  </a:lnTo>
                  <a:lnTo>
                    <a:pt x="351" y="493"/>
                  </a:lnTo>
                  <a:lnTo>
                    <a:pt x="369" y="484"/>
                  </a:lnTo>
                  <a:lnTo>
                    <a:pt x="388" y="475"/>
                  </a:lnTo>
                  <a:lnTo>
                    <a:pt x="405" y="464"/>
                  </a:lnTo>
                  <a:lnTo>
                    <a:pt x="421" y="451"/>
                  </a:lnTo>
                  <a:lnTo>
                    <a:pt x="435" y="438"/>
                  </a:lnTo>
                  <a:lnTo>
                    <a:pt x="449" y="423"/>
                  </a:lnTo>
                  <a:lnTo>
                    <a:pt x="461" y="407"/>
                  </a:lnTo>
                  <a:lnTo>
                    <a:pt x="473" y="392"/>
                  </a:lnTo>
                  <a:lnTo>
                    <a:pt x="483" y="373"/>
                  </a:lnTo>
                  <a:lnTo>
                    <a:pt x="491" y="355"/>
                  </a:lnTo>
                  <a:lnTo>
                    <a:pt x="499" y="337"/>
                  </a:lnTo>
                  <a:lnTo>
                    <a:pt x="504" y="317"/>
                  </a:lnTo>
                  <a:lnTo>
                    <a:pt x="508" y="298"/>
                  </a:lnTo>
                  <a:lnTo>
                    <a:pt x="511" y="277"/>
                  </a:lnTo>
                  <a:lnTo>
                    <a:pt x="511" y="256"/>
                  </a:lnTo>
                  <a:lnTo>
                    <a:pt x="511" y="243"/>
                  </a:lnTo>
                  <a:lnTo>
                    <a:pt x="510" y="229"/>
                  </a:lnTo>
                  <a:lnTo>
                    <a:pt x="508" y="217"/>
                  </a:lnTo>
                  <a:lnTo>
                    <a:pt x="506" y="205"/>
                  </a:lnTo>
                  <a:lnTo>
                    <a:pt x="504" y="191"/>
                  </a:lnTo>
                  <a:lnTo>
                    <a:pt x="500" y="179"/>
                  </a:lnTo>
                  <a:lnTo>
                    <a:pt x="496" y="168"/>
                  </a:lnTo>
                  <a:lnTo>
                    <a:pt x="491" y="156"/>
                  </a:lnTo>
                  <a:lnTo>
                    <a:pt x="480" y="134"/>
                  </a:lnTo>
                  <a:lnTo>
                    <a:pt x="468" y="113"/>
                  </a:lnTo>
                  <a:lnTo>
                    <a:pt x="452" y="94"/>
                  </a:lnTo>
                  <a:lnTo>
                    <a:pt x="436" y="75"/>
                  </a:lnTo>
                  <a:lnTo>
                    <a:pt x="418" y="58"/>
                  </a:lnTo>
                  <a:lnTo>
                    <a:pt x="399" y="44"/>
                  </a:lnTo>
                  <a:lnTo>
                    <a:pt x="378" y="31"/>
                  </a:lnTo>
                  <a:lnTo>
                    <a:pt x="355" y="20"/>
                  </a:lnTo>
                  <a:lnTo>
                    <a:pt x="344" y="15"/>
                  </a:lnTo>
                  <a:lnTo>
                    <a:pt x="331" y="12"/>
                  </a:lnTo>
                  <a:lnTo>
                    <a:pt x="319" y="8"/>
                  </a:lnTo>
                  <a:lnTo>
                    <a:pt x="307" y="6"/>
                  </a:lnTo>
                  <a:lnTo>
                    <a:pt x="295" y="3"/>
                  </a:lnTo>
                  <a:lnTo>
                    <a:pt x="281" y="1"/>
                  </a:lnTo>
                  <a:lnTo>
                    <a:pt x="269" y="1"/>
                  </a:lnTo>
                  <a:lnTo>
                    <a:pt x="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134"/>
            <p:cNvSpPr>
              <a:spLocks/>
            </p:cNvSpPr>
            <p:nvPr/>
          </p:nvSpPr>
          <p:spPr bwMode="auto">
            <a:xfrm>
              <a:off x="11045825" y="949325"/>
              <a:ext cx="28575" cy="11113"/>
            </a:xfrm>
            <a:custGeom>
              <a:avLst/>
              <a:gdLst>
                <a:gd name="T0" fmla="*/ 76 w 90"/>
                <a:gd name="T1" fmla="*/ 0 h 31"/>
                <a:gd name="T2" fmla="*/ 16 w 90"/>
                <a:gd name="T3" fmla="*/ 0 h 31"/>
                <a:gd name="T4" fmla="*/ 10 w 90"/>
                <a:gd name="T5" fmla="*/ 2 h 31"/>
                <a:gd name="T6" fmla="*/ 5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5 w 90"/>
                <a:gd name="T15" fmla="*/ 26 h 31"/>
                <a:gd name="T16" fmla="*/ 10 w 90"/>
                <a:gd name="T17" fmla="*/ 30 h 31"/>
                <a:gd name="T18" fmla="*/ 16 w 90"/>
                <a:gd name="T19" fmla="*/ 31 h 31"/>
                <a:gd name="T20" fmla="*/ 76 w 90"/>
                <a:gd name="T21" fmla="*/ 31 h 31"/>
                <a:gd name="T22" fmla="*/ 82 w 90"/>
                <a:gd name="T23" fmla="*/ 30 h 31"/>
                <a:gd name="T24" fmla="*/ 87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7 w 90"/>
                <a:gd name="T33" fmla="*/ 5 h 31"/>
                <a:gd name="T34" fmla="*/ 82 w 90"/>
                <a:gd name="T35" fmla="*/ 2 h 31"/>
                <a:gd name="T36" fmla="*/ 76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6" y="0"/>
                  </a:move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10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82" y="30"/>
                  </a:lnTo>
                  <a:lnTo>
                    <a:pt x="87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7" y="5"/>
                  </a:lnTo>
                  <a:lnTo>
                    <a:pt x="82" y="2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135"/>
            <p:cNvSpPr>
              <a:spLocks/>
            </p:cNvSpPr>
            <p:nvPr/>
          </p:nvSpPr>
          <p:spPr bwMode="auto">
            <a:xfrm>
              <a:off x="11074400" y="863600"/>
              <a:ext cx="34925" cy="34925"/>
            </a:xfrm>
            <a:custGeom>
              <a:avLst/>
              <a:gdLst>
                <a:gd name="T0" fmla="*/ 91 w 107"/>
                <a:gd name="T1" fmla="*/ 107 h 107"/>
                <a:gd name="T2" fmla="*/ 97 w 107"/>
                <a:gd name="T3" fmla="*/ 105 h 107"/>
                <a:gd name="T4" fmla="*/ 102 w 107"/>
                <a:gd name="T5" fmla="*/ 102 h 107"/>
                <a:gd name="T6" fmla="*/ 105 w 107"/>
                <a:gd name="T7" fmla="*/ 97 h 107"/>
                <a:gd name="T8" fmla="*/ 107 w 107"/>
                <a:gd name="T9" fmla="*/ 91 h 107"/>
                <a:gd name="T10" fmla="*/ 105 w 107"/>
                <a:gd name="T11" fmla="*/ 86 h 107"/>
                <a:gd name="T12" fmla="*/ 102 w 107"/>
                <a:gd name="T13" fmla="*/ 81 h 107"/>
                <a:gd name="T14" fmla="*/ 26 w 107"/>
                <a:gd name="T15" fmla="*/ 5 h 107"/>
                <a:gd name="T16" fmla="*/ 21 w 107"/>
                <a:gd name="T17" fmla="*/ 2 h 107"/>
                <a:gd name="T18" fmla="*/ 16 w 107"/>
                <a:gd name="T19" fmla="*/ 0 h 107"/>
                <a:gd name="T20" fmla="*/ 10 w 107"/>
                <a:gd name="T21" fmla="*/ 2 h 107"/>
                <a:gd name="T22" fmla="*/ 5 w 107"/>
                <a:gd name="T23" fmla="*/ 5 h 107"/>
                <a:gd name="T24" fmla="*/ 2 w 107"/>
                <a:gd name="T25" fmla="*/ 10 h 107"/>
                <a:gd name="T26" fmla="*/ 0 w 107"/>
                <a:gd name="T27" fmla="*/ 16 h 107"/>
                <a:gd name="T28" fmla="*/ 2 w 107"/>
                <a:gd name="T29" fmla="*/ 21 h 107"/>
                <a:gd name="T30" fmla="*/ 5 w 107"/>
                <a:gd name="T31" fmla="*/ 26 h 107"/>
                <a:gd name="T32" fmla="*/ 81 w 107"/>
                <a:gd name="T33" fmla="*/ 102 h 107"/>
                <a:gd name="T34" fmla="*/ 86 w 107"/>
                <a:gd name="T35" fmla="*/ 105 h 107"/>
                <a:gd name="T36" fmla="*/ 91 w 107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07">
                  <a:moveTo>
                    <a:pt x="91" y="107"/>
                  </a:moveTo>
                  <a:lnTo>
                    <a:pt x="97" y="105"/>
                  </a:lnTo>
                  <a:lnTo>
                    <a:pt x="102" y="102"/>
                  </a:lnTo>
                  <a:lnTo>
                    <a:pt x="105" y="97"/>
                  </a:lnTo>
                  <a:lnTo>
                    <a:pt x="107" y="91"/>
                  </a:lnTo>
                  <a:lnTo>
                    <a:pt x="105" y="86"/>
                  </a:lnTo>
                  <a:lnTo>
                    <a:pt x="102" y="81"/>
                  </a:lnTo>
                  <a:lnTo>
                    <a:pt x="26" y="5"/>
                  </a:lnTo>
                  <a:lnTo>
                    <a:pt x="21" y="2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81" y="102"/>
                  </a:lnTo>
                  <a:lnTo>
                    <a:pt x="86" y="105"/>
                  </a:lnTo>
                  <a:lnTo>
                    <a:pt x="9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136"/>
            <p:cNvSpPr>
              <a:spLocks/>
            </p:cNvSpPr>
            <p:nvPr/>
          </p:nvSpPr>
          <p:spPr bwMode="auto">
            <a:xfrm>
              <a:off x="11171238" y="835025"/>
              <a:ext cx="9525" cy="28575"/>
            </a:xfrm>
            <a:custGeom>
              <a:avLst/>
              <a:gdLst>
                <a:gd name="T0" fmla="*/ 15 w 29"/>
                <a:gd name="T1" fmla="*/ 90 h 90"/>
                <a:gd name="T2" fmla="*/ 21 w 29"/>
                <a:gd name="T3" fmla="*/ 89 h 90"/>
                <a:gd name="T4" fmla="*/ 26 w 29"/>
                <a:gd name="T5" fmla="*/ 87 h 90"/>
                <a:gd name="T6" fmla="*/ 28 w 29"/>
                <a:gd name="T7" fmla="*/ 82 h 90"/>
                <a:gd name="T8" fmla="*/ 29 w 29"/>
                <a:gd name="T9" fmla="*/ 76 h 90"/>
                <a:gd name="T10" fmla="*/ 29 w 29"/>
                <a:gd name="T11" fmla="*/ 16 h 90"/>
                <a:gd name="T12" fmla="*/ 28 w 29"/>
                <a:gd name="T13" fmla="*/ 10 h 90"/>
                <a:gd name="T14" fmla="*/ 26 w 29"/>
                <a:gd name="T15" fmla="*/ 5 h 90"/>
                <a:gd name="T16" fmla="*/ 21 w 29"/>
                <a:gd name="T17" fmla="*/ 1 h 90"/>
                <a:gd name="T18" fmla="*/ 15 w 29"/>
                <a:gd name="T19" fmla="*/ 0 h 90"/>
                <a:gd name="T20" fmla="*/ 9 w 29"/>
                <a:gd name="T21" fmla="*/ 1 h 90"/>
                <a:gd name="T22" fmla="*/ 4 w 29"/>
                <a:gd name="T23" fmla="*/ 5 h 90"/>
                <a:gd name="T24" fmla="*/ 1 w 29"/>
                <a:gd name="T25" fmla="*/ 10 h 90"/>
                <a:gd name="T26" fmla="*/ 0 w 29"/>
                <a:gd name="T27" fmla="*/ 16 h 90"/>
                <a:gd name="T28" fmla="*/ 0 w 29"/>
                <a:gd name="T29" fmla="*/ 76 h 90"/>
                <a:gd name="T30" fmla="*/ 1 w 29"/>
                <a:gd name="T31" fmla="*/ 82 h 90"/>
                <a:gd name="T32" fmla="*/ 4 w 29"/>
                <a:gd name="T33" fmla="*/ 87 h 90"/>
                <a:gd name="T34" fmla="*/ 9 w 29"/>
                <a:gd name="T35" fmla="*/ 89 h 90"/>
                <a:gd name="T36" fmla="*/ 15 w 29"/>
                <a:gd name="T3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90">
                  <a:moveTo>
                    <a:pt x="15" y="90"/>
                  </a:moveTo>
                  <a:lnTo>
                    <a:pt x="21" y="89"/>
                  </a:lnTo>
                  <a:lnTo>
                    <a:pt x="26" y="87"/>
                  </a:lnTo>
                  <a:lnTo>
                    <a:pt x="28" y="82"/>
                  </a:lnTo>
                  <a:lnTo>
                    <a:pt x="29" y="76"/>
                  </a:lnTo>
                  <a:lnTo>
                    <a:pt x="29" y="16"/>
                  </a:lnTo>
                  <a:lnTo>
                    <a:pt x="28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0" y="76"/>
                  </a:lnTo>
                  <a:lnTo>
                    <a:pt x="1" y="82"/>
                  </a:lnTo>
                  <a:lnTo>
                    <a:pt x="4" y="87"/>
                  </a:lnTo>
                  <a:lnTo>
                    <a:pt x="9" y="89"/>
                  </a:lnTo>
                  <a:lnTo>
                    <a:pt x="1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137"/>
            <p:cNvSpPr>
              <a:spLocks/>
            </p:cNvSpPr>
            <p:nvPr/>
          </p:nvSpPr>
          <p:spPr bwMode="auto">
            <a:xfrm>
              <a:off x="11242675" y="863600"/>
              <a:ext cx="33338" cy="34925"/>
            </a:xfrm>
            <a:custGeom>
              <a:avLst/>
              <a:gdLst>
                <a:gd name="T0" fmla="*/ 101 w 106"/>
                <a:gd name="T1" fmla="*/ 5 h 107"/>
                <a:gd name="T2" fmla="*/ 96 w 106"/>
                <a:gd name="T3" fmla="*/ 2 h 107"/>
                <a:gd name="T4" fmla="*/ 90 w 106"/>
                <a:gd name="T5" fmla="*/ 0 h 107"/>
                <a:gd name="T6" fmla="*/ 85 w 106"/>
                <a:gd name="T7" fmla="*/ 2 h 107"/>
                <a:gd name="T8" fmla="*/ 80 w 106"/>
                <a:gd name="T9" fmla="*/ 5 h 107"/>
                <a:gd name="T10" fmla="*/ 5 w 106"/>
                <a:gd name="T11" fmla="*/ 80 h 107"/>
                <a:gd name="T12" fmla="*/ 1 w 106"/>
                <a:gd name="T13" fmla="*/ 86 h 107"/>
                <a:gd name="T14" fmla="*/ 0 w 106"/>
                <a:gd name="T15" fmla="*/ 91 h 107"/>
                <a:gd name="T16" fmla="*/ 1 w 106"/>
                <a:gd name="T17" fmla="*/ 97 h 107"/>
                <a:gd name="T18" fmla="*/ 5 w 106"/>
                <a:gd name="T19" fmla="*/ 102 h 107"/>
                <a:gd name="T20" fmla="*/ 10 w 106"/>
                <a:gd name="T21" fmla="*/ 105 h 107"/>
                <a:gd name="T22" fmla="*/ 16 w 106"/>
                <a:gd name="T23" fmla="*/ 107 h 107"/>
                <a:gd name="T24" fmla="*/ 21 w 106"/>
                <a:gd name="T25" fmla="*/ 105 h 107"/>
                <a:gd name="T26" fmla="*/ 25 w 106"/>
                <a:gd name="T27" fmla="*/ 102 h 107"/>
                <a:gd name="T28" fmla="*/ 101 w 106"/>
                <a:gd name="T29" fmla="*/ 26 h 107"/>
                <a:gd name="T30" fmla="*/ 105 w 106"/>
                <a:gd name="T31" fmla="*/ 21 h 107"/>
                <a:gd name="T32" fmla="*/ 106 w 106"/>
                <a:gd name="T33" fmla="*/ 16 h 107"/>
                <a:gd name="T34" fmla="*/ 105 w 106"/>
                <a:gd name="T35" fmla="*/ 10 h 107"/>
                <a:gd name="T36" fmla="*/ 101 w 106"/>
                <a:gd name="T37" fmla="*/ 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07">
                  <a:moveTo>
                    <a:pt x="101" y="5"/>
                  </a:moveTo>
                  <a:lnTo>
                    <a:pt x="96" y="2"/>
                  </a:lnTo>
                  <a:lnTo>
                    <a:pt x="90" y="0"/>
                  </a:lnTo>
                  <a:lnTo>
                    <a:pt x="85" y="2"/>
                  </a:lnTo>
                  <a:lnTo>
                    <a:pt x="80" y="5"/>
                  </a:lnTo>
                  <a:lnTo>
                    <a:pt x="5" y="80"/>
                  </a:lnTo>
                  <a:lnTo>
                    <a:pt x="1" y="86"/>
                  </a:lnTo>
                  <a:lnTo>
                    <a:pt x="0" y="91"/>
                  </a:lnTo>
                  <a:lnTo>
                    <a:pt x="1" y="97"/>
                  </a:lnTo>
                  <a:lnTo>
                    <a:pt x="5" y="102"/>
                  </a:lnTo>
                  <a:lnTo>
                    <a:pt x="10" y="105"/>
                  </a:lnTo>
                  <a:lnTo>
                    <a:pt x="16" y="107"/>
                  </a:lnTo>
                  <a:lnTo>
                    <a:pt x="21" y="105"/>
                  </a:lnTo>
                  <a:lnTo>
                    <a:pt x="25" y="102"/>
                  </a:lnTo>
                  <a:lnTo>
                    <a:pt x="101" y="26"/>
                  </a:lnTo>
                  <a:lnTo>
                    <a:pt x="105" y="21"/>
                  </a:lnTo>
                  <a:lnTo>
                    <a:pt x="106" y="16"/>
                  </a:lnTo>
                  <a:lnTo>
                    <a:pt x="105" y="10"/>
                  </a:lnTo>
                  <a:lnTo>
                    <a:pt x="10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138"/>
            <p:cNvSpPr>
              <a:spLocks/>
            </p:cNvSpPr>
            <p:nvPr/>
          </p:nvSpPr>
          <p:spPr bwMode="auto">
            <a:xfrm>
              <a:off x="11276013" y="949325"/>
              <a:ext cx="28575" cy="11113"/>
            </a:xfrm>
            <a:custGeom>
              <a:avLst/>
              <a:gdLst>
                <a:gd name="T0" fmla="*/ 75 w 90"/>
                <a:gd name="T1" fmla="*/ 0 h 31"/>
                <a:gd name="T2" fmla="*/ 15 w 90"/>
                <a:gd name="T3" fmla="*/ 0 h 31"/>
                <a:gd name="T4" fmla="*/ 9 w 90"/>
                <a:gd name="T5" fmla="*/ 2 h 31"/>
                <a:gd name="T6" fmla="*/ 4 w 90"/>
                <a:gd name="T7" fmla="*/ 5 h 31"/>
                <a:gd name="T8" fmla="*/ 1 w 90"/>
                <a:gd name="T9" fmla="*/ 10 h 31"/>
                <a:gd name="T10" fmla="*/ 0 w 90"/>
                <a:gd name="T11" fmla="*/ 15 h 31"/>
                <a:gd name="T12" fmla="*/ 1 w 90"/>
                <a:gd name="T13" fmla="*/ 21 h 31"/>
                <a:gd name="T14" fmla="*/ 4 w 90"/>
                <a:gd name="T15" fmla="*/ 26 h 31"/>
                <a:gd name="T16" fmla="*/ 9 w 90"/>
                <a:gd name="T17" fmla="*/ 30 h 31"/>
                <a:gd name="T18" fmla="*/ 15 w 90"/>
                <a:gd name="T19" fmla="*/ 31 h 31"/>
                <a:gd name="T20" fmla="*/ 75 w 90"/>
                <a:gd name="T21" fmla="*/ 31 h 31"/>
                <a:gd name="T22" fmla="*/ 81 w 90"/>
                <a:gd name="T23" fmla="*/ 30 h 31"/>
                <a:gd name="T24" fmla="*/ 86 w 90"/>
                <a:gd name="T25" fmla="*/ 26 h 31"/>
                <a:gd name="T26" fmla="*/ 89 w 90"/>
                <a:gd name="T27" fmla="*/ 21 h 31"/>
                <a:gd name="T28" fmla="*/ 90 w 90"/>
                <a:gd name="T29" fmla="*/ 15 h 31"/>
                <a:gd name="T30" fmla="*/ 89 w 90"/>
                <a:gd name="T31" fmla="*/ 10 h 31"/>
                <a:gd name="T32" fmla="*/ 86 w 90"/>
                <a:gd name="T33" fmla="*/ 5 h 31"/>
                <a:gd name="T34" fmla="*/ 81 w 90"/>
                <a:gd name="T35" fmla="*/ 2 h 31"/>
                <a:gd name="T36" fmla="*/ 75 w 9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31">
                  <a:moveTo>
                    <a:pt x="75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4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75" y="31"/>
                  </a:lnTo>
                  <a:lnTo>
                    <a:pt x="81" y="30"/>
                  </a:lnTo>
                  <a:lnTo>
                    <a:pt x="86" y="26"/>
                  </a:lnTo>
                  <a:lnTo>
                    <a:pt x="89" y="21"/>
                  </a:lnTo>
                  <a:lnTo>
                    <a:pt x="90" y="15"/>
                  </a:lnTo>
                  <a:lnTo>
                    <a:pt x="89" y="10"/>
                  </a:lnTo>
                  <a:lnTo>
                    <a:pt x="86" y="5"/>
                  </a:lnTo>
                  <a:lnTo>
                    <a:pt x="81" y="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TextBox 25"/>
          <p:cNvSpPr txBox="1"/>
          <p:nvPr/>
        </p:nvSpPr>
        <p:spPr>
          <a:xfrm>
            <a:off x="834154" y="4071759"/>
            <a:ext cx="2302746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44" name="TextBox 25"/>
          <p:cNvSpPr txBox="1"/>
          <p:nvPr/>
        </p:nvSpPr>
        <p:spPr>
          <a:xfrm>
            <a:off x="834880" y="3759914"/>
            <a:ext cx="182519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D80F79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5" name="TextBox 25"/>
          <p:cNvSpPr txBox="1"/>
          <p:nvPr/>
        </p:nvSpPr>
        <p:spPr>
          <a:xfrm>
            <a:off x="834154" y="2131947"/>
            <a:ext cx="2302746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46" name="TextBox 25"/>
          <p:cNvSpPr txBox="1"/>
          <p:nvPr/>
        </p:nvSpPr>
        <p:spPr>
          <a:xfrm>
            <a:off x="834880" y="1820102"/>
            <a:ext cx="182519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C344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7" name="TextBox 25"/>
          <p:cNvSpPr txBox="1"/>
          <p:nvPr/>
        </p:nvSpPr>
        <p:spPr>
          <a:xfrm>
            <a:off x="4194431" y="2131947"/>
            <a:ext cx="2302746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48" name="TextBox 25"/>
          <p:cNvSpPr txBox="1"/>
          <p:nvPr/>
        </p:nvSpPr>
        <p:spPr>
          <a:xfrm>
            <a:off x="4195157" y="1820102"/>
            <a:ext cx="182519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19627F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sp>
        <p:nvSpPr>
          <p:cNvPr id="49" name="TextBox 25"/>
          <p:cNvSpPr txBox="1"/>
          <p:nvPr/>
        </p:nvSpPr>
        <p:spPr>
          <a:xfrm>
            <a:off x="6350718" y="5033291"/>
            <a:ext cx="2302746" cy="8079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50" name="TextBox 25"/>
          <p:cNvSpPr txBox="1"/>
          <p:nvPr/>
        </p:nvSpPr>
        <p:spPr>
          <a:xfrm>
            <a:off x="6828271" y="4721446"/>
            <a:ext cx="182519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dirty="0">
                <a:solidFill>
                  <a:srgbClr val="6F878C"/>
                </a:solidFill>
                <a:latin typeface="+mj-lt"/>
                <a:cs typeface="Calibri Light" panose="020F0302020204030204" pitchFamily="34" charset="0"/>
              </a:rPr>
              <a:t>Lorem ipsum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2466975" y="1943100"/>
            <a:ext cx="763651" cy="0"/>
          </a:xfrm>
          <a:prstGeom prst="line">
            <a:avLst/>
          </a:prstGeom>
          <a:ln>
            <a:solidFill>
              <a:srgbClr val="BFBEB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230626" y="1943100"/>
            <a:ext cx="1531874" cy="2247900"/>
          </a:xfrm>
          <a:prstGeom prst="line">
            <a:avLst/>
          </a:prstGeom>
          <a:ln>
            <a:solidFill>
              <a:srgbClr val="BFBE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3319677" y="4747483"/>
            <a:ext cx="128713" cy="128713"/>
          </a:xfrm>
          <a:prstGeom prst="line">
            <a:avLst/>
          </a:prstGeom>
          <a:ln>
            <a:solidFill>
              <a:srgbClr val="BFBEB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5333053" y="3104117"/>
            <a:ext cx="524822" cy="658258"/>
          </a:xfrm>
          <a:prstGeom prst="line">
            <a:avLst/>
          </a:prstGeom>
          <a:ln>
            <a:solidFill>
              <a:srgbClr val="BFBEB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 flipV="1">
            <a:off x="7307923" y="3981060"/>
            <a:ext cx="524822" cy="658258"/>
          </a:xfrm>
          <a:prstGeom prst="line">
            <a:avLst/>
          </a:prstGeom>
          <a:ln>
            <a:solidFill>
              <a:srgbClr val="BFBEB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nip Single Corner Rectangle 64"/>
          <p:cNvSpPr/>
          <p:nvPr/>
        </p:nvSpPr>
        <p:spPr>
          <a:xfrm>
            <a:off x="9116620" y="1549406"/>
            <a:ext cx="2235593" cy="4269722"/>
          </a:xfrm>
          <a:prstGeom prst="snip1Rect">
            <a:avLst>
              <a:gd name="adj" fmla="val 10418"/>
            </a:avLst>
          </a:prstGeom>
          <a:solidFill>
            <a:srgbClr val="0C3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Box 25"/>
          <p:cNvSpPr txBox="1"/>
          <p:nvPr/>
        </p:nvSpPr>
        <p:spPr>
          <a:xfrm>
            <a:off x="9329252" y="3115324"/>
            <a:ext cx="1810329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orem Ipsum has been the industry's standard dummy text ever since 1500s.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9329322" y="4624743"/>
            <a:ext cx="1810260" cy="9694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bg1"/>
                </a:solidFill>
                <a:cs typeface="Calibri Light" panose="020F0302020204030204" pitchFamily="34" charset="0"/>
              </a:rPr>
              <a:t>Lorem Ipsum has been the industry's standard dummy text ever since the 1500s, when an unknown printer took a galley of type and scrambled it to make a type specimen book.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9329252" y="2497393"/>
            <a:ext cx="341504" cy="339618"/>
            <a:chOff x="7018338" y="4656138"/>
            <a:chExt cx="287337" cy="285750"/>
          </a:xfrm>
          <a:solidFill>
            <a:schemeClr val="bg1"/>
          </a:solidFill>
          <a:effectLst/>
        </p:grpSpPr>
        <p:sp>
          <p:nvSpPr>
            <p:cNvPr id="70" name="Freeform 4604"/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605"/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606"/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4607"/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805719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111500"/>
            <a:ext cx="12192000" cy="3124200"/>
          </a:xfrm>
          <a:prstGeom prst="rect">
            <a:avLst/>
          </a:prstGeom>
          <a:solidFill>
            <a:srgbClr val="0C3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33" y="1723645"/>
            <a:ext cx="3476301" cy="2318224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386346" y="0"/>
            <a:ext cx="1240778" cy="482568"/>
            <a:chOff x="5401469" y="1588"/>
            <a:chExt cx="1389063" cy="540239"/>
          </a:xfrm>
        </p:grpSpPr>
        <p:sp>
          <p:nvSpPr>
            <p:cNvPr id="3" name="Freeform 5"/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C344C"/>
                </a:gs>
                <a:gs pos="100000">
                  <a:srgbClr val="D80F79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C34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39788" y="688975"/>
            <a:ext cx="56753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>
                <a:solidFill>
                  <a:srgbClr val="0C344C"/>
                </a:solidFill>
                <a:latin typeface="+mj-lt"/>
              </a:rPr>
              <a:t>Device Section</a:t>
            </a:r>
            <a:endParaRPr lang="en-US" sz="2800" dirty="0">
              <a:solidFill>
                <a:srgbClr val="0C344C"/>
              </a:solidFill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2" t="11587" r="8942" b="7179"/>
          <a:stretch/>
        </p:blipFill>
        <p:spPr>
          <a:xfrm>
            <a:off x="404582" y="1549400"/>
            <a:ext cx="4835583" cy="28702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5626359" y="1692088"/>
            <a:ext cx="5725854" cy="1150516"/>
            <a:chOff x="6515099" y="1612228"/>
            <a:chExt cx="5230310" cy="1150516"/>
          </a:xfrm>
        </p:grpSpPr>
        <p:sp>
          <p:nvSpPr>
            <p:cNvPr id="10" name="TextBox 25"/>
            <p:cNvSpPr txBox="1"/>
            <p:nvPr/>
          </p:nvSpPr>
          <p:spPr>
            <a:xfrm>
              <a:off x="6515099" y="1612228"/>
              <a:ext cx="5230310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rgbClr val="6F878C"/>
                  </a:solidFill>
                  <a:latin typeface="+mj-lt"/>
                  <a:cs typeface="Calibri Light" panose="020F0302020204030204" pitchFamily="34" charset="0"/>
                </a:rPr>
                <a:t>Lorem Ipsum has been the industry's standard dummy text ever since the 1500s, when an unknown printer took a galley of type and scrambled it to make a type specimen book.</a:t>
              </a:r>
            </a:p>
          </p:txBody>
        </p:sp>
        <p:sp>
          <p:nvSpPr>
            <p:cNvPr id="11" name="TextBox 25"/>
            <p:cNvSpPr txBox="1"/>
            <p:nvPr/>
          </p:nvSpPr>
          <p:spPr>
            <a:xfrm>
              <a:off x="6515099" y="2439579"/>
              <a:ext cx="523031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It has survived not only five centuries, but also the leap into electronic typesetting, remaining essentially unchanged. It was </a:t>
              </a:r>
              <a:r>
                <a:rPr lang="en-US" sz="1050" dirty="0" err="1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popularised</a:t>
              </a:r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 in the 1960s with the release of </a:t>
              </a:r>
              <a:r>
                <a:rPr lang="en-US" sz="1050" dirty="0" err="1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Letraset</a:t>
              </a:r>
              <a:r>
                <a:rPr lang="en-US" sz="105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Calibri Light" panose="020F0302020204030204" pitchFamily="34" charset="0"/>
                </a:rPr>
                <a:t> sheets.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37318" y="4663739"/>
            <a:ext cx="3970110" cy="1244635"/>
            <a:chOff x="839062" y="4663739"/>
            <a:chExt cx="3970110" cy="1244635"/>
          </a:xfrm>
        </p:grpSpPr>
        <p:sp>
          <p:nvSpPr>
            <p:cNvPr id="21" name="TextBox 25"/>
            <p:cNvSpPr txBox="1"/>
            <p:nvPr/>
          </p:nvSpPr>
          <p:spPr>
            <a:xfrm>
              <a:off x="839062" y="5100461"/>
              <a:ext cx="1751738" cy="80791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bg1"/>
                  </a:solidFill>
                  <a:cs typeface="Calibri Light" panose="020F0302020204030204" pitchFamily="34" charset="0"/>
                </a:rPr>
                <a:t>Contrary to popular belief, Lorem Ipsum is not simply random text. It has roots in a piece of classical Latin literature from 45 BC.</a:t>
              </a: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39788" y="4663740"/>
              <a:ext cx="272283" cy="295733"/>
              <a:chOff x="3421063" y="2887663"/>
              <a:chExt cx="331788" cy="360363"/>
            </a:xfrm>
            <a:solidFill>
              <a:schemeClr val="bg1"/>
            </a:solidFill>
          </p:grpSpPr>
          <p:sp>
            <p:nvSpPr>
              <p:cNvPr id="24" name="Freeform 211"/>
              <p:cNvSpPr>
                <a:spLocks noEditPoints="1"/>
              </p:cNvSpPr>
              <p:nvPr/>
            </p:nvSpPr>
            <p:spPr bwMode="auto">
              <a:xfrm>
                <a:off x="3586163" y="3082926"/>
                <a:ext cx="166688" cy="165100"/>
              </a:xfrm>
              <a:custGeom>
                <a:avLst/>
                <a:gdLst>
                  <a:gd name="T0" fmla="*/ 43 w 44"/>
                  <a:gd name="T1" fmla="*/ 40 h 44"/>
                  <a:gd name="T2" fmla="*/ 31 w 44"/>
                  <a:gd name="T3" fmla="*/ 28 h 44"/>
                  <a:gd name="T4" fmla="*/ 34 w 44"/>
                  <a:gd name="T5" fmla="*/ 17 h 44"/>
                  <a:gd name="T6" fmla="*/ 17 w 44"/>
                  <a:gd name="T7" fmla="*/ 0 h 44"/>
                  <a:gd name="T8" fmla="*/ 0 w 44"/>
                  <a:gd name="T9" fmla="*/ 17 h 44"/>
                  <a:gd name="T10" fmla="*/ 17 w 44"/>
                  <a:gd name="T11" fmla="*/ 34 h 44"/>
                  <a:gd name="T12" fmla="*/ 28 w 44"/>
                  <a:gd name="T13" fmla="*/ 30 h 44"/>
                  <a:gd name="T14" fmla="*/ 41 w 44"/>
                  <a:gd name="T15" fmla="*/ 43 h 44"/>
                  <a:gd name="T16" fmla="*/ 42 w 44"/>
                  <a:gd name="T17" fmla="*/ 44 h 44"/>
                  <a:gd name="T18" fmla="*/ 43 w 44"/>
                  <a:gd name="T19" fmla="*/ 43 h 44"/>
                  <a:gd name="T20" fmla="*/ 43 w 44"/>
                  <a:gd name="T21" fmla="*/ 40 h 44"/>
                  <a:gd name="T22" fmla="*/ 4 w 44"/>
                  <a:gd name="T23" fmla="*/ 17 h 44"/>
                  <a:gd name="T24" fmla="*/ 17 w 44"/>
                  <a:gd name="T25" fmla="*/ 4 h 44"/>
                  <a:gd name="T26" fmla="*/ 30 w 44"/>
                  <a:gd name="T27" fmla="*/ 17 h 44"/>
                  <a:gd name="T28" fmla="*/ 17 w 44"/>
                  <a:gd name="T29" fmla="*/ 30 h 44"/>
                  <a:gd name="T30" fmla="*/ 4 w 44"/>
                  <a:gd name="T31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44">
                    <a:moveTo>
                      <a:pt x="43" y="40"/>
                    </a:moveTo>
                    <a:cubicBezTo>
                      <a:pt x="31" y="28"/>
                      <a:pt x="31" y="28"/>
                      <a:pt x="31" y="28"/>
                    </a:cubicBezTo>
                    <a:cubicBezTo>
                      <a:pt x="33" y="25"/>
                      <a:pt x="34" y="21"/>
                      <a:pt x="34" y="17"/>
                    </a:cubicBezTo>
                    <a:cubicBezTo>
                      <a:pt x="34" y="8"/>
                      <a:pt x="2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7"/>
                      <a:pt x="8" y="34"/>
                      <a:pt x="17" y="34"/>
                    </a:cubicBezTo>
                    <a:cubicBezTo>
                      <a:pt x="21" y="34"/>
                      <a:pt x="25" y="33"/>
                      <a:pt x="28" y="30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1" y="44"/>
                      <a:pt x="41" y="44"/>
                      <a:pt x="42" y="44"/>
                    </a:cubicBezTo>
                    <a:cubicBezTo>
                      <a:pt x="43" y="44"/>
                      <a:pt x="43" y="44"/>
                      <a:pt x="43" y="43"/>
                    </a:cubicBezTo>
                    <a:cubicBezTo>
                      <a:pt x="44" y="42"/>
                      <a:pt x="44" y="41"/>
                      <a:pt x="43" y="40"/>
                    </a:cubicBezTo>
                    <a:close/>
                    <a:moveTo>
                      <a:pt x="4" y="17"/>
                    </a:moveTo>
                    <a:cubicBezTo>
                      <a:pt x="4" y="10"/>
                      <a:pt x="10" y="4"/>
                      <a:pt x="17" y="4"/>
                    </a:cubicBezTo>
                    <a:cubicBezTo>
                      <a:pt x="25" y="4"/>
                      <a:pt x="30" y="10"/>
                      <a:pt x="30" y="17"/>
                    </a:cubicBezTo>
                    <a:cubicBezTo>
                      <a:pt x="30" y="24"/>
                      <a:pt x="25" y="30"/>
                      <a:pt x="17" y="30"/>
                    </a:cubicBezTo>
                    <a:cubicBezTo>
                      <a:pt x="10" y="30"/>
                      <a:pt x="4" y="24"/>
                      <a:pt x="4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Freeform 212"/>
              <p:cNvSpPr>
                <a:spLocks/>
              </p:cNvSpPr>
              <p:nvPr/>
            </p:nvSpPr>
            <p:spPr bwMode="auto">
              <a:xfrm>
                <a:off x="3451225" y="2917826"/>
                <a:ext cx="255588" cy="14288"/>
              </a:xfrm>
              <a:custGeom>
                <a:avLst/>
                <a:gdLst>
                  <a:gd name="T0" fmla="*/ 2 w 68"/>
                  <a:gd name="T1" fmla="*/ 0 h 4"/>
                  <a:gd name="T2" fmla="*/ 0 w 68"/>
                  <a:gd name="T3" fmla="*/ 2 h 4"/>
                  <a:gd name="T4" fmla="*/ 2 w 68"/>
                  <a:gd name="T5" fmla="*/ 4 h 4"/>
                  <a:gd name="T6" fmla="*/ 66 w 68"/>
                  <a:gd name="T7" fmla="*/ 4 h 4"/>
                  <a:gd name="T8" fmla="*/ 68 w 68"/>
                  <a:gd name="T9" fmla="*/ 2 h 4"/>
                  <a:gd name="T10" fmla="*/ 66 w 68"/>
                  <a:gd name="T11" fmla="*/ 0 h 4"/>
                  <a:gd name="T12" fmla="*/ 2 w 6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4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7" y="4"/>
                      <a:pt x="68" y="3"/>
                      <a:pt x="68" y="2"/>
                    </a:cubicBezTo>
                    <a:cubicBezTo>
                      <a:pt x="68" y="1"/>
                      <a:pt x="67" y="0"/>
                      <a:pt x="66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Freeform 213"/>
              <p:cNvSpPr>
                <a:spLocks/>
              </p:cNvSpPr>
              <p:nvPr/>
            </p:nvSpPr>
            <p:spPr bwMode="auto">
              <a:xfrm>
                <a:off x="3722688" y="31845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Freeform 214"/>
              <p:cNvSpPr>
                <a:spLocks/>
              </p:cNvSpPr>
              <p:nvPr/>
            </p:nvSpPr>
            <p:spPr bwMode="auto">
              <a:xfrm>
                <a:off x="3421063" y="2887663"/>
                <a:ext cx="301625" cy="360363"/>
              </a:xfrm>
              <a:custGeom>
                <a:avLst/>
                <a:gdLst>
                  <a:gd name="T0" fmla="*/ 71 w 80"/>
                  <a:gd name="T1" fmla="*/ 88 h 96"/>
                  <a:gd name="T2" fmla="*/ 61 w 80"/>
                  <a:gd name="T3" fmla="*/ 90 h 96"/>
                  <a:gd name="T4" fmla="*/ 40 w 80"/>
                  <a:gd name="T5" fmla="*/ 69 h 96"/>
                  <a:gd name="T6" fmla="*/ 61 w 80"/>
                  <a:gd name="T7" fmla="*/ 48 h 96"/>
                  <a:gd name="T8" fmla="*/ 80 w 80"/>
                  <a:gd name="T9" fmla="*/ 59 h 96"/>
                  <a:gd name="T10" fmla="*/ 80 w 80"/>
                  <a:gd name="T11" fmla="*/ 18 h 96"/>
                  <a:gd name="T12" fmla="*/ 78 w 80"/>
                  <a:gd name="T13" fmla="*/ 16 h 96"/>
                  <a:gd name="T14" fmla="*/ 10 w 80"/>
                  <a:gd name="T15" fmla="*/ 16 h 96"/>
                  <a:gd name="T16" fmla="*/ 4 w 80"/>
                  <a:gd name="T17" fmla="*/ 10 h 96"/>
                  <a:gd name="T18" fmla="*/ 10 w 80"/>
                  <a:gd name="T19" fmla="*/ 4 h 96"/>
                  <a:gd name="T20" fmla="*/ 78 w 80"/>
                  <a:gd name="T21" fmla="*/ 4 h 96"/>
                  <a:gd name="T22" fmla="*/ 80 w 80"/>
                  <a:gd name="T23" fmla="*/ 2 h 96"/>
                  <a:gd name="T24" fmla="*/ 78 w 80"/>
                  <a:gd name="T25" fmla="*/ 0 h 96"/>
                  <a:gd name="T26" fmla="*/ 10 w 80"/>
                  <a:gd name="T27" fmla="*/ 0 h 96"/>
                  <a:gd name="T28" fmla="*/ 0 w 80"/>
                  <a:gd name="T29" fmla="*/ 10 h 96"/>
                  <a:gd name="T30" fmla="*/ 0 w 80"/>
                  <a:gd name="T31" fmla="*/ 86 h 96"/>
                  <a:gd name="T32" fmla="*/ 10 w 80"/>
                  <a:gd name="T33" fmla="*/ 96 h 96"/>
                  <a:gd name="T34" fmla="*/ 78 w 80"/>
                  <a:gd name="T35" fmla="*/ 96 h 96"/>
                  <a:gd name="T36" fmla="*/ 79 w 80"/>
                  <a:gd name="T37" fmla="*/ 96 h 96"/>
                  <a:gd name="T38" fmla="*/ 71 w 80"/>
                  <a:gd name="T39" fmla="*/ 8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96">
                    <a:moveTo>
                      <a:pt x="71" y="88"/>
                    </a:moveTo>
                    <a:cubicBezTo>
                      <a:pt x="68" y="89"/>
                      <a:pt x="65" y="90"/>
                      <a:pt x="61" y="90"/>
                    </a:cubicBezTo>
                    <a:cubicBezTo>
                      <a:pt x="50" y="90"/>
                      <a:pt x="40" y="81"/>
                      <a:pt x="40" y="69"/>
                    </a:cubicBezTo>
                    <a:cubicBezTo>
                      <a:pt x="40" y="57"/>
                      <a:pt x="50" y="48"/>
                      <a:pt x="61" y="48"/>
                    </a:cubicBezTo>
                    <a:cubicBezTo>
                      <a:pt x="69" y="48"/>
                      <a:pt x="76" y="53"/>
                      <a:pt x="80" y="59"/>
                    </a:cubicBezTo>
                    <a:cubicBezTo>
                      <a:pt x="80" y="18"/>
                      <a:pt x="80" y="18"/>
                      <a:pt x="80" y="18"/>
                    </a:cubicBezTo>
                    <a:cubicBezTo>
                      <a:pt x="80" y="17"/>
                      <a:pt x="79" y="16"/>
                      <a:pt x="78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7" y="16"/>
                      <a:pt x="4" y="13"/>
                      <a:pt x="4" y="10"/>
                    </a:cubicBezTo>
                    <a:cubicBezTo>
                      <a:pt x="4" y="7"/>
                      <a:pt x="7" y="4"/>
                      <a:pt x="10" y="4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79" y="4"/>
                      <a:pt x="80" y="3"/>
                      <a:pt x="80" y="2"/>
                    </a:cubicBezTo>
                    <a:cubicBezTo>
                      <a:pt x="80" y="1"/>
                      <a:pt x="79" y="0"/>
                      <a:pt x="7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2"/>
                      <a:pt x="4" y="96"/>
                      <a:pt x="10" y="96"/>
                    </a:cubicBez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6"/>
                      <a:pt x="79" y="96"/>
                    </a:cubicBezTo>
                    <a:lnTo>
                      <a:pt x="71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3057434" y="4663739"/>
              <a:ext cx="289219" cy="295733"/>
              <a:chOff x="7726363" y="3609976"/>
              <a:chExt cx="352425" cy="360362"/>
            </a:xfrm>
            <a:solidFill>
              <a:schemeClr val="bg1"/>
            </a:solidFill>
          </p:grpSpPr>
          <p:sp>
            <p:nvSpPr>
              <p:cNvPr id="36" name="Oval 100"/>
              <p:cNvSpPr>
                <a:spLocks noChangeArrowheads="1"/>
              </p:cNvSpPr>
              <p:nvPr/>
            </p:nvSpPr>
            <p:spPr bwMode="auto">
              <a:xfrm>
                <a:off x="7756525" y="3609976"/>
                <a:ext cx="120650" cy="1206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101"/>
              <p:cNvSpPr>
                <a:spLocks/>
              </p:cNvSpPr>
              <p:nvPr/>
            </p:nvSpPr>
            <p:spPr bwMode="auto">
              <a:xfrm>
                <a:off x="7726363" y="3744913"/>
                <a:ext cx="180975" cy="225425"/>
              </a:xfrm>
              <a:custGeom>
                <a:avLst/>
                <a:gdLst>
                  <a:gd name="T0" fmla="*/ 28 w 48"/>
                  <a:gd name="T1" fmla="*/ 0 h 60"/>
                  <a:gd name="T2" fmla="*/ 30 w 48"/>
                  <a:gd name="T3" fmla="*/ 27 h 60"/>
                  <a:gd name="T4" fmla="*/ 24 w 48"/>
                  <a:gd name="T5" fmla="*/ 33 h 60"/>
                  <a:gd name="T6" fmla="*/ 18 w 48"/>
                  <a:gd name="T7" fmla="*/ 27 h 60"/>
                  <a:gd name="T8" fmla="*/ 20 w 48"/>
                  <a:gd name="T9" fmla="*/ 0 h 60"/>
                  <a:gd name="T10" fmla="*/ 0 w 48"/>
                  <a:gd name="T11" fmla="*/ 0 h 60"/>
                  <a:gd name="T12" fmla="*/ 0 w 48"/>
                  <a:gd name="T13" fmla="*/ 2 h 60"/>
                  <a:gd name="T14" fmla="*/ 14 w 48"/>
                  <a:gd name="T15" fmla="*/ 33 h 60"/>
                  <a:gd name="T16" fmla="*/ 14 w 48"/>
                  <a:gd name="T17" fmla="*/ 60 h 60"/>
                  <a:gd name="T18" fmla="*/ 34 w 48"/>
                  <a:gd name="T19" fmla="*/ 60 h 60"/>
                  <a:gd name="T20" fmla="*/ 34 w 48"/>
                  <a:gd name="T21" fmla="*/ 33 h 60"/>
                  <a:gd name="T22" fmla="*/ 48 w 48"/>
                  <a:gd name="T23" fmla="*/ 2 h 60"/>
                  <a:gd name="T24" fmla="*/ 48 w 48"/>
                  <a:gd name="T25" fmla="*/ 0 h 60"/>
                  <a:gd name="T26" fmla="*/ 28 w 48"/>
                  <a:gd name="T2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60">
                    <a:moveTo>
                      <a:pt x="28" y="0"/>
                    </a:move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0"/>
                      <a:pt x="48" y="0"/>
                      <a:pt x="48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Freeform 102"/>
              <p:cNvSpPr>
                <a:spLocks noEditPoints="1"/>
              </p:cNvSpPr>
              <p:nvPr/>
            </p:nvSpPr>
            <p:spPr bwMode="auto">
              <a:xfrm>
                <a:off x="7861300" y="3624263"/>
                <a:ext cx="217488" cy="225425"/>
              </a:xfrm>
              <a:custGeom>
                <a:avLst/>
                <a:gdLst>
                  <a:gd name="T0" fmla="*/ 4 w 58"/>
                  <a:gd name="T1" fmla="*/ 0 h 60"/>
                  <a:gd name="T2" fmla="*/ 8 w 58"/>
                  <a:gd name="T3" fmla="*/ 12 h 60"/>
                  <a:gd name="T4" fmla="*/ 0 w 58"/>
                  <a:gd name="T5" fmla="*/ 28 h 60"/>
                  <a:gd name="T6" fmla="*/ 16 w 58"/>
                  <a:gd name="T7" fmla="*/ 28 h 60"/>
                  <a:gd name="T8" fmla="*/ 16 w 58"/>
                  <a:gd name="T9" fmla="*/ 34 h 60"/>
                  <a:gd name="T10" fmla="*/ 9 w 58"/>
                  <a:gd name="T11" fmla="*/ 60 h 60"/>
                  <a:gd name="T12" fmla="*/ 58 w 58"/>
                  <a:gd name="T13" fmla="*/ 60 h 60"/>
                  <a:gd name="T14" fmla="*/ 58 w 58"/>
                  <a:gd name="T15" fmla="*/ 0 h 60"/>
                  <a:gd name="T16" fmla="*/ 4 w 58"/>
                  <a:gd name="T17" fmla="*/ 0 h 60"/>
                  <a:gd name="T18" fmla="*/ 51 w 58"/>
                  <a:gd name="T19" fmla="*/ 13 h 60"/>
                  <a:gd name="T20" fmla="*/ 45 w 58"/>
                  <a:gd name="T21" fmla="*/ 31 h 60"/>
                  <a:gd name="T22" fmla="*/ 44 w 58"/>
                  <a:gd name="T23" fmla="*/ 32 h 60"/>
                  <a:gd name="T24" fmla="*/ 43 w 58"/>
                  <a:gd name="T25" fmla="*/ 32 h 60"/>
                  <a:gd name="T26" fmla="*/ 32 w 58"/>
                  <a:gd name="T27" fmla="*/ 26 h 60"/>
                  <a:gd name="T28" fmla="*/ 26 w 58"/>
                  <a:gd name="T29" fmla="*/ 44 h 60"/>
                  <a:gd name="T30" fmla="*/ 24 w 58"/>
                  <a:gd name="T31" fmla="*/ 46 h 60"/>
                  <a:gd name="T32" fmla="*/ 23 w 58"/>
                  <a:gd name="T33" fmla="*/ 46 h 60"/>
                  <a:gd name="T34" fmla="*/ 22 w 58"/>
                  <a:gd name="T35" fmla="*/ 43 h 60"/>
                  <a:gd name="T36" fmla="*/ 29 w 58"/>
                  <a:gd name="T37" fmla="*/ 23 h 60"/>
                  <a:gd name="T38" fmla="*/ 31 w 58"/>
                  <a:gd name="T39" fmla="*/ 22 h 60"/>
                  <a:gd name="T40" fmla="*/ 32 w 58"/>
                  <a:gd name="T41" fmla="*/ 22 h 60"/>
                  <a:gd name="T42" fmla="*/ 42 w 58"/>
                  <a:gd name="T43" fmla="*/ 27 h 60"/>
                  <a:gd name="T44" fmla="*/ 48 w 58"/>
                  <a:gd name="T45" fmla="*/ 11 h 60"/>
                  <a:gd name="T46" fmla="*/ 50 w 58"/>
                  <a:gd name="T47" fmla="*/ 10 h 60"/>
                  <a:gd name="T48" fmla="*/ 51 w 58"/>
                  <a:gd name="T49" fmla="*/ 1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8" h="60">
                    <a:moveTo>
                      <a:pt x="4" y="0"/>
                    </a:moveTo>
                    <a:cubicBezTo>
                      <a:pt x="7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44"/>
                      <a:pt x="14" y="53"/>
                      <a:pt x="9" y="60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4" y="0"/>
                    </a:lnTo>
                    <a:close/>
                    <a:moveTo>
                      <a:pt x="51" y="13"/>
                    </a:moveTo>
                    <a:cubicBezTo>
                      <a:pt x="45" y="31"/>
                      <a:pt x="45" y="31"/>
                      <a:pt x="45" y="31"/>
                    </a:cubicBezTo>
                    <a:cubicBezTo>
                      <a:pt x="45" y="31"/>
                      <a:pt x="45" y="32"/>
                      <a:pt x="44" y="32"/>
                    </a:cubicBezTo>
                    <a:cubicBezTo>
                      <a:pt x="44" y="32"/>
                      <a:pt x="43" y="32"/>
                      <a:pt x="43" y="32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5"/>
                      <a:pt x="25" y="46"/>
                      <a:pt x="24" y="46"/>
                    </a:cubicBezTo>
                    <a:cubicBezTo>
                      <a:pt x="24" y="46"/>
                      <a:pt x="23" y="46"/>
                      <a:pt x="23" y="46"/>
                    </a:cubicBezTo>
                    <a:cubicBezTo>
                      <a:pt x="22" y="45"/>
                      <a:pt x="21" y="44"/>
                      <a:pt x="22" y="4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30" y="22"/>
                      <a:pt x="30" y="22"/>
                      <a:pt x="31" y="22"/>
                    </a:cubicBezTo>
                    <a:cubicBezTo>
                      <a:pt x="31" y="22"/>
                      <a:pt x="32" y="22"/>
                      <a:pt x="32" y="22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8" y="10"/>
                      <a:pt x="49" y="10"/>
                      <a:pt x="50" y="10"/>
                    </a:cubicBezTo>
                    <a:cubicBezTo>
                      <a:pt x="51" y="10"/>
                      <a:pt x="52" y="12"/>
                      <a:pt x="51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39" name="TextBox 25"/>
            <p:cNvSpPr txBox="1"/>
            <p:nvPr/>
          </p:nvSpPr>
          <p:spPr>
            <a:xfrm>
              <a:off x="3057434" y="5100461"/>
              <a:ext cx="1751738" cy="80791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dirty="0">
                  <a:solidFill>
                    <a:schemeClr val="bg1"/>
                  </a:solidFill>
                  <a:cs typeface="Calibri Light" panose="020F0302020204030204" pitchFamily="34" charset="0"/>
                </a:rPr>
                <a:t>Contrary to popular belief, Lorem Ipsum is not simply random text. It has roots in a piece of classical Latin literature from 45 BC.</a:t>
              </a:r>
            </a:p>
          </p:txBody>
        </p:sp>
      </p:grpSp>
      <p:graphicFrame>
        <p:nvGraphicFramePr>
          <p:cNvPr id="41" name="Chart 40"/>
          <p:cNvGraphicFramePr/>
          <p:nvPr/>
        </p:nvGraphicFramePr>
        <p:xfrm>
          <a:off x="5608948" y="3429000"/>
          <a:ext cx="5743265" cy="2479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79615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5085257" y="0"/>
            <a:ext cx="7106743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8" name="Group 87"/>
          <p:cNvGrpSpPr/>
          <p:nvPr/>
        </p:nvGrpSpPr>
        <p:grpSpPr>
          <a:xfrm>
            <a:off x="5085256" y="1609616"/>
            <a:ext cx="5608144" cy="2977599"/>
            <a:chOff x="5085256" y="1609616"/>
            <a:chExt cx="5608144" cy="2977599"/>
          </a:xfrm>
        </p:grpSpPr>
        <p:sp>
          <p:nvSpPr>
            <p:cNvPr id="83" name="Snip Single Corner Rectangle 82"/>
            <p:cNvSpPr/>
            <p:nvPr/>
          </p:nvSpPr>
          <p:spPr>
            <a:xfrm>
              <a:off x="5085256" y="4255558"/>
              <a:ext cx="5608144" cy="33165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122141">
                    <a:alpha val="50000"/>
                  </a:srgbClr>
                </a:gs>
                <a:gs pos="0">
                  <a:srgbClr val="125680">
                    <a:alpha val="5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4" name="Snip Single Corner Rectangle 83"/>
            <p:cNvSpPr/>
            <p:nvPr/>
          </p:nvSpPr>
          <p:spPr>
            <a:xfrm>
              <a:off x="5085256" y="1609616"/>
              <a:ext cx="5608144" cy="33165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122141">
                    <a:alpha val="50000"/>
                  </a:srgbClr>
                </a:gs>
                <a:gs pos="0">
                  <a:srgbClr val="125680">
                    <a:alpha val="5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5" name="Snip Single Corner Rectangle 84"/>
            <p:cNvSpPr/>
            <p:nvPr/>
          </p:nvSpPr>
          <p:spPr>
            <a:xfrm>
              <a:off x="5085256" y="2271101"/>
              <a:ext cx="5608144" cy="33165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122141">
                    <a:alpha val="50000"/>
                  </a:srgbClr>
                </a:gs>
                <a:gs pos="0">
                  <a:srgbClr val="125680">
                    <a:alpha val="5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6" name="Snip Single Corner Rectangle 85"/>
            <p:cNvSpPr/>
            <p:nvPr/>
          </p:nvSpPr>
          <p:spPr>
            <a:xfrm>
              <a:off x="5085256" y="2932587"/>
              <a:ext cx="5608144" cy="33165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122141">
                    <a:alpha val="50000"/>
                  </a:srgbClr>
                </a:gs>
                <a:gs pos="0">
                  <a:srgbClr val="125680">
                    <a:alpha val="5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7" name="Snip Single Corner Rectangle 86"/>
            <p:cNvSpPr/>
            <p:nvPr/>
          </p:nvSpPr>
          <p:spPr>
            <a:xfrm>
              <a:off x="5085256" y="3594073"/>
              <a:ext cx="5608144" cy="331657"/>
            </a:xfrm>
            <a:prstGeom prst="snip1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122141">
                    <a:alpha val="50000"/>
                  </a:srgbClr>
                </a:gs>
                <a:gs pos="0">
                  <a:srgbClr val="125680">
                    <a:alpha val="50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 rot="5400000">
            <a:off x="6062187" y="778992"/>
            <a:ext cx="3981163" cy="5281262"/>
            <a:chOff x="5823843" y="1919577"/>
            <a:chExt cx="2625262" cy="3520630"/>
          </a:xfrm>
        </p:grpSpPr>
        <p:cxnSp>
          <p:nvCxnSpPr>
            <p:cNvPr id="73" name="Straight Connector 72"/>
            <p:cNvCxnSpPr/>
            <p:nvPr/>
          </p:nvCxnSpPr>
          <p:spPr>
            <a:xfrm>
              <a:off x="5823843" y="544020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5823843" y="5049025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5823843" y="4657844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5823843" y="4266663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5823843" y="3875482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5823843" y="3484301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5823843" y="3093120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5823843" y="2701939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5823843" y="2310758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>
              <a:off x="5823843" y="1919577"/>
              <a:ext cx="2625262" cy="0"/>
            </a:xfrm>
            <a:prstGeom prst="line">
              <a:avLst/>
            </a:prstGeom>
            <a:ln>
              <a:solidFill>
                <a:srgbClr val="B0F7F4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Freeform 18"/>
          <p:cNvSpPr>
            <a:spLocks/>
          </p:cNvSpPr>
          <p:nvPr/>
        </p:nvSpPr>
        <p:spPr bwMode="auto">
          <a:xfrm rot="5400000">
            <a:off x="5007529" y="5754396"/>
            <a:ext cx="308068" cy="152613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412138" y="5612694"/>
            <a:ext cx="5878162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Lorem Ipsum is simply dummy text of the printing and typesetting industry. Lorem Ipsum has been the industry's standard dummy text ever since the 1500s, </a:t>
            </a:r>
          </a:p>
        </p:txBody>
      </p:sp>
      <p:sp>
        <p:nvSpPr>
          <p:cNvPr id="32" name="Snip Single Corner Rectangle 31"/>
          <p:cNvSpPr/>
          <p:nvPr/>
        </p:nvSpPr>
        <p:spPr>
          <a:xfrm>
            <a:off x="5085256" y="1609616"/>
            <a:ext cx="2395044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Snip Single Corner Rectangle 32"/>
          <p:cNvSpPr/>
          <p:nvPr/>
        </p:nvSpPr>
        <p:spPr>
          <a:xfrm>
            <a:off x="5085256" y="2272054"/>
            <a:ext cx="3349543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Snip Single Corner Rectangle 33"/>
          <p:cNvSpPr/>
          <p:nvPr/>
        </p:nvSpPr>
        <p:spPr>
          <a:xfrm>
            <a:off x="5085256" y="2933222"/>
            <a:ext cx="2395044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Snip Single Corner Rectangle 34"/>
          <p:cNvSpPr/>
          <p:nvPr/>
        </p:nvSpPr>
        <p:spPr>
          <a:xfrm>
            <a:off x="5085256" y="3594390"/>
            <a:ext cx="2966544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Snip Single Corner Rectangle 35"/>
          <p:cNvSpPr/>
          <p:nvPr/>
        </p:nvSpPr>
        <p:spPr>
          <a:xfrm>
            <a:off x="5085256" y="4255558"/>
            <a:ext cx="4274644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B0F7F4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Snip Single Corner Rectangle 36"/>
          <p:cNvSpPr/>
          <p:nvPr/>
        </p:nvSpPr>
        <p:spPr>
          <a:xfrm>
            <a:off x="5085256" y="4916728"/>
            <a:ext cx="5608144" cy="331657"/>
          </a:xfrm>
          <a:prstGeom prst="snip1Rect">
            <a:avLst>
              <a:gd name="adj" fmla="val 50000"/>
            </a:avLst>
          </a:pr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412138" y="1683111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rgbClr val="1221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rgbClr val="12214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412138" y="2344533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rgbClr val="1221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rgbClr val="12214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412138" y="3005955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rgbClr val="1221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rgbClr val="12214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412138" y="3667377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rgbClr val="1221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rgbClr val="12214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12138" y="4328799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rgbClr val="12214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rgbClr val="12214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412138" y="4990223"/>
            <a:ext cx="1018164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  <a:endParaRPr lang="en-US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Freeform 1496"/>
          <p:cNvSpPr>
            <a:spLocks noEditPoints="1"/>
          </p:cNvSpPr>
          <p:nvPr/>
        </p:nvSpPr>
        <p:spPr bwMode="auto">
          <a:xfrm>
            <a:off x="10900981" y="1631775"/>
            <a:ext cx="220663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3073"/>
          <p:cNvSpPr>
            <a:spLocks noEditPoints="1"/>
          </p:cNvSpPr>
          <p:nvPr/>
        </p:nvSpPr>
        <p:spPr bwMode="auto">
          <a:xfrm>
            <a:off x="10868437" y="2295007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B0F7F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" name="Group 46"/>
          <p:cNvGrpSpPr/>
          <p:nvPr/>
        </p:nvGrpSpPr>
        <p:grpSpPr>
          <a:xfrm>
            <a:off x="10899394" y="2952912"/>
            <a:ext cx="223837" cy="285750"/>
            <a:chOff x="6469063" y="4656138"/>
            <a:chExt cx="223837" cy="285750"/>
          </a:xfrm>
          <a:solidFill>
            <a:srgbClr val="B0F7F4"/>
          </a:solidFill>
          <a:effectLst/>
        </p:grpSpPr>
        <p:sp>
          <p:nvSpPr>
            <p:cNvPr id="48" name="Freeform 4608"/>
            <p:cNvSpPr>
              <a:spLocks noEditPoints="1"/>
            </p:cNvSpPr>
            <p:nvPr/>
          </p:nvSpPr>
          <p:spPr bwMode="auto">
            <a:xfrm>
              <a:off x="6483350" y="4789488"/>
              <a:ext cx="209550" cy="152400"/>
            </a:xfrm>
            <a:custGeom>
              <a:avLst/>
              <a:gdLst>
                <a:gd name="T0" fmla="*/ 512 w 663"/>
                <a:gd name="T1" fmla="*/ 241 h 482"/>
                <a:gd name="T2" fmla="*/ 542 w 663"/>
                <a:gd name="T3" fmla="*/ 61 h 482"/>
                <a:gd name="T4" fmla="*/ 561 w 663"/>
                <a:gd name="T5" fmla="*/ 62 h 482"/>
                <a:gd name="T6" fmla="*/ 578 w 663"/>
                <a:gd name="T7" fmla="*/ 68 h 482"/>
                <a:gd name="T8" fmla="*/ 594 w 663"/>
                <a:gd name="T9" fmla="*/ 75 h 482"/>
                <a:gd name="T10" fmla="*/ 608 w 663"/>
                <a:gd name="T11" fmla="*/ 86 h 482"/>
                <a:gd name="T12" fmla="*/ 618 w 663"/>
                <a:gd name="T13" fmla="*/ 99 h 482"/>
                <a:gd name="T14" fmla="*/ 626 w 663"/>
                <a:gd name="T15" fmla="*/ 114 h 482"/>
                <a:gd name="T16" fmla="*/ 630 w 663"/>
                <a:gd name="T17" fmla="*/ 132 h 482"/>
                <a:gd name="T18" fmla="*/ 632 w 663"/>
                <a:gd name="T19" fmla="*/ 151 h 482"/>
                <a:gd name="T20" fmla="*/ 630 w 663"/>
                <a:gd name="T21" fmla="*/ 170 h 482"/>
                <a:gd name="T22" fmla="*/ 626 w 663"/>
                <a:gd name="T23" fmla="*/ 187 h 482"/>
                <a:gd name="T24" fmla="*/ 618 w 663"/>
                <a:gd name="T25" fmla="*/ 203 h 482"/>
                <a:gd name="T26" fmla="*/ 608 w 663"/>
                <a:gd name="T27" fmla="*/ 215 h 482"/>
                <a:gd name="T28" fmla="*/ 594 w 663"/>
                <a:gd name="T29" fmla="*/ 227 h 482"/>
                <a:gd name="T30" fmla="*/ 578 w 663"/>
                <a:gd name="T31" fmla="*/ 235 h 482"/>
                <a:gd name="T32" fmla="*/ 561 w 663"/>
                <a:gd name="T33" fmla="*/ 239 h 482"/>
                <a:gd name="T34" fmla="*/ 542 w 663"/>
                <a:gd name="T35" fmla="*/ 241 h 482"/>
                <a:gd name="T36" fmla="*/ 542 w 663"/>
                <a:gd name="T37" fmla="*/ 30 h 482"/>
                <a:gd name="T38" fmla="*/ 512 w 663"/>
                <a:gd name="T39" fmla="*/ 16 h 482"/>
                <a:gd name="T40" fmla="*/ 510 w 663"/>
                <a:gd name="T41" fmla="*/ 10 h 482"/>
                <a:gd name="T42" fmla="*/ 507 w 663"/>
                <a:gd name="T43" fmla="*/ 4 h 482"/>
                <a:gd name="T44" fmla="*/ 503 w 663"/>
                <a:gd name="T45" fmla="*/ 1 h 482"/>
                <a:gd name="T46" fmla="*/ 497 w 663"/>
                <a:gd name="T47" fmla="*/ 0 h 482"/>
                <a:gd name="T48" fmla="*/ 12 w 663"/>
                <a:gd name="T49" fmla="*/ 1 h 482"/>
                <a:gd name="T50" fmla="*/ 7 w 663"/>
                <a:gd name="T51" fmla="*/ 3 h 482"/>
                <a:gd name="T52" fmla="*/ 2 w 663"/>
                <a:gd name="T53" fmla="*/ 7 h 482"/>
                <a:gd name="T54" fmla="*/ 0 w 663"/>
                <a:gd name="T55" fmla="*/ 12 h 482"/>
                <a:gd name="T56" fmla="*/ 0 w 663"/>
                <a:gd name="T57" fmla="*/ 392 h 482"/>
                <a:gd name="T58" fmla="*/ 2 w 663"/>
                <a:gd name="T59" fmla="*/ 410 h 482"/>
                <a:gd name="T60" fmla="*/ 7 w 663"/>
                <a:gd name="T61" fmla="*/ 427 h 482"/>
                <a:gd name="T62" fmla="*/ 15 w 663"/>
                <a:gd name="T63" fmla="*/ 442 h 482"/>
                <a:gd name="T64" fmla="*/ 26 w 663"/>
                <a:gd name="T65" fmla="*/ 456 h 482"/>
                <a:gd name="T66" fmla="*/ 39 w 663"/>
                <a:gd name="T67" fmla="*/ 467 h 482"/>
                <a:gd name="T68" fmla="*/ 55 w 663"/>
                <a:gd name="T69" fmla="*/ 475 h 482"/>
                <a:gd name="T70" fmla="*/ 72 w 663"/>
                <a:gd name="T71" fmla="*/ 480 h 482"/>
                <a:gd name="T72" fmla="*/ 90 w 663"/>
                <a:gd name="T73" fmla="*/ 482 h 482"/>
                <a:gd name="T74" fmla="*/ 431 w 663"/>
                <a:gd name="T75" fmla="*/ 482 h 482"/>
                <a:gd name="T76" fmla="*/ 449 w 663"/>
                <a:gd name="T77" fmla="*/ 477 h 482"/>
                <a:gd name="T78" fmla="*/ 465 w 663"/>
                <a:gd name="T79" fmla="*/ 472 h 482"/>
                <a:gd name="T80" fmla="*/ 480 w 663"/>
                <a:gd name="T81" fmla="*/ 462 h 482"/>
                <a:gd name="T82" fmla="*/ 491 w 663"/>
                <a:gd name="T83" fmla="*/ 449 h 482"/>
                <a:gd name="T84" fmla="*/ 501 w 663"/>
                <a:gd name="T85" fmla="*/ 436 h 482"/>
                <a:gd name="T86" fmla="*/ 508 w 663"/>
                <a:gd name="T87" fmla="*/ 419 h 482"/>
                <a:gd name="T88" fmla="*/ 512 w 663"/>
                <a:gd name="T89" fmla="*/ 401 h 482"/>
                <a:gd name="T90" fmla="*/ 512 w 663"/>
                <a:gd name="T91" fmla="*/ 271 h 482"/>
                <a:gd name="T92" fmla="*/ 554 w 663"/>
                <a:gd name="T93" fmla="*/ 271 h 482"/>
                <a:gd name="T94" fmla="*/ 579 w 663"/>
                <a:gd name="T95" fmla="*/ 266 h 482"/>
                <a:gd name="T96" fmla="*/ 601 w 663"/>
                <a:gd name="T97" fmla="*/ 257 h 482"/>
                <a:gd name="T98" fmla="*/ 620 w 663"/>
                <a:gd name="T99" fmla="*/ 245 h 482"/>
                <a:gd name="T100" fmla="*/ 636 w 663"/>
                <a:gd name="T101" fmla="*/ 229 h 482"/>
                <a:gd name="T102" fmla="*/ 648 w 663"/>
                <a:gd name="T103" fmla="*/ 210 h 482"/>
                <a:gd name="T104" fmla="*/ 657 w 663"/>
                <a:gd name="T105" fmla="*/ 187 h 482"/>
                <a:gd name="T106" fmla="*/ 662 w 663"/>
                <a:gd name="T107" fmla="*/ 164 h 482"/>
                <a:gd name="T108" fmla="*/ 662 w 663"/>
                <a:gd name="T109" fmla="*/ 138 h 482"/>
                <a:gd name="T110" fmla="*/ 657 w 663"/>
                <a:gd name="T111" fmla="*/ 114 h 482"/>
                <a:gd name="T112" fmla="*/ 648 w 663"/>
                <a:gd name="T113" fmla="*/ 92 h 482"/>
                <a:gd name="T114" fmla="*/ 636 w 663"/>
                <a:gd name="T115" fmla="*/ 73 h 482"/>
                <a:gd name="T116" fmla="*/ 620 w 663"/>
                <a:gd name="T117" fmla="*/ 56 h 482"/>
                <a:gd name="T118" fmla="*/ 601 w 663"/>
                <a:gd name="T119" fmla="*/ 44 h 482"/>
                <a:gd name="T120" fmla="*/ 579 w 663"/>
                <a:gd name="T121" fmla="*/ 36 h 482"/>
                <a:gd name="T122" fmla="*/ 554 w 663"/>
                <a:gd name="T123" fmla="*/ 3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" h="482">
                  <a:moveTo>
                    <a:pt x="542" y="241"/>
                  </a:moveTo>
                  <a:lnTo>
                    <a:pt x="512" y="241"/>
                  </a:lnTo>
                  <a:lnTo>
                    <a:pt x="512" y="61"/>
                  </a:lnTo>
                  <a:lnTo>
                    <a:pt x="542" y="61"/>
                  </a:lnTo>
                  <a:lnTo>
                    <a:pt x="552" y="61"/>
                  </a:lnTo>
                  <a:lnTo>
                    <a:pt x="561" y="62"/>
                  </a:lnTo>
                  <a:lnTo>
                    <a:pt x="570" y="64"/>
                  </a:lnTo>
                  <a:lnTo>
                    <a:pt x="578" y="68"/>
                  </a:lnTo>
                  <a:lnTo>
                    <a:pt x="586" y="71"/>
                  </a:lnTo>
                  <a:lnTo>
                    <a:pt x="594" y="75"/>
                  </a:lnTo>
                  <a:lnTo>
                    <a:pt x="601" y="80"/>
                  </a:lnTo>
                  <a:lnTo>
                    <a:pt x="608" y="86"/>
                  </a:lnTo>
                  <a:lnTo>
                    <a:pt x="613" y="92"/>
                  </a:lnTo>
                  <a:lnTo>
                    <a:pt x="618" y="99"/>
                  </a:lnTo>
                  <a:lnTo>
                    <a:pt x="622" y="106"/>
                  </a:lnTo>
                  <a:lnTo>
                    <a:pt x="626" y="114"/>
                  </a:lnTo>
                  <a:lnTo>
                    <a:pt x="629" y="123"/>
                  </a:lnTo>
                  <a:lnTo>
                    <a:pt x="630" y="132"/>
                  </a:lnTo>
                  <a:lnTo>
                    <a:pt x="632" y="141"/>
                  </a:lnTo>
                  <a:lnTo>
                    <a:pt x="632" y="151"/>
                  </a:lnTo>
                  <a:lnTo>
                    <a:pt x="632" y="160"/>
                  </a:lnTo>
                  <a:lnTo>
                    <a:pt x="630" y="170"/>
                  </a:lnTo>
                  <a:lnTo>
                    <a:pt x="629" y="179"/>
                  </a:lnTo>
                  <a:lnTo>
                    <a:pt x="626" y="187"/>
                  </a:lnTo>
                  <a:lnTo>
                    <a:pt x="622" y="195"/>
                  </a:lnTo>
                  <a:lnTo>
                    <a:pt x="618" y="203"/>
                  </a:lnTo>
                  <a:lnTo>
                    <a:pt x="613" y="210"/>
                  </a:lnTo>
                  <a:lnTo>
                    <a:pt x="608" y="215"/>
                  </a:lnTo>
                  <a:lnTo>
                    <a:pt x="601" y="221"/>
                  </a:lnTo>
                  <a:lnTo>
                    <a:pt x="594" y="227"/>
                  </a:lnTo>
                  <a:lnTo>
                    <a:pt x="586" y="231"/>
                  </a:lnTo>
                  <a:lnTo>
                    <a:pt x="578" y="235"/>
                  </a:lnTo>
                  <a:lnTo>
                    <a:pt x="570" y="237"/>
                  </a:lnTo>
                  <a:lnTo>
                    <a:pt x="561" y="239"/>
                  </a:lnTo>
                  <a:lnTo>
                    <a:pt x="552" y="240"/>
                  </a:lnTo>
                  <a:lnTo>
                    <a:pt x="542" y="241"/>
                  </a:lnTo>
                  <a:lnTo>
                    <a:pt x="542" y="241"/>
                  </a:lnTo>
                  <a:close/>
                  <a:moveTo>
                    <a:pt x="542" y="30"/>
                  </a:moveTo>
                  <a:lnTo>
                    <a:pt x="512" y="30"/>
                  </a:lnTo>
                  <a:lnTo>
                    <a:pt x="512" y="16"/>
                  </a:lnTo>
                  <a:lnTo>
                    <a:pt x="512" y="12"/>
                  </a:lnTo>
                  <a:lnTo>
                    <a:pt x="510" y="10"/>
                  </a:lnTo>
                  <a:lnTo>
                    <a:pt x="509" y="7"/>
                  </a:lnTo>
                  <a:lnTo>
                    <a:pt x="507" y="4"/>
                  </a:lnTo>
                  <a:lnTo>
                    <a:pt x="505" y="3"/>
                  </a:lnTo>
                  <a:lnTo>
                    <a:pt x="503" y="1"/>
                  </a:lnTo>
                  <a:lnTo>
                    <a:pt x="500" y="1"/>
                  </a:lnTo>
                  <a:lnTo>
                    <a:pt x="49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392"/>
                  </a:lnTo>
                  <a:lnTo>
                    <a:pt x="0" y="401"/>
                  </a:lnTo>
                  <a:lnTo>
                    <a:pt x="2" y="410"/>
                  </a:lnTo>
                  <a:lnTo>
                    <a:pt x="3" y="419"/>
                  </a:lnTo>
                  <a:lnTo>
                    <a:pt x="7" y="427"/>
                  </a:lnTo>
                  <a:lnTo>
                    <a:pt x="10" y="435"/>
                  </a:lnTo>
                  <a:lnTo>
                    <a:pt x="15" y="442"/>
                  </a:lnTo>
                  <a:lnTo>
                    <a:pt x="20" y="449"/>
                  </a:lnTo>
                  <a:lnTo>
                    <a:pt x="26" y="456"/>
                  </a:lnTo>
                  <a:lnTo>
                    <a:pt x="33" y="462"/>
                  </a:lnTo>
                  <a:lnTo>
                    <a:pt x="39" y="467"/>
                  </a:lnTo>
                  <a:lnTo>
                    <a:pt x="47" y="471"/>
                  </a:lnTo>
                  <a:lnTo>
                    <a:pt x="55" y="475"/>
                  </a:lnTo>
                  <a:lnTo>
                    <a:pt x="63" y="477"/>
                  </a:lnTo>
                  <a:lnTo>
                    <a:pt x="72" y="480"/>
                  </a:lnTo>
                  <a:lnTo>
                    <a:pt x="81" y="482"/>
                  </a:lnTo>
                  <a:lnTo>
                    <a:pt x="90" y="482"/>
                  </a:lnTo>
                  <a:lnTo>
                    <a:pt x="421" y="482"/>
                  </a:lnTo>
                  <a:lnTo>
                    <a:pt x="431" y="482"/>
                  </a:lnTo>
                  <a:lnTo>
                    <a:pt x="440" y="480"/>
                  </a:lnTo>
                  <a:lnTo>
                    <a:pt x="449" y="477"/>
                  </a:lnTo>
                  <a:lnTo>
                    <a:pt x="457" y="475"/>
                  </a:lnTo>
                  <a:lnTo>
                    <a:pt x="465" y="472"/>
                  </a:lnTo>
                  <a:lnTo>
                    <a:pt x="473" y="467"/>
                  </a:lnTo>
                  <a:lnTo>
                    <a:pt x="480" y="462"/>
                  </a:lnTo>
                  <a:lnTo>
                    <a:pt x="486" y="456"/>
                  </a:lnTo>
                  <a:lnTo>
                    <a:pt x="491" y="449"/>
                  </a:lnTo>
                  <a:lnTo>
                    <a:pt x="497" y="442"/>
                  </a:lnTo>
                  <a:lnTo>
                    <a:pt x="501" y="436"/>
                  </a:lnTo>
                  <a:lnTo>
                    <a:pt x="505" y="428"/>
                  </a:lnTo>
                  <a:lnTo>
                    <a:pt x="508" y="419"/>
                  </a:lnTo>
                  <a:lnTo>
                    <a:pt x="510" y="411"/>
                  </a:lnTo>
                  <a:lnTo>
                    <a:pt x="512" y="401"/>
                  </a:lnTo>
                  <a:lnTo>
                    <a:pt x="512" y="392"/>
                  </a:lnTo>
                  <a:lnTo>
                    <a:pt x="512" y="271"/>
                  </a:lnTo>
                  <a:lnTo>
                    <a:pt x="542" y="271"/>
                  </a:lnTo>
                  <a:lnTo>
                    <a:pt x="554" y="271"/>
                  </a:lnTo>
                  <a:lnTo>
                    <a:pt x="567" y="269"/>
                  </a:lnTo>
                  <a:lnTo>
                    <a:pt x="579" y="266"/>
                  </a:lnTo>
                  <a:lnTo>
                    <a:pt x="591" y="262"/>
                  </a:lnTo>
                  <a:lnTo>
                    <a:pt x="601" y="257"/>
                  </a:lnTo>
                  <a:lnTo>
                    <a:pt x="611" y="252"/>
                  </a:lnTo>
                  <a:lnTo>
                    <a:pt x="620" y="245"/>
                  </a:lnTo>
                  <a:lnTo>
                    <a:pt x="628" y="237"/>
                  </a:lnTo>
                  <a:lnTo>
                    <a:pt x="636" y="229"/>
                  </a:lnTo>
                  <a:lnTo>
                    <a:pt x="643" y="220"/>
                  </a:lnTo>
                  <a:lnTo>
                    <a:pt x="648" y="210"/>
                  </a:lnTo>
                  <a:lnTo>
                    <a:pt x="654" y="199"/>
                  </a:lnTo>
                  <a:lnTo>
                    <a:pt x="657" y="187"/>
                  </a:lnTo>
                  <a:lnTo>
                    <a:pt x="661" y="176"/>
                  </a:lnTo>
                  <a:lnTo>
                    <a:pt x="662" y="164"/>
                  </a:lnTo>
                  <a:lnTo>
                    <a:pt x="663" y="151"/>
                  </a:lnTo>
                  <a:lnTo>
                    <a:pt x="662" y="138"/>
                  </a:lnTo>
                  <a:lnTo>
                    <a:pt x="661" y="125"/>
                  </a:lnTo>
                  <a:lnTo>
                    <a:pt x="657" y="114"/>
                  </a:lnTo>
                  <a:lnTo>
                    <a:pt x="654" y="103"/>
                  </a:lnTo>
                  <a:lnTo>
                    <a:pt x="648" y="92"/>
                  </a:lnTo>
                  <a:lnTo>
                    <a:pt x="643" y="82"/>
                  </a:lnTo>
                  <a:lnTo>
                    <a:pt x="636" y="73"/>
                  </a:lnTo>
                  <a:lnTo>
                    <a:pt x="628" y="64"/>
                  </a:lnTo>
                  <a:lnTo>
                    <a:pt x="620" y="56"/>
                  </a:lnTo>
                  <a:lnTo>
                    <a:pt x="611" y="49"/>
                  </a:lnTo>
                  <a:lnTo>
                    <a:pt x="601" y="44"/>
                  </a:lnTo>
                  <a:lnTo>
                    <a:pt x="591" y="39"/>
                  </a:lnTo>
                  <a:lnTo>
                    <a:pt x="579" y="36"/>
                  </a:lnTo>
                  <a:lnTo>
                    <a:pt x="567" y="33"/>
                  </a:lnTo>
                  <a:lnTo>
                    <a:pt x="554" y="31"/>
                  </a:lnTo>
                  <a:lnTo>
                    <a:pt x="54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609"/>
            <p:cNvSpPr>
              <a:spLocks/>
            </p:cNvSpPr>
            <p:nvPr/>
          </p:nvSpPr>
          <p:spPr bwMode="auto">
            <a:xfrm>
              <a:off x="6469063" y="4703763"/>
              <a:ext cx="36513" cy="41275"/>
            </a:xfrm>
            <a:custGeom>
              <a:avLst/>
              <a:gdLst>
                <a:gd name="T0" fmla="*/ 22 w 116"/>
                <a:gd name="T1" fmla="*/ 2 h 132"/>
                <a:gd name="T2" fmla="*/ 18 w 116"/>
                <a:gd name="T3" fmla="*/ 1 h 132"/>
                <a:gd name="T4" fmla="*/ 14 w 116"/>
                <a:gd name="T5" fmla="*/ 0 h 132"/>
                <a:gd name="T6" fmla="*/ 10 w 116"/>
                <a:gd name="T7" fmla="*/ 1 h 132"/>
                <a:gd name="T8" fmla="*/ 7 w 116"/>
                <a:gd name="T9" fmla="*/ 3 h 132"/>
                <a:gd name="T10" fmla="*/ 3 w 116"/>
                <a:gd name="T11" fmla="*/ 5 h 132"/>
                <a:gd name="T12" fmla="*/ 1 w 116"/>
                <a:gd name="T13" fmla="*/ 9 h 132"/>
                <a:gd name="T14" fmla="*/ 0 w 116"/>
                <a:gd name="T15" fmla="*/ 13 h 132"/>
                <a:gd name="T16" fmla="*/ 0 w 116"/>
                <a:gd name="T17" fmla="*/ 17 h 132"/>
                <a:gd name="T18" fmla="*/ 14 w 116"/>
                <a:gd name="T19" fmla="*/ 132 h 132"/>
                <a:gd name="T20" fmla="*/ 116 w 116"/>
                <a:gd name="T21" fmla="*/ 56 h 132"/>
                <a:gd name="T22" fmla="*/ 22 w 116"/>
                <a:gd name="T23" fmla="*/ 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32">
                  <a:moveTo>
                    <a:pt x="22" y="2"/>
                  </a:moveTo>
                  <a:lnTo>
                    <a:pt x="18" y="1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3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14" y="132"/>
                  </a:lnTo>
                  <a:lnTo>
                    <a:pt x="116" y="56"/>
                  </a:lnTo>
                  <a:lnTo>
                    <a:pt x="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10"/>
            <p:cNvSpPr>
              <a:spLocks noEditPoints="1"/>
            </p:cNvSpPr>
            <p:nvPr/>
          </p:nvSpPr>
          <p:spPr bwMode="auto">
            <a:xfrm>
              <a:off x="6477000" y="4656138"/>
              <a:ext cx="201613" cy="123825"/>
            </a:xfrm>
            <a:custGeom>
              <a:avLst/>
              <a:gdLst>
                <a:gd name="T0" fmla="*/ 526 w 635"/>
                <a:gd name="T1" fmla="*/ 117 h 391"/>
                <a:gd name="T2" fmla="*/ 548 w 635"/>
                <a:gd name="T3" fmla="*/ 80 h 391"/>
                <a:gd name="T4" fmla="*/ 558 w 635"/>
                <a:gd name="T5" fmla="*/ 48 h 391"/>
                <a:gd name="T6" fmla="*/ 583 w 635"/>
                <a:gd name="T7" fmla="*/ 72 h 391"/>
                <a:gd name="T8" fmla="*/ 600 w 635"/>
                <a:gd name="T9" fmla="*/ 108 h 391"/>
                <a:gd name="T10" fmla="*/ 602 w 635"/>
                <a:gd name="T11" fmla="*/ 164 h 391"/>
                <a:gd name="T12" fmla="*/ 583 w 635"/>
                <a:gd name="T13" fmla="*/ 202 h 391"/>
                <a:gd name="T14" fmla="*/ 559 w 635"/>
                <a:gd name="T15" fmla="*/ 213 h 391"/>
                <a:gd name="T16" fmla="*/ 542 w 635"/>
                <a:gd name="T17" fmla="*/ 213 h 391"/>
                <a:gd name="T18" fmla="*/ 514 w 635"/>
                <a:gd name="T19" fmla="*/ 198 h 391"/>
                <a:gd name="T20" fmla="*/ 500 w 635"/>
                <a:gd name="T21" fmla="*/ 167 h 391"/>
                <a:gd name="T22" fmla="*/ 183 w 635"/>
                <a:gd name="T23" fmla="*/ 391 h 391"/>
                <a:gd name="T24" fmla="*/ 193 w 635"/>
                <a:gd name="T25" fmla="*/ 387 h 391"/>
                <a:gd name="T26" fmla="*/ 202 w 635"/>
                <a:gd name="T27" fmla="*/ 387 h 391"/>
                <a:gd name="T28" fmla="*/ 396 w 635"/>
                <a:gd name="T29" fmla="*/ 390 h 391"/>
                <a:gd name="T30" fmla="*/ 486 w 635"/>
                <a:gd name="T31" fmla="*/ 391 h 391"/>
                <a:gd name="T32" fmla="*/ 499 w 635"/>
                <a:gd name="T33" fmla="*/ 382 h 391"/>
                <a:gd name="T34" fmla="*/ 583 w 635"/>
                <a:gd name="T35" fmla="*/ 237 h 391"/>
                <a:gd name="T36" fmla="*/ 605 w 635"/>
                <a:gd name="T37" fmla="*/ 221 h 391"/>
                <a:gd name="T38" fmla="*/ 622 w 635"/>
                <a:gd name="T39" fmla="*/ 197 h 391"/>
                <a:gd name="T40" fmla="*/ 635 w 635"/>
                <a:gd name="T41" fmla="*/ 146 h 391"/>
                <a:gd name="T42" fmla="*/ 629 w 635"/>
                <a:gd name="T43" fmla="*/ 99 h 391"/>
                <a:gd name="T44" fmla="*/ 608 w 635"/>
                <a:gd name="T45" fmla="*/ 55 h 391"/>
                <a:gd name="T46" fmla="*/ 568 w 635"/>
                <a:gd name="T47" fmla="*/ 19 h 391"/>
                <a:gd name="T48" fmla="*/ 522 w 635"/>
                <a:gd name="T49" fmla="*/ 2 h 391"/>
                <a:gd name="T50" fmla="*/ 508 w 635"/>
                <a:gd name="T51" fmla="*/ 12 h 391"/>
                <a:gd name="T52" fmla="*/ 514 w 635"/>
                <a:gd name="T53" fmla="*/ 31 h 391"/>
                <a:gd name="T54" fmla="*/ 522 w 635"/>
                <a:gd name="T55" fmla="*/ 54 h 391"/>
                <a:gd name="T56" fmla="*/ 516 w 635"/>
                <a:gd name="T57" fmla="*/ 79 h 391"/>
                <a:gd name="T58" fmla="*/ 491 w 635"/>
                <a:gd name="T59" fmla="*/ 112 h 391"/>
                <a:gd name="T60" fmla="*/ 474 w 635"/>
                <a:gd name="T61" fmla="*/ 143 h 391"/>
                <a:gd name="T62" fmla="*/ 470 w 635"/>
                <a:gd name="T63" fmla="*/ 173 h 391"/>
                <a:gd name="T64" fmla="*/ 479 w 635"/>
                <a:gd name="T65" fmla="*/ 202 h 391"/>
                <a:gd name="T66" fmla="*/ 409 w 635"/>
                <a:gd name="T67" fmla="*/ 346 h 391"/>
                <a:gd name="T68" fmla="*/ 328 w 635"/>
                <a:gd name="T69" fmla="*/ 329 h 391"/>
                <a:gd name="T70" fmla="*/ 320 w 635"/>
                <a:gd name="T71" fmla="*/ 321 h 391"/>
                <a:gd name="T72" fmla="*/ 320 w 635"/>
                <a:gd name="T73" fmla="*/ 310 h 391"/>
                <a:gd name="T74" fmla="*/ 328 w 635"/>
                <a:gd name="T75" fmla="*/ 302 h 391"/>
                <a:gd name="T76" fmla="*/ 409 w 635"/>
                <a:gd name="T77" fmla="*/ 240 h 391"/>
                <a:gd name="T78" fmla="*/ 295 w 635"/>
                <a:gd name="T79" fmla="*/ 238 h 391"/>
                <a:gd name="T80" fmla="*/ 288 w 635"/>
                <a:gd name="T81" fmla="*/ 229 h 391"/>
                <a:gd name="T82" fmla="*/ 290 w 635"/>
                <a:gd name="T83" fmla="*/ 217 h 391"/>
                <a:gd name="T84" fmla="*/ 300 w 635"/>
                <a:gd name="T85" fmla="*/ 211 h 391"/>
                <a:gd name="T86" fmla="*/ 333 w 635"/>
                <a:gd name="T87" fmla="*/ 180 h 391"/>
                <a:gd name="T88" fmla="*/ 323 w 635"/>
                <a:gd name="T89" fmla="*/ 176 h 391"/>
                <a:gd name="T90" fmla="*/ 318 w 635"/>
                <a:gd name="T91" fmla="*/ 166 h 391"/>
                <a:gd name="T92" fmla="*/ 323 w 635"/>
                <a:gd name="T93" fmla="*/ 154 h 391"/>
                <a:gd name="T94" fmla="*/ 333 w 635"/>
                <a:gd name="T95" fmla="*/ 150 h 391"/>
                <a:gd name="T96" fmla="*/ 300 w 635"/>
                <a:gd name="T97" fmla="*/ 119 h 391"/>
                <a:gd name="T98" fmla="*/ 290 w 635"/>
                <a:gd name="T99" fmla="*/ 114 h 391"/>
                <a:gd name="T100" fmla="*/ 288 w 635"/>
                <a:gd name="T101" fmla="*/ 102 h 391"/>
                <a:gd name="T102" fmla="*/ 295 w 635"/>
                <a:gd name="T103" fmla="*/ 92 h 391"/>
                <a:gd name="T104" fmla="*/ 409 w 635"/>
                <a:gd name="T105" fmla="*/ 90 h 391"/>
                <a:gd name="T106" fmla="*/ 405 w 635"/>
                <a:gd name="T107" fmla="*/ 6 h 391"/>
                <a:gd name="T108" fmla="*/ 396 w 635"/>
                <a:gd name="T109" fmla="*/ 0 h 391"/>
                <a:gd name="T110" fmla="*/ 207 w 635"/>
                <a:gd name="T111" fmla="*/ 1 h 391"/>
                <a:gd name="T112" fmla="*/ 199 w 635"/>
                <a:gd name="T113" fmla="*/ 9 h 391"/>
                <a:gd name="T114" fmla="*/ 196 w 635"/>
                <a:gd name="T115" fmla="*/ 370 h 391"/>
                <a:gd name="T116" fmla="*/ 50 w 635"/>
                <a:gd name="T117" fmla="*/ 385 h 391"/>
                <a:gd name="T118" fmla="*/ 62 w 635"/>
                <a:gd name="T1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5" h="391">
                  <a:moveTo>
                    <a:pt x="505" y="147"/>
                  </a:moveTo>
                  <a:lnTo>
                    <a:pt x="510" y="136"/>
                  </a:lnTo>
                  <a:lnTo>
                    <a:pt x="521" y="124"/>
                  </a:lnTo>
                  <a:lnTo>
                    <a:pt x="526" y="117"/>
                  </a:lnTo>
                  <a:lnTo>
                    <a:pt x="532" y="108"/>
                  </a:lnTo>
                  <a:lnTo>
                    <a:pt x="539" y="100"/>
                  </a:lnTo>
                  <a:lnTo>
                    <a:pt x="543" y="90"/>
                  </a:lnTo>
                  <a:lnTo>
                    <a:pt x="548" y="80"/>
                  </a:lnTo>
                  <a:lnTo>
                    <a:pt x="550" y="68"/>
                  </a:lnTo>
                  <a:lnTo>
                    <a:pt x="551" y="56"/>
                  </a:lnTo>
                  <a:lnTo>
                    <a:pt x="550" y="44"/>
                  </a:lnTo>
                  <a:lnTo>
                    <a:pt x="558" y="48"/>
                  </a:lnTo>
                  <a:lnTo>
                    <a:pt x="565" y="54"/>
                  </a:lnTo>
                  <a:lnTo>
                    <a:pt x="571" y="59"/>
                  </a:lnTo>
                  <a:lnTo>
                    <a:pt x="577" y="65"/>
                  </a:lnTo>
                  <a:lnTo>
                    <a:pt x="583" y="72"/>
                  </a:lnTo>
                  <a:lnTo>
                    <a:pt x="587" y="79"/>
                  </a:lnTo>
                  <a:lnTo>
                    <a:pt x="591" y="85"/>
                  </a:lnTo>
                  <a:lnTo>
                    <a:pt x="594" y="93"/>
                  </a:lnTo>
                  <a:lnTo>
                    <a:pt x="600" y="108"/>
                  </a:lnTo>
                  <a:lnTo>
                    <a:pt x="603" y="124"/>
                  </a:lnTo>
                  <a:lnTo>
                    <a:pt x="604" y="138"/>
                  </a:lnTo>
                  <a:lnTo>
                    <a:pt x="603" y="154"/>
                  </a:lnTo>
                  <a:lnTo>
                    <a:pt x="602" y="164"/>
                  </a:lnTo>
                  <a:lnTo>
                    <a:pt x="599" y="175"/>
                  </a:lnTo>
                  <a:lnTo>
                    <a:pt x="594" y="185"/>
                  </a:lnTo>
                  <a:lnTo>
                    <a:pt x="590" y="194"/>
                  </a:lnTo>
                  <a:lnTo>
                    <a:pt x="583" y="202"/>
                  </a:lnTo>
                  <a:lnTo>
                    <a:pt x="575" y="208"/>
                  </a:lnTo>
                  <a:lnTo>
                    <a:pt x="569" y="211"/>
                  </a:lnTo>
                  <a:lnTo>
                    <a:pt x="565" y="212"/>
                  </a:lnTo>
                  <a:lnTo>
                    <a:pt x="559" y="213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48" y="213"/>
                  </a:lnTo>
                  <a:lnTo>
                    <a:pt x="542" y="213"/>
                  </a:lnTo>
                  <a:lnTo>
                    <a:pt x="536" y="211"/>
                  </a:lnTo>
                  <a:lnTo>
                    <a:pt x="530" y="208"/>
                  </a:lnTo>
                  <a:lnTo>
                    <a:pt x="521" y="204"/>
                  </a:lnTo>
                  <a:lnTo>
                    <a:pt x="514" y="198"/>
                  </a:lnTo>
                  <a:lnTo>
                    <a:pt x="507" y="191"/>
                  </a:lnTo>
                  <a:lnTo>
                    <a:pt x="504" y="184"/>
                  </a:lnTo>
                  <a:lnTo>
                    <a:pt x="500" y="175"/>
                  </a:lnTo>
                  <a:lnTo>
                    <a:pt x="500" y="167"/>
                  </a:lnTo>
                  <a:lnTo>
                    <a:pt x="501" y="156"/>
                  </a:lnTo>
                  <a:lnTo>
                    <a:pt x="505" y="147"/>
                  </a:lnTo>
                  <a:close/>
                  <a:moveTo>
                    <a:pt x="62" y="391"/>
                  </a:moveTo>
                  <a:lnTo>
                    <a:pt x="183" y="391"/>
                  </a:lnTo>
                  <a:lnTo>
                    <a:pt x="183" y="391"/>
                  </a:lnTo>
                  <a:lnTo>
                    <a:pt x="183" y="391"/>
                  </a:lnTo>
                  <a:lnTo>
                    <a:pt x="189" y="390"/>
                  </a:lnTo>
                  <a:lnTo>
                    <a:pt x="193" y="387"/>
                  </a:lnTo>
                  <a:lnTo>
                    <a:pt x="196" y="382"/>
                  </a:lnTo>
                  <a:lnTo>
                    <a:pt x="198" y="377"/>
                  </a:lnTo>
                  <a:lnTo>
                    <a:pt x="199" y="382"/>
                  </a:lnTo>
                  <a:lnTo>
                    <a:pt x="202" y="387"/>
                  </a:lnTo>
                  <a:lnTo>
                    <a:pt x="207" y="390"/>
                  </a:lnTo>
                  <a:lnTo>
                    <a:pt x="212" y="391"/>
                  </a:lnTo>
                  <a:lnTo>
                    <a:pt x="393" y="391"/>
                  </a:lnTo>
                  <a:lnTo>
                    <a:pt x="396" y="390"/>
                  </a:lnTo>
                  <a:lnTo>
                    <a:pt x="400" y="389"/>
                  </a:lnTo>
                  <a:lnTo>
                    <a:pt x="403" y="390"/>
                  </a:lnTo>
                  <a:lnTo>
                    <a:pt x="407" y="391"/>
                  </a:lnTo>
                  <a:lnTo>
                    <a:pt x="486" y="391"/>
                  </a:lnTo>
                  <a:lnTo>
                    <a:pt x="489" y="390"/>
                  </a:lnTo>
                  <a:lnTo>
                    <a:pt x="494" y="389"/>
                  </a:lnTo>
                  <a:lnTo>
                    <a:pt x="496" y="386"/>
                  </a:lnTo>
                  <a:lnTo>
                    <a:pt x="499" y="382"/>
                  </a:lnTo>
                  <a:lnTo>
                    <a:pt x="564" y="242"/>
                  </a:lnTo>
                  <a:lnTo>
                    <a:pt x="570" y="241"/>
                  </a:lnTo>
                  <a:lnTo>
                    <a:pt x="577" y="240"/>
                  </a:lnTo>
                  <a:lnTo>
                    <a:pt x="583" y="237"/>
                  </a:lnTo>
                  <a:lnTo>
                    <a:pt x="590" y="234"/>
                  </a:lnTo>
                  <a:lnTo>
                    <a:pt x="595" y="230"/>
                  </a:lnTo>
                  <a:lnTo>
                    <a:pt x="601" y="227"/>
                  </a:lnTo>
                  <a:lnTo>
                    <a:pt x="605" y="221"/>
                  </a:lnTo>
                  <a:lnTo>
                    <a:pt x="610" y="216"/>
                  </a:lnTo>
                  <a:lnTo>
                    <a:pt x="614" y="211"/>
                  </a:lnTo>
                  <a:lnTo>
                    <a:pt x="619" y="204"/>
                  </a:lnTo>
                  <a:lnTo>
                    <a:pt x="622" y="197"/>
                  </a:lnTo>
                  <a:lnTo>
                    <a:pt x="626" y="190"/>
                  </a:lnTo>
                  <a:lnTo>
                    <a:pt x="630" y="175"/>
                  </a:lnTo>
                  <a:lnTo>
                    <a:pt x="634" y="158"/>
                  </a:lnTo>
                  <a:lnTo>
                    <a:pt x="635" y="146"/>
                  </a:lnTo>
                  <a:lnTo>
                    <a:pt x="635" y="134"/>
                  </a:lnTo>
                  <a:lnTo>
                    <a:pt x="634" y="123"/>
                  </a:lnTo>
                  <a:lnTo>
                    <a:pt x="631" y="110"/>
                  </a:lnTo>
                  <a:lnTo>
                    <a:pt x="629" y="99"/>
                  </a:lnTo>
                  <a:lnTo>
                    <a:pt x="625" y="88"/>
                  </a:lnTo>
                  <a:lnTo>
                    <a:pt x="620" y="76"/>
                  </a:lnTo>
                  <a:lnTo>
                    <a:pt x="614" y="65"/>
                  </a:lnTo>
                  <a:lnTo>
                    <a:pt x="608" y="55"/>
                  </a:lnTo>
                  <a:lnTo>
                    <a:pt x="599" y="45"/>
                  </a:lnTo>
                  <a:lnTo>
                    <a:pt x="590" y="36"/>
                  </a:lnTo>
                  <a:lnTo>
                    <a:pt x="579" y="27"/>
                  </a:lnTo>
                  <a:lnTo>
                    <a:pt x="568" y="19"/>
                  </a:lnTo>
                  <a:lnTo>
                    <a:pt x="556" y="12"/>
                  </a:lnTo>
                  <a:lnTo>
                    <a:pt x="542" y="6"/>
                  </a:lnTo>
                  <a:lnTo>
                    <a:pt x="526" y="3"/>
                  </a:lnTo>
                  <a:lnTo>
                    <a:pt x="522" y="2"/>
                  </a:lnTo>
                  <a:lnTo>
                    <a:pt x="517" y="3"/>
                  </a:lnTo>
                  <a:lnTo>
                    <a:pt x="514" y="5"/>
                  </a:lnTo>
                  <a:lnTo>
                    <a:pt x="510" y="9"/>
                  </a:lnTo>
                  <a:lnTo>
                    <a:pt x="508" y="12"/>
                  </a:lnTo>
                  <a:lnTo>
                    <a:pt x="508" y="16"/>
                  </a:lnTo>
                  <a:lnTo>
                    <a:pt x="508" y="21"/>
                  </a:lnTo>
                  <a:lnTo>
                    <a:pt x="510" y="25"/>
                  </a:lnTo>
                  <a:lnTo>
                    <a:pt x="514" y="31"/>
                  </a:lnTo>
                  <a:lnTo>
                    <a:pt x="517" y="38"/>
                  </a:lnTo>
                  <a:lnTo>
                    <a:pt x="520" y="44"/>
                  </a:lnTo>
                  <a:lnTo>
                    <a:pt x="521" y="49"/>
                  </a:lnTo>
                  <a:lnTo>
                    <a:pt x="522" y="54"/>
                  </a:lnTo>
                  <a:lnTo>
                    <a:pt x="522" y="59"/>
                  </a:lnTo>
                  <a:lnTo>
                    <a:pt x="521" y="64"/>
                  </a:lnTo>
                  <a:lnTo>
                    <a:pt x="520" y="70"/>
                  </a:lnTo>
                  <a:lnTo>
                    <a:pt x="516" y="79"/>
                  </a:lnTo>
                  <a:lnTo>
                    <a:pt x="510" y="88"/>
                  </a:lnTo>
                  <a:lnTo>
                    <a:pt x="504" y="97"/>
                  </a:lnTo>
                  <a:lnTo>
                    <a:pt x="497" y="106"/>
                  </a:lnTo>
                  <a:lnTo>
                    <a:pt x="491" y="112"/>
                  </a:lnTo>
                  <a:lnTo>
                    <a:pt x="486" y="120"/>
                  </a:lnTo>
                  <a:lnTo>
                    <a:pt x="481" y="128"/>
                  </a:lnTo>
                  <a:lnTo>
                    <a:pt x="477" y="136"/>
                  </a:lnTo>
                  <a:lnTo>
                    <a:pt x="474" y="143"/>
                  </a:lnTo>
                  <a:lnTo>
                    <a:pt x="472" y="151"/>
                  </a:lnTo>
                  <a:lnTo>
                    <a:pt x="471" y="159"/>
                  </a:lnTo>
                  <a:lnTo>
                    <a:pt x="470" y="167"/>
                  </a:lnTo>
                  <a:lnTo>
                    <a:pt x="470" y="173"/>
                  </a:lnTo>
                  <a:lnTo>
                    <a:pt x="471" y="181"/>
                  </a:lnTo>
                  <a:lnTo>
                    <a:pt x="473" y="188"/>
                  </a:lnTo>
                  <a:lnTo>
                    <a:pt x="475" y="195"/>
                  </a:lnTo>
                  <a:lnTo>
                    <a:pt x="479" y="202"/>
                  </a:lnTo>
                  <a:lnTo>
                    <a:pt x="482" y="207"/>
                  </a:lnTo>
                  <a:lnTo>
                    <a:pt x="487" y="213"/>
                  </a:lnTo>
                  <a:lnTo>
                    <a:pt x="491" y="219"/>
                  </a:lnTo>
                  <a:lnTo>
                    <a:pt x="409" y="346"/>
                  </a:lnTo>
                  <a:lnTo>
                    <a:pt x="409" y="330"/>
                  </a:lnTo>
                  <a:lnTo>
                    <a:pt x="333" y="330"/>
                  </a:lnTo>
                  <a:lnTo>
                    <a:pt x="330" y="330"/>
                  </a:lnTo>
                  <a:lnTo>
                    <a:pt x="328" y="329"/>
                  </a:lnTo>
                  <a:lnTo>
                    <a:pt x="324" y="328"/>
                  </a:lnTo>
                  <a:lnTo>
                    <a:pt x="323" y="326"/>
                  </a:lnTo>
                  <a:lnTo>
                    <a:pt x="321" y="324"/>
                  </a:lnTo>
                  <a:lnTo>
                    <a:pt x="320" y="321"/>
                  </a:lnTo>
                  <a:lnTo>
                    <a:pt x="318" y="319"/>
                  </a:lnTo>
                  <a:lnTo>
                    <a:pt x="318" y="316"/>
                  </a:lnTo>
                  <a:lnTo>
                    <a:pt x="318" y="312"/>
                  </a:lnTo>
                  <a:lnTo>
                    <a:pt x="320" y="310"/>
                  </a:lnTo>
                  <a:lnTo>
                    <a:pt x="321" y="308"/>
                  </a:lnTo>
                  <a:lnTo>
                    <a:pt x="323" y="306"/>
                  </a:lnTo>
                  <a:lnTo>
                    <a:pt x="324" y="303"/>
                  </a:lnTo>
                  <a:lnTo>
                    <a:pt x="328" y="302"/>
                  </a:lnTo>
                  <a:lnTo>
                    <a:pt x="330" y="301"/>
                  </a:lnTo>
                  <a:lnTo>
                    <a:pt x="333" y="301"/>
                  </a:lnTo>
                  <a:lnTo>
                    <a:pt x="409" y="301"/>
                  </a:lnTo>
                  <a:lnTo>
                    <a:pt x="409" y="240"/>
                  </a:lnTo>
                  <a:lnTo>
                    <a:pt x="303" y="240"/>
                  </a:lnTo>
                  <a:lnTo>
                    <a:pt x="300" y="240"/>
                  </a:lnTo>
                  <a:lnTo>
                    <a:pt x="297" y="239"/>
                  </a:lnTo>
                  <a:lnTo>
                    <a:pt x="295" y="238"/>
                  </a:lnTo>
                  <a:lnTo>
                    <a:pt x="292" y="236"/>
                  </a:lnTo>
                  <a:lnTo>
                    <a:pt x="290" y="233"/>
                  </a:lnTo>
                  <a:lnTo>
                    <a:pt x="289" y="231"/>
                  </a:lnTo>
                  <a:lnTo>
                    <a:pt x="288" y="229"/>
                  </a:lnTo>
                  <a:lnTo>
                    <a:pt x="288" y="225"/>
                  </a:lnTo>
                  <a:lnTo>
                    <a:pt x="288" y="222"/>
                  </a:lnTo>
                  <a:lnTo>
                    <a:pt x="289" y="220"/>
                  </a:lnTo>
                  <a:lnTo>
                    <a:pt x="290" y="217"/>
                  </a:lnTo>
                  <a:lnTo>
                    <a:pt x="292" y="215"/>
                  </a:lnTo>
                  <a:lnTo>
                    <a:pt x="295" y="213"/>
                  </a:lnTo>
                  <a:lnTo>
                    <a:pt x="297" y="212"/>
                  </a:lnTo>
                  <a:lnTo>
                    <a:pt x="300" y="211"/>
                  </a:lnTo>
                  <a:lnTo>
                    <a:pt x="303" y="211"/>
                  </a:lnTo>
                  <a:lnTo>
                    <a:pt x="409" y="211"/>
                  </a:lnTo>
                  <a:lnTo>
                    <a:pt x="409" y="180"/>
                  </a:lnTo>
                  <a:lnTo>
                    <a:pt x="333" y="180"/>
                  </a:lnTo>
                  <a:lnTo>
                    <a:pt x="330" y="180"/>
                  </a:lnTo>
                  <a:lnTo>
                    <a:pt x="328" y="179"/>
                  </a:lnTo>
                  <a:lnTo>
                    <a:pt x="324" y="178"/>
                  </a:lnTo>
                  <a:lnTo>
                    <a:pt x="323" y="176"/>
                  </a:lnTo>
                  <a:lnTo>
                    <a:pt x="321" y="173"/>
                  </a:lnTo>
                  <a:lnTo>
                    <a:pt x="320" y="171"/>
                  </a:lnTo>
                  <a:lnTo>
                    <a:pt x="318" y="168"/>
                  </a:lnTo>
                  <a:lnTo>
                    <a:pt x="318" y="166"/>
                  </a:lnTo>
                  <a:lnTo>
                    <a:pt x="318" y="162"/>
                  </a:lnTo>
                  <a:lnTo>
                    <a:pt x="320" y="160"/>
                  </a:lnTo>
                  <a:lnTo>
                    <a:pt x="321" y="156"/>
                  </a:lnTo>
                  <a:lnTo>
                    <a:pt x="323" y="154"/>
                  </a:lnTo>
                  <a:lnTo>
                    <a:pt x="324" y="153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3" y="150"/>
                  </a:lnTo>
                  <a:lnTo>
                    <a:pt x="409" y="150"/>
                  </a:lnTo>
                  <a:lnTo>
                    <a:pt x="409" y="120"/>
                  </a:lnTo>
                  <a:lnTo>
                    <a:pt x="303" y="120"/>
                  </a:lnTo>
                  <a:lnTo>
                    <a:pt x="300" y="119"/>
                  </a:lnTo>
                  <a:lnTo>
                    <a:pt x="297" y="119"/>
                  </a:lnTo>
                  <a:lnTo>
                    <a:pt x="295" y="117"/>
                  </a:lnTo>
                  <a:lnTo>
                    <a:pt x="292" y="116"/>
                  </a:lnTo>
                  <a:lnTo>
                    <a:pt x="290" y="114"/>
                  </a:lnTo>
                  <a:lnTo>
                    <a:pt x="289" y="111"/>
                  </a:lnTo>
                  <a:lnTo>
                    <a:pt x="288" y="108"/>
                  </a:lnTo>
                  <a:lnTo>
                    <a:pt x="288" y="105"/>
                  </a:lnTo>
                  <a:lnTo>
                    <a:pt x="288" y="102"/>
                  </a:lnTo>
                  <a:lnTo>
                    <a:pt x="289" y="99"/>
                  </a:lnTo>
                  <a:lnTo>
                    <a:pt x="290" y="97"/>
                  </a:lnTo>
                  <a:lnTo>
                    <a:pt x="292" y="94"/>
                  </a:lnTo>
                  <a:lnTo>
                    <a:pt x="295" y="92"/>
                  </a:lnTo>
                  <a:lnTo>
                    <a:pt x="297" y="91"/>
                  </a:lnTo>
                  <a:lnTo>
                    <a:pt x="300" y="90"/>
                  </a:lnTo>
                  <a:lnTo>
                    <a:pt x="303" y="90"/>
                  </a:lnTo>
                  <a:lnTo>
                    <a:pt x="409" y="90"/>
                  </a:lnTo>
                  <a:lnTo>
                    <a:pt x="409" y="14"/>
                  </a:lnTo>
                  <a:lnTo>
                    <a:pt x="408" y="12"/>
                  </a:lnTo>
                  <a:lnTo>
                    <a:pt x="408" y="9"/>
                  </a:lnTo>
                  <a:lnTo>
                    <a:pt x="405" y="6"/>
                  </a:lnTo>
                  <a:lnTo>
                    <a:pt x="404" y="4"/>
                  </a:lnTo>
                  <a:lnTo>
                    <a:pt x="402" y="2"/>
                  </a:lnTo>
                  <a:lnTo>
                    <a:pt x="399" y="1"/>
                  </a:lnTo>
                  <a:lnTo>
                    <a:pt x="396" y="0"/>
                  </a:lnTo>
                  <a:lnTo>
                    <a:pt x="393" y="0"/>
                  </a:lnTo>
                  <a:lnTo>
                    <a:pt x="212" y="0"/>
                  </a:lnTo>
                  <a:lnTo>
                    <a:pt x="210" y="0"/>
                  </a:lnTo>
                  <a:lnTo>
                    <a:pt x="207" y="1"/>
                  </a:lnTo>
                  <a:lnTo>
                    <a:pt x="204" y="2"/>
                  </a:lnTo>
                  <a:lnTo>
                    <a:pt x="202" y="4"/>
                  </a:lnTo>
                  <a:lnTo>
                    <a:pt x="200" y="6"/>
                  </a:lnTo>
                  <a:lnTo>
                    <a:pt x="199" y="9"/>
                  </a:lnTo>
                  <a:lnTo>
                    <a:pt x="198" y="12"/>
                  </a:lnTo>
                  <a:lnTo>
                    <a:pt x="198" y="14"/>
                  </a:lnTo>
                  <a:lnTo>
                    <a:pt x="198" y="374"/>
                  </a:lnTo>
                  <a:lnTo>
                    <a:pt x="196" y="370"/>
                  </a:lnTo>
                  <a:lnTo>
                    <a:pt x="194" y="365"/>
                  </a:lnTo>
                  <a:lnTo>
                    <a:pt x="111" y="227"/>
                  </a:lnTo>
                  <a:lnTo>
                    <a:pt x="0" y="310"/>
                  </a:lnTo>
                  <a:lnTo>
                    <a:pt x="50" y="385"/>
                  </a:lnTo>
                  <a:lnTo>
                    <a:pt x="52" y="387"/>
                  </a:lnTo>
                  <a:lnTo>
                    <a:pt x="55" y="389"/>
                  </a:lnTo>
                  <a:lnTo>
                    <a:pt x="59" y="390"/>
                  </a:lnTo>
                  <a:lnTo>
                    <a:pt x="62" y="391"/>
                  </a:lnTo>
                  <a:lnTo>
                    <a:pt x="62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10868437" y="3635091"/>
            <a:ext cx="285750" cy="287337"/>
            <a:chOff x="2025650" y="2516188"/>
            <a:chExt cx="285750" cy="287337"/>
          </a:xfrm>
          <a:solidFill>
            <a:srgbClr val="B0F7F4"/>
          </a:solidFill>
          <a:effectLst/>
        </p:grpSpPr>
        <p:sp>
          <p:nvSpPr>
            <p:cNvPr id="52" name="Freeform 1153"/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154"/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155"/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156"/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157"/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158"/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159"/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60"/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10911300" y="4277717"/>
            <a:ext cx="200025" cy="287338"/>
            <a:chOff x="10502900" y="815975"/>
            <a:chExt cx="200025" cy="287338"/>
          </a:xfrm>
          <a:solidFill>
            <a:srgbClr val="B0F7F4"/>
          </a:solidFill>
          <a:effectLst/>
        </p:grpSpPr>
        <p:sp>
          <p:nvSpPr>
            <p:cNvPr id="61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10867643" y="4943650"/>
            <a:ext cx="287338" cy="277813"/>
            <a:chOff x="4892675" y="2501900"/>
            <a:chExt cx="287338" cy="277813"/>
          </a:xfrm>
          <a:solidFill>
            <a:srgbClr val="B0F7F4"/>
          </a:solidFill>
          <a:effectLst/>
        </p:grpSpPr>
        <p:sp>
          <p:nvSpPr>
            <p:cNvPr id="66" name="Freeform 300"/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01"/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Oval 21"/>
          <p:cNvSpPr/>
          <p:nvPr/>
        </p:nvSpPr>
        <p:spPr>
          <a:xfrm>
            <a:off x="4850866" y="1190769"/>
            <a:ext cx="452594" cy="5629131"/>
          </a:xfrm>
          <a:prstGeom prst="ellipse">
            <a:avLst/>
          </a:prstGeom>
          <a:gradFill flip="none" rotWithShape="1">
            <a:gsLst>
              <a:gs pos="100000">
                <a:srgbClr val="09192F">
                  <a:alpha val="0"/>
                </a:srgbClr>
              </a:gs>
              <a:gs pos="20000">
                <a:srgbClr val="070C1E">
                  <a:alpha val="5000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9" r="29412"/>
          <a:stretch/>
        </p:blipFill>
        <p:spPr>
          <a:xfrm>
            <a:off x="0" y="-1"/>
            <a:ext cx="5085256" cy="685800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0" y="0"/>
            <a:ext cx="5085256" cy="6858000"/>
          </a:xfrm>
          <a:prstGeom prst="rect">
            <a:avLst/>
          </a:prstGeom>
          <a:gradFill flip="none" rotWithShape="1">
            <a:gsLst>
              <a:gs pos="100000">
                <a:srgbClr val="125680">
                  <a:alpha val="90000"/>
                </a:srgbClr>
              </a:gs>
              <a:gs pos="0">
                <a:srgbClr val="070C1E">
                  <a:alpha val="80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826810" y="4104240"/>
            <a:ext cx="567766" cy="564628"/>
            <a:chOff x="7018338" y="4656138"/>
            <a:chExt cx="287337" cy="285750"/>
          </a:xfrm>
          <a:solidFill>
            <a:srgbClr val="B0F7F4"/>
          </a:solidFill>
          <a:effectLst/>
        </p:grpSpPr>
        <p:sp>
          <p:nvSpPr>
            <p:cNvPr id="14" name="Freeform 4604"/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605"/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606"/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4607"/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826809" y="589490"/>
            <a:ext cx="1631024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CHART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6809" y="4936099"/>
            <a:ext cx="3630891" cy="10900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rtl="1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2pPr>
            <a:lvl3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3pPr>
            <a:lvl4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4pPr>
            <a:lvl5pPr marL="234000" indent="-2340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200" dirty="0"/>
              <a:t>Lorem Ipsum is simply dummy text of the printing and typesetting industry. Lorem Ipsum has been the industry's standard dummy text ever since the 1500s, when an unknown printer took a galley of type and scrambled it to make a type specimen book.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826809" y="1290539"/>
            <a:ext cx="2018694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LIDE WITH IMAGE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7035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3" name="Rectangle 48"/>
          <p:cNvSpPr>
            <a:spLocks noChangeArrowheads="1"/>
          </p:cNvSpPr>
          <p:nvPr/>
        </p:nvSpPr>
        <p:spPr bwMode="auto">
          <a:xfrm>
            <a:off x="3110" y="6490546"/>
            <a:ext cx="12188890" cy="367454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826809" y="589490"/>
            <a:ext cx="220252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D STEP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Freeform 7"/>
          <p:cNvSpPr>
            <a:spLocks/>
          </p:cNvSpPr>
          <p:nvPr/>
        </p:nvSpPr>
        <p:spPr bwMode="auto">
          <a:xfrm>
            <a:off x="10781752" y="5001347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8"/>
          <p:cNvSpPr>
            <a:spLocks/>
          </p:cNvSpPr>
          <p:nvPr/>
        </p:nvSpPr>
        <p:spPr bwMode="auto">
          <a:xfrm>
            <a:off x="10389894" y="5908050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13"/>
          <p:cNvSpPr>
            <a:spLocks/>
          </p:cNvSpPr>
          <p:nvPr/>
        </p:nvSpPr>
        <p:spPr bwMode="auto">
          <a:xfrm>
            <a:off x="11273234" y="5886637"/>
            <a:ext cx="1215122" cy="603909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4"/>
          <p:cNvSpPr>
            <a:spLocks/>
          </p:cNvSpPr>
          <p:nvPr/>
        </p:nvSpPr>
        <p:spPr bwMode="auto">
          <a:xfrm>
            <a:off x="10211567" y="6236293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51"/>
          <p:cNvSpPr>
            <a:spLocks/>
          </p:cNvSpPr>
          <p:nvPr/>
        </p:nvSpPr>
        <p:spPr bwMode="auto">
          <a:xfrm>
            <a:off x="1085359" y="6490908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1"/>
          <p:cNvSpPr>
            <a:spLocks/>
          </p:cNvSpPr>
          <p:nvPr/>
        </p:nvSpPr>
        <p:spPr bwMode="auto">
          <a:xfrm>
            <a:off x="10520252" y="6490908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51"/>
          <p:cNvSpPr>
            <a:spLocks/>
          </p:cNvSpPr>
          <p:nvPr/>
        </p:nvSpPr>
        <p:spPr bwMode="auto">
          <a:xfrm>
            <a:off x="11360415" y="6490908"/>
            <a:ext cx="536540" cy="266474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2968542" y="3343357"/>
            <a:ext cx="1100869" cy="803149"/>
          </a:xfrm>
          <a:custGeom>
            <a:avLst/>
            <a:gdLst>
              <a:gd name="T0" fmla="*/ 478 w 954"/>
              <a:gd name="T1" fmla="*/ 279 h 696"/>
              <a:gd name="T2" fmla="*/ 0 w 954"/>
              <a:gd name="T3" fmla="*/ 0 h 696"/>
              <a:gd name="T4" fmla="*/ 0 w 954"/>
              <a:gd name="T5" fmla="*/ 348 h 696"/>
              <a:gd name="T6" fmla="*/ 0 w 954"/>
              <a:gd name="T7" fmla="*/ 696 h 696"/>
              <a:gd name="T8" fmla="*/ 478 w 954"/>
              <a:gd name="T9" fmla="*/ 414 h 696"/>
              <a:gd name="T10" fmla="*/ 954 w 954"/>
              <a:gd name="T11" fmla="*/ 558 h 696"/>
              <a:gd name="T12" fmla="*/ 954 w 954"/>
              <a:gd name="T13" fmla="*/ 348 h 696"/>
              <a:gd name="T14" fmla="*/ 954 w 954"/>
              <a:gd name="T15" fmla="*/ 137 h 696"/>
              <a:gd name="T16" fmla="*/ 478 w 954"/>
              <a:gd name="T17" fmla="*/ 2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54" h="696">
                <a:moveTo>
                  <a:pt x="478" y="279"/>
                </a:moveTo>
                <a:lnTo>
                  <a:pt x="0" y="0"/>
                </a:lnTo>
                <a:lnTo>
                  <a:pt x="0" y="348"/>
                </a:lnTo>
                <a:lnTo>
                  <a:pt x="0" y="696"/>
                </a:lnTo>
                <a:lnTo>
                  <a:pt x="478" y="414"/>
                </a:lnTo>
                <a:lnTo>
                  <a:pt x="954" y="558"/>
                </a:lnTo>
                <a:lnTo>
                  <a:pt x="954" y="348"/>
                </a:lnTo>
                <a:lnTo>
                  <a:pt x="954" y="137"/>
                </a:lnTo>
                <a:lnTo>
                  <a:pt x="478" y="279"/>
                </a:lnTo>
                <a:close/>
              </a:path>
            </a:pathLst>
          </a:cu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>
            <a:off x="3690045" y="3121766"/>
            <a:ext cx="1242239" cy="1245176"/>
          </a:xfrm>
          <a:custGeom>
            <a:avLst/>
            <a:gdLst>
              <a:gd name="T0" fmla="*/ 845 w 845"/>
              <a:gd name="T1" fmla="*/ 424 h 847"/>
              <a:gd name="T2" fmla="*/ 421 w 845"/>
              <a:gd name="T3" fmla="*/ 847 h 847"/>
              <a:gd name="T4" fmla="*/ 0 w 845"/>
              <a:gd name="T5" fmla="*/ 424 h 847"/>
              <a:gd name="T6" fmla="*/ 421 w 845"/>
              <a:gd name="T7" fmla="*/ 0 h 847"/>
              <a:gd name="T8" fmla="*/ 845 w 845"/>
              <a:gd name="T9" fmla="*/ 424 h 8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5" h="847">
                <a:moveTo>
                  <a:pt x="845" y="424"/>
                </a:moveTo>
                <a:lnTo>
                  <a:pt x="421" y="847"/>
                </a:lnTo>
                <a:lnTo>
                  <a:pt x="0" y="424"/>
                </a:lnTo>
                <a:lnTo>
                  <a:pt x="421" y="0"/>
                </a:lnTo>
                <a:lnTo>
                  <a:pt x="845" y="424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2381181" y="4190356"/>
            <a:ext cx="1234727" cy="1233573"/>
          </a:xfrm>
          <a:custGeom>
            <a:avLst/>
            <a:gdLst>
              <a:gd name="T0" fmla="*/ 632 w 1070"/>
              <a:gd name="T1" fmla="*/ 534 h 1069"/>
              <a:gd name="T2" fmla="*/ 492 w 1070"/>
              <a:gd name="T3" fmla="*/ 0 h 1069"/>
              <a:gd name="T4" fmla="*/ 246 w 1070"/>
              <a:gd name="T5" fmla="*/ 246 h 1069"/>
              <a:gd name="T6" fmla="*/ 0 w 1070"/>
              <a:gd name="T7" fmla="*/ 492 h 1069"/>
              <a:gd name="T8" fmla="*/ 537 w 1070"/>
              <a:gd name="T9" fmla="*/ 632 h 1069"/>
              <a:gd name="T10" fmla="*/ 774 w 1070"/>
              <a:gd name="T11" fmla="*/ 1069 h 1069"/>
              <a:gd name="T12" fmla="*/ 923 w 1070"/>
              <a:gd name="T13" fmla="*/ 920 h 1069"/>
              <a:gd name="T14" fmla="*/ 1070 w 1070"/>
              <a:gd name="T15" fmla="*/ 771 h 1069"/>
              <a:gd name="T16" fmla="*/ 632 w 1070"/>
              <a:gd name="T17" fmla="*/ 534 h 1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70" h="1069">
                <a:moveTo>
                  <a:pt x="632" y="534"/>
                </a:moveTo>
                <a:lnTo>
                  <a:pt x="492" y="0"/>
                </a:lnTo>
                <a:lnTo>
                  <a:pt x="246" y="246"/>
                </a:lnTo>
                <a:lnTo>
                  <a:pt x="0" y="492"/>
                </a:lnTo>
                <a:lnTo>
                  <a:pt x="537" y="632"/>
                </a:lnTo>
                <a:lnTo>
                  <a:pt x="774" y="1069"/>
                </a:lnTo>
                <a:lnTo>
                  <a:pt x="923" y="920"/>
                </a:lnTo>
                <a:lnTo>
                  <a:pt x="1070" y="771"/>
                </a:lnTo>
                <a:lnTo>
                  <a:pt x="632" y="534"/>
                </a:lnTo>
                <a:close/>
              </a:path>
            </a:pathLst>
          </a:cu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8"/>
          <p:cNvSpPr>
            <a:spLocks/>
          </p:cNvSpPr>
          <p:nvPr/>
        </p:nvSpPr>
        <p:spPr bwMode="auto">
          <a:xfrm>
            <a:off x="2992742" y="4802234"/>
            <a:ext cx="1245180" cy="1242237"/>
          </a:xfrm>
          <a:custGeom>
            <a:avLst/>
            <a:gdLst>
              <a:gd name="T0" fmla="*/ 847 w 847"/>
              <a:gd name="T1" fmla="*/ 421 h 845"/>
              <a:gd name="T2" fmla="*/ 424 w 847"/>
              <a:gd name="T3" fmla="*/ 845 h 845"/>
              <a:gd name="T4" fmla="*/ 0 w 847"/>
              <a:gd name="T5" fmla="*/ 421 h 845"/>
              <a:gd name="T6" fmla="*/ 424 w 847"/>
              <a:gd name="T7" fmla="*/ 0 h 845"/>
              <a:gd name="T8" fmla="*/ 847 w 847"/>
              <a:gd name="T9" fmla="*/ 421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7" h="845">
                <a:moveTo>
                  <a:pt x="847" y="421"/>
                </a:moveTo>
                <a:lnTo>
                  <a:pt x="424" y="845"/>
                </a:lnTo>
                <a:lnTo>
                  <a:pt x="0" y="421"/>
                </a:lnTo>
                <a:lnTo>
                  <a:pt x="424" y="0"/>
                </a:lnTo>
                <a:lnTo>
                  <a:pt x="847" y="421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9"/>
          <p:cNvSpPr>
            <a:spLocks/>
          </p:cNvSpPr>
          <p:nvPr/>
        </p:nvSpPr>
        <p:spPr bwMode="auto">
          <a:xfrm>
            <a:off x="2381181" y="2064779"/>
            <a:ext cx="1234727" cy="1234727"/>
          </a:xfrm>
          <a:custGeom>
            <a:avLst/>
            <a:gdLst>
              <a:gd name="T0" fmla="*/ 537 w 1070"/>
              <a:gd name="T1" fmla="*/ 438 h 1070"/>
              <a:gd name="T2" fmla="*/ 0 w 1070"/>
              <a:gd name="T3" fmla="*/ 578 h 1070"/>
              <a:gd name="T4" fmla="*/ 246 w 1070"/>
              <a:gd name="T5" fmla="*/ 824 h 1070"/>
              <a:gd name="T6" fmla="*/ 492 w 1070"/>
              <a:gd name="T7" fmla="*/ 1070 h 1070"/>
              <a:gd name="T8" fmla="*/ 632 w 1070"/>
              <a:gd name="T9" fmla="*/ 533 h 1070"/>
              <a:gd name="T10" fmla="*/ 1070 w 1070"/>
              <a:gd name="T11" fmla="*/ 296 h 1070"/>
              <a:gd name="T12" fmla="*/ 923 w 1070"/>
              <a:gd name="T13" fmla="*/ 149 h 1070"/>
              <a:gd name="T14" fmla="*/ 774 w 1070"/>
              <a:gd name="T15" fmla="*/ 0 h 1070"/>
              <a:gd name="T16" fmla="*/ 537 w 1070"/>
              <a:gd name="T17" fmla="*/ 438 h 10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70" h="1070">
                <a:moveTo>
                  <a:pt x="537" y="438"/>
                </a:moveTo>
                <a:lnTo>
                  <a:pt x="0" y="578"/>
                </a:lnTo>
                <a:lnTo>
                  <a:pt x="246" y="824"/>
                </a:lnTo>
                <a:lnTo>
                  <a:pt x="492" y="1070"/>
                </a:lnTo>
                <a:lnTo>
                  <a:pt x="632" y="533"/>
                </a:lnTo>
                <a:lnTo>
                  <a:pt x="1070" y="296"/>
                </a:lnTo>
                <a:lnTo>
                  <a:pt x="923" y="149"/>
                </a:lnTo>
                <a:lnTo>
                  <a:pt x="774" y="0"/>
                </a:lnTo>
                <a:lnTo>
                  <a:pt x="537" y="438"/>
                </a:lnTo>
                <a:close/>
              </a:path>
            </a:pathLst>
          </a:cu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2992742" y="1445392"/>
            <a:ext cx="1245180" cy="1242237"/>
          </a:xfrm>
          <a:custGeom>
            <a:avLst/>
            <a:gdLst>
              <a:gd name="T0" fmla="*/ 424 w 847"/>
              <a:gd name="T1" fmla="*/ 0 h 845"/>
              <a:gd name="T2" fmla="*/ 847 w 847"/>
              <a:gd name="T3" fmla="*/ 421 h 845"/>
              <a:gd name="T4" fmla="*/ 424 w 847"/>
              <a:gd name="T5" fmla="*/ 845 h 845"/>
              <a:gd name="T6" fmla="*/ 0 w 847"/>
              <a:gd name="T7" fmla="*/ 421 h 845"/>
              <a:gd name="T8" fmla="*/ 424 w 847"/>
              <a:gd name="T9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7" h="845">
                <a:moveTo>
                  <a:pt x="424" y="0"/>
                </a:moveTo>
                <a:lnTo>
                  <a:pt x="847" y="421"/>
                </a:lnTo>
                <a:lnTo>
                  <a:pt x="424" y="845"/>
                </a:lnTo>
                <a:lnTo>
                  <a:pt x="0" y="421"/>
                </a:lnTo>
                <a:lnTo>
                  <a:pt x="424" y="0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Oval 11"/>
          <p:cNvSpPr>
            <a:spLocks noChangeArrowheads="1"/>
          </p:cNvSpPr>
          <p:nvPr/>
        </p:nvSpPr>
        <p:spPr bwMode="auto">
          <a:xfrm>
            <a:off x="826809" y="2633677"/>
            <a:ext cx="2220202" cy="2220201"/>
          </a:xfrm>
          <a:prstGeom prst="ellipse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2"/>
          <p:cNvSpPr>
            <a:spLocks/>
          </p:cNvSpPr>
          <p:nvPr/>
        </p:nvSpPr>
        <p:spPr bwMode="auto">
          <a:xfrm>
            <a:off x="826809" y="2633677"/>
            <a:ext cx="2220202" cy="2220201"/>
          </a:xfrm>
          <a:custGeom>
            <a:avLst/>
            <a:gdLst>
              <a:gd name="T0" fmla="*/ 1924 w 1924"/>
              <a:gd name="T1" fmla="*/ 963 h 1924"/>
              <a:gd name="T2" fmla="*/ 961 w 1924"/>
              <a:gd name="T3" fmla="*/ 1924 h 1924"/>
              <a:gd name="T4" fmla="*/ 0 w 1924"/>
              <a:gd name="T5" fmla="*/ 963 h 1924"/>
              <a:gd name="T6" fmla="*/ 961 w 1924"/>
              <a:gd name="T7" fmla="*/ 0 h 1924"/>
              <a:gd name="T8" fmla="*/ 1924 w 1924"/>
              <a:gd name="T9" fmla="*/ 963 h 1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24" h="1924">
                <a:moveTo>
                  <a:pt x="1924" y="963"/>
                </a:moveTo>
                <a:lnTo>
                  <a:pt x="961" y="1924"/>
                </a:lnTo>
                <a:lnTo>
                  <a:pt x="0" y="963"/>
                </a:lnTo>
                <a:lnTo>
                  <a:pt x="961" y="0"/>
                </a:lnTo>
                <a:lnTo>
                  <a:pt x="1924" y="96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3" name="Freeform 6"/>
          <p:cNvSpPr>
            <a:spLocks/>
          </p:cNvSpPr>
          <p:nvPr/>
        </p:nvSpPr>
        <p:spPr bwMode="auto">
          <a:xfrm>
            <a:off x="3814937" y="3255341"/>
            <a:ext cx="994243" cy="996594"/>
          </a:xfrm>
          <a:custGeom>
            <a:avLst/>
            <a:gdLst>
              <a:gd name="T0" fmla="*/ 845 w 845"/>
              <a:gd name="T1" fmla="*/ 424 h 847"/>
              <a:gd name="T2" fmla="*/ 421 w 845"/>
              <a:gd name="T3" fmla="*/ 847 h 847"/>
              <a:gd name="T4" fmla="*/ 0 w 845"/>
              <a:gd name="T5" fmla="*/ 424 h 847"/>
              <a:gd name="T6" fmla="*/ 421 w 845"/>
              <a:gd name="T7" fmla="*/ 0 h 847"/>
              <a:gd name="T8" fmla="*/ 845 w 845"/>
              <a:gd name="T9" fmla="*/ 424 h 8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5" h="847">
                <a:moveTo>
                  <a:pt x="845" y="424"/>
                </a:moveTo>
                <a:lnTo>
                  <a:pt x="421" y="847"/>
                </a:lnTo>
                <a:lnTo>
                  <a:pt x="0" y="424"/>
                </a:lnTo>
                <a:lnTo>
                  <a:pt x="421" y="0"/>
                </a:lnTo>
                <a:lnTo>
                  <a:pt x="845" y="424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8"/>
          <p:cNvSpPr>
            <a:spLocks/>
          </p:cNvSpPr>
          <p:nvPr/>
        </p:nvSpPr>
        <p:spPr bwMode="auto">
          <a:xfrm>
            <a:off x="3117927" y="4935515"/>
            <a:ext cx="996598" cy="994241"/>
          </a:xfrm>
          <a:custGeom>
            <a:avLst/>
            <a:gdLst>
              <a:gd name="T0" fmla="*/ 847 w 847"/>
              <a:gd name="T1" fmla="*/ 421 h 845"/>
              <a:gd name="T2" fmla="*/ 424 w 847"/>
              <a:gd name="T3" fmla="*/ 845 h 845"/>
              <a:gd name="T4" fmla="*/ 0 w 847"/>
              <a:gd name="T5" fmla="*/ 421 h 845"/>
              <a:gd name="T6" fmla="*/ 424 w 847"/>
              <a:gd name="T7" fmla="*/ 0 h 845"/>
              <a:gd name="T8" fmla="*/ 847 w 847"/>
              <a:gd name="T9" fmla="*/ 421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7" h="845">
                <a:moveTo>
                  <a:pt x="847" y="421"/>
                </a:moveTo>
                <a:lnTo>
                  <a:pt x="424" y="845"/>
                </a:lnTo>
                <a:lnTo>
                  <a:pt x="0" y="421"/>
                </a:lnTo>
                <a:lnTo>
                  <a:pt x="424" y="0"/>
                </a:lnTo>
                <a:lnTo>
                  <a:pt x="847" y="421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10"/>
          <p:cNvSpPr>
            <a:spLocks/>
          </p:cNvSpPr>
          <p:nvPr/>
        </p:nvSpPr>
        <p:spPr bwMode="auto">
          <a:xfrm>
            <a:off x="3117927" y="1578673"/>
            <a:ext cx="996598" cy="994241"/>
          </a:xfrm>
          <a:custGeom>
            <a:avLst/>
            <a:gdLst>
              <a:gd name="T0" fmla="*/ 424 w 847"/>
              <a:gd name="T1" fmla="*/ 0 h 845"/>
              <a:gd name="T2" fmla="*/ 847 w 847"/>
              <a:gd name="T3" fmla="*/ 421 h 845"/>
              <a:gd name="T4" fmla="*/ 424 w 847"/>
              <a:gd name="T5" fmla="*/ 845 h 845"/>
              <a:gd name="T6" fmla="*/ 0 w 847"/>
              <a:gd name="T7" fmla="*/ 421 h 845"/>
              <a:gd name="T8" fmla="*/ 424 w 847"/>
              <a:gd name="T9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7" h="845">
                <a:moveTo>
                  <a:pt x="424" y="0"/>
                </a:moveTo>
                <a:lnTo>
                  <a:pt x="847" y="421"/>
                </a:lnTo>
                <a:lnTo>
                  <a:pt x="424" y="845"/>
                </a:lnTo>
                <a:lnTo>
                  <a:pt x="0" y="421"/>
                </a:lnTo>
                <a:lnTo>
                  <a:pt x="424" y="0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6" name="Group 85"/>
          <p:cNvGrpSpPr/>
          <p:nvPr/>
        </p:nvGrpSpPr>
        <p:grpSpPr>
          <a:xfrm>
            <a:off x="3441823" y="1930299"/>
            <a:ext cx="348805" cy="290990"/>
            <a:chOff x="6105525" y="4249738"/>
            <a:chExt cx="287338" cy="239713"/>
          </a:xfrm>
          <a:solidFill>
            <a:schemeClr val="bg1"/>
          </a:solidFill>
        </p:grpSpPr>
        <p:sp>
          <p:nvSpPr>
            <p:cNvPr id="87" name="Freeform 2020"/>
            <p:cNvSpPr>
              <a:spLocks noEditPoints="1"/>
            </p:cNvSpPr>
            <p:nvPr/>
          </p:nvSpPr>
          <p:spPr bwMode="auto">
            <a:xfrm>
              <a:off x="6210300" y="4249738"/>
              <a:ext cx="182563" cy="203200"/>
            </a:xfrm>
            <a:custGeom>
              <a:avLst/>
              <a:gdLst>
                <a:gd name="T0" fmla="*/ 541 w 572"/>
                <a:gd name="T1" fmla="*/ 346 h 636"/>
                <a:gd name="T2" fmla="*/ 533 w 572"/>
                <a:gd name="T3" fmla="*/ 360 h 636"/>
                <a:gd name="T4" fmla="*/ 521 w 572"/>
                <a:gd name="T5" fmla="*/ 369 h 636"/>
                <a:gd name="T6" fmla="*/ 505 w 572"/>
                <a:gd name="T7" fmla="*/ 375 h 636"/>
                <a:gd name="T8" fmla="*/ 482 w 572"/>
                <a:gd name="T9" fmla="*/ 375 h 636"/>
                <a:gd name="T10" fmla="*/ 497 w 572"/>
                <a:gd name="T11" fmla="*/ 254 h 636"/>
                <a:gd name="T12" fmla="*/ 513 w 572"/>
                <a:gd name="T13" fmla="*/ 259 h 636"/>
                <a:gd name="T14" fmla="*/ 528 w 572"/>
                <a:gd name="T15" fmla="*/ 268 h 636"/>
                <a:gd name="T16" fmla="*/ 538 w 572"/>
                <a:gd name="T17" fmla="*/ 283 h 636"/>
                <a:gd name="T18" fmla="*/ 542 w 572"/>
                <a:gd name="T19" fmla="*/ 299 h 636"/>
                <a:gd name="T20" fmla="*/ 497 w 572"/>
                <a:gd name="T21" fmla="*/ 224 h 636"/>
                <a:gd name="T22" fmla="*/ 482 w 572"/>
                <a:gd name="T23" fmla="*/ 15 h 636"/>
                <a:gd name="T24" fmla="*/ 480 w 572"/>
                <a:gd name="T25" fmla="*/ 8 h 636"/>
                <a:gd name="T26" fmla="*/ 474 w 572"/>
                <a:gd name="T27" fmla="*/ 2 h 636"/>
                <a:gd name="T28" fmla="*/ 467 w 572"/>
                <a:gd name="T29" fmla="*/ 0 h 636"/>
                <a:gd name="T30" fmla="*/ 459 w 572"/>
                <a:gd name="T31" fmla="*/ 2 h 636"/>
                <a:gd name="T32" fmla="*/ 406 w 572"/>
                <a:gd name="T33" fmla="*/ 28 h 636"/>
                <a:gd name="T34" fmla="*/ 337 w 572"/>
                <a:gd name="T35" fmla="*/ 60 h 636"/>
                <a:gd name="T36" fmla="*/ 288 w 572"/>
                <a:gd name="T37" fmla="*/ 81 h 636"/>
                <a:gd name="T38" fmla="*/ 234 w 572"/>
                <a:gd name="T39" fmla="*/ 99 h 636"/>
                <a:gd name="T40" fmla="*/ 176 w 572"/>
                <a:gd name="T41" fmla="*/ 115 h 636"/>
                <a:gd name="T42" fmla="*/ 112 w 572"/>
                <a:gd name="T43" fmla="*/ 128 h 636"/>
                <a:gd name="T44" fmla="*/ 40 w 572"/>
                <a:gd name="T45" fmla="*/ 139 h 636"/>
                <a:gd name="T46" fmla="*/ 0 w 572"/>
                <a:gd name="T47" fmla="*/ 480 h 636"/>
                <a:gd name="T48" fmla="*/ 2 w 572"/>
                <a:gd name="T49" fmla="*/ 487 h 636"/>
                <a:gd name="T50" fmla="*/ 73 w 572"/>
                <a:gd name="T51" fmla="*/ 497 h 636"/>
                <a:gd name="T52" fmla="*/ 138 w 572"/>
                <a:gd name="T53" fmla="*/ 509 h 636"/>
                <a:gd name="T54" fmla="*/ 197 w 572"/>
                <a:gd name="T55" fmla="*/ 524 h 636"/>
                <a:gd name="T56" fmla="*/ 249 w 572"/>
                <a:gd name="T57" fmla="*/ 540 h 636"/>
                <a:gd name="T58" fmla="*/ 299 w 572"/>
                <a:gd name="T59" fmla="*/ 559 h 636"/>
                <a:gd name="T60" fmla="*/ 345 w 572"/>
                <a:gd name="T61" fmla="*/ 578 h 636"/>
                <a:gd name="T62" fmla="*/ 433 w 572"/>
                <a:gd name="T63" fmla="*/ 621 h 636"/>
                <a:gd name="T64" fmla="*/ 464 w 572"/>
                <a:gd name="T65" fmla="*/ 636 h 636"/>
                <a:gd name="T66" fmla="*/ 471 w 572"/>
                <a:gd name="T67" fmla="*/ 636 h 636"/>
                <a:gd name="T68" fmla="*/ 478 w 572"/>
                <a:gd name="T69" fmla="*/ 632 h 636"/>
                <a:gd name="T70" fmla="*/ 481 w 572"/>
                <a:gd name="T71" fmla="*/ 626 h 636"/>
                <a:gd name="T72" fmla="*/ 482 w 572"/>
                <a:gd name="T73" fmla="*/ 405 h 636"/>
                <a:gd name="T74" fmla="*/ 505 w 572"/>
                <a:gd name="T75" fmla="*/ 405 h 636"/>
                <a:gd name="T76" fmla="*/ 520 w 572"/>
                <a:gd name="T77" fmla="*/ 402 h 636"/>
                <a:gd name="T78" fmla="*/ 532 w 572"/>
                <a:gd name="T79" fmla="*/ 397 h 636"/>
                <a:gd name="T80" fmla="*/ 545 w 572"/>
                <a:gd name="T81" fmla="*/ 390 h 636"/>
                <a:gd name="T82" fmla="*/ 555 w 572"/>
                <a:gd name="T83" fmla="*/ 381 h 636"/>
                <a:gd name="T84" fmla="*/ 562 w 572"/>
                <a:gd name="T85" fmla="*/ 370 h 636"/>
                <a:gd name="T86" fmla="*/ 569 w 572"/>
                <a:gd name="T87" fmla="*/ 357 h 636"/>
                <a:gd name="T88" fmla="*/ 571 w 572"/>
                <a:gd name="T89" fmla="*/ 344 h 636"/>
                <a:gd name="T90" fmla="*/ 572 w 572"/>
                <a:gd name="T91" fmla="*/ 299 h 636"/>
                <a:gd name="T92" fmla="*/ 570 w 572"/>
                <a:gd name="T93" fmla="*/ 284 h 636"/>
                <a:gd name="T94" fmla="*/ 566 w 572"/>
                <a:gd name="T95" fmla="*/ 272 h 636"/>
                <a:gd name="T96" fmla="*/ 558 w 572"/>
                <a:gd name="T97" fmla="*/ 259 h 636"/>
                <a:gd name="T98" fmla="*/ 550 w 572"/>
                <a:gd name="T99" fmla="*/ 247 h 636"/>
                <a:gd name="T100" fmla="*/ 538 w 572"/>
                <a:gd name="T101" fmla="*/ 237 h 636"/>
                <a:gd name="T102" fmla="*/ 525 w 572"/>
                <a:gd name="T103" fmla="*/ 231 h 636"/>
                <a:gd name="T104" fmla="*/ 511 w 572"/>
                <a:gd name="T105" fmla="*/ 226 h 636"/>
                <a:gd name="T106" fmla="*/ 497 w 572"/>
                <a:gd name="T107" fmla="*/ 224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2" h="636">
                  <a:moveTo>
                    <a:pt x="542" y="338"/>
                  </a:moveTo>
                  <a:lnTo>
                    <a:pt x="541" y="346"/>
                  </a:lnTo>
                  <a:lnTo>
                    <a:pt x="538" y="353"/>
                  </a:lnTo>
                  <a:lnTo>
                    <a:pt x="533" y="360"/>
                  </a:lnTo>
                  <a:lnTo>
                    <a:pt x="527" y="365"/>
                  </a:lnTo>
                  <a:lnTo>
                    <a:pt x="521" y="369"/>
                  </a:lnTo>
                  <a:lnTo>
                    <a:pt x="513" y="372"/>
                  </a:lnTo>
                  <a:lnTo>
                    <a:pt x="505" y="375"/>
                  </a:lnTo>
                  <a:lnTo>
                    <a:pt x="497" y="375"/>
                  </a:lnTo>
                  <a:lnTo>
                    <a:pt x="482" y="375"/>
                  </a:lnTo>
                  <a:lnTo>
                    <a:pt x="482" y="254"/>
                  </a:lnTo>
                  <a:lnTo>
                    <a:pt x="497" y="254"/>
                  </a:lnTo>
                  <a:lnTo>
                    <a:pt x="506" y="255"/>
                  </a:lnTo>
                  <a:lnTo>
                    <a:pt x="513" y="259"/>
                  </a:lnTo>
                  <a:lnTo>
                    <a:pt x="522" y="263"/>
                  </a:lnTo>
                  <a:lnTo>
                    <a:pt x="528" y="268"/>
                  </a:lnTo>
                  <a:lnTo>
                    <a:pt x="533" y="275"/>
                  </a:lnTo>
                  <a:lnTo>
                    <a:pt x="538" y="283"/>
                  </a:lnTo>
                  <a:lnTo>
                    <a:pt x="541" y="291"/>
                  </a:lnTo>
                  <a:lnTo>
                    <a:pt x="542" y="299"/>
                  </a:lnTo>
                  <a:lnTo>
                    <a:pt x="542" y="338"/>
                  </a:lnTo>
                  <a:close/>
                  <a:moveTo>
                    <a:pt x="497" y="224"/>
                  </a:moveTo>
                  <a:lnTo>
                    <a:pt x="482" y="224"/>
                  </a:lnTo>
                  <a:lnTo>
                    <a:pt x="482" y="15"/>
                  </a:lnTo>
                  <a:lnTo>
                    <a:pt x="481" y="12"/>
                  </a:lnTo>
                  <a:lnTo>
                    <a:pt x="480" y="8"/>
                  </a:lnTo>
                  <a:lnTo>
                    <a:pt x="478" y="6"/>
                  </a:lnTo>
                  <a:lnTo>
                    <a:pt x="474" y="2"/>
                  </a:lnTo>
                  <a:lnTo>
                    <a:pt x="471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59" y="2"/>
                  </a:lnTo>
                  <a:lnTo>
                    <a:pt x="451" y="7"/>
                  </a:lnTo>
                  <a:lnTo>
                    <a:pt x="406" y="28"/>
                  </a:lnTo>
                  <a:lnTo>
                    <a:pt x="361" y="51"/>
                  </a:lnTo>
                  <a:lnTo>
                    <a:pt x="337" y="60"/>
                  </a:lnTo>
                  <a:lnTo>
                    <a:pt x="313" y="71"/>
                  </a:lnTo>
                  <a:lnTo>
                    <a:pt x="288" y="81"/>
                  </a:lnTo>
                  <a:lnTo>
                    <a:pt x="262" y="89"/>
                  </a:lnTo>
                  <a:lnTo>
                    <a:pt x="234" y="99"/>
                  </a:lnTo>
                  <a:lnTo>
                    <a:pt x="206" y="106"/>
                  </a:lnTo>
                  <a:lnTo>
                    <a:pt x="176" y="115"/>
                  </a:lnTo>
                  <a:lnTo>
                    <a:pt x="145" y="121"/>
                  </a:lnTo>
                  <a:lnTo>
                    <a:pt x="112" y="128"/>
                  </a:lnTo>
                  <a:lnTo>
                    <a:pt x="78" y="133"/>
                  </a:lnTo>
                  <a:lnTo>
                    <a:pt x="40" y="139"/>
                  </a:lnTo>
                  <a:lnTo>
                    <a:pt x="0" y="143"/>
                  </a:lnTo>
                  <a:lnTo>
                    <a:pt x="0" y="480"/>
                  </a:lnTo>
                  <a:lnTo>
                    <a:pt x="0" y="484"/>
                  </a:lnTo>
                  <a:lnTo>
                    <a:pt x="2" y="487"/>
                  </a:lnTo>
                  <a:lnTo>
                    <a:pt x="38" y="491"/>
                  </a:lnTo>
                  <a:lnTo>
                    <a:pt x="73" y="497"/>
                  </a:lnTo>
                  <a:lnTo>
                    <a:pt x="107" y="502"/>
                  </a:lnTo>
                  <a:lnTo>
                    <a:pt x="138" y="509"/>
                  </a:lnTo>
                  <a:lnTo>
                    <a:pt x="168" y="515"/>
                  </a:lnTo>
                  <a:lnTo>
                    <a:pt x="197" y="524"/>
                  </a:lnTo>
                  <a:lnTo>
                    <a:pt x="224" y="531"/>
                  </a:lnTo>
                  <a:lnTo>
                    <a:pt x="249" y="540"/>
                  </a:lnTo>
                  <a:lnTo>
                    <a:pt x="274" y="549"/>
                  </a:lnTo>
                  <a:lnTo>
                    <a:pt x="299" y="559"/>
                  </a:lnTo>
                  <a:lnTo>
                    <a:pt x="322" y="569"/>
                  </a:lnTo>
                  <a:lnTo>
                    <a:pt x="345" y="578"/>
                  </a:lnTo>
                  <a:lnTo>
                    <a:pt x="390" y="600"/>
                  </a:lnTo>
                  <a:lnTo>
                    <a:pt x="433" y="621"/>
                  </a:lnTo>
                  <a:lnTo>
                    <a:pt x="459" y="635"/>
                  </a:lnTo>
                  <a:lnTo>
                    <a:pt x="464" y="636"/>
                  </a:lnTo>
                  <a:lnTo>
                    <a:pt x="467" y="636"/>
                  </a:lnTo>
                  <a:lnTo>
                    <a:pt x="471" y="636"/>
                  </a:lnTo>
                  <a:lnTo>
                    <a:pt x="474" y="634"/>
                  </a:lnTo>
                  <a:lnTo>
                    <a:pt x="478" y="632"/>
                  </a:lnTo>
                  <a:lnTo>
                    <a:pt x="480" y="629"/>
                  </a:lnTo>
                  <a:lnTo>
                    <a:pt x="481" y="626"/>
                  </a:lnTo>
                  <a:lnTo>
                    <a:pt x="482" y="621"/>
                  </a:lnTo>
                  <a:lnTo>
                    <a:pt x="482" y="405"/>
                  </a:lnTo>
                  <a:lnTo>
                    <a:pt x="497" y="405"/>
                  </a:lnTo>
                  <a:lnTo>
                    <a:pt x="505" y="405"/>
                  </a:lnTo>
                  <a:lnTo>
                    <a:pt x="512" y="403"/>
                  </a:lnTo>
                  <a:lnTo>
                    <a:pt x="520" y="402"/>
                  </a:lnTo>
                  <a:lnTo>
                    <a:pt x="526" y="399"/>
                  </a:lnTo>
                  <a:lnTo>
                    <a:pt x="532" y="397"/>
                  </a:lnTo>
                  <a:lnTo>
                    <a:pt x="539" y="394"/>
                  </a:lnTo>
                  <a:lnTo>
                    <a:pt x="545" y="390"/>
                  </a:lnTo>
                  <a:lnTo>
                    <a:pt x="550" y="385"/>
                  </a:lnTo>
                  <a:lnTo>
                    <a:pt x="555" y="381"/>
                  </a:lnTo>
                  <a:lnTo>
                    <a:pt x="559" y="376"/>
                  </a:lnTo>
                  <a:lnTo>
                    <a:pt x="562" y="370"/>
                  </a:lnTo>
                  <a:lnTo>
                    <a:pt x="566" y="364"/>
                  </a:lnTo>
                  <a:lnTo>
                    <a:pt x="569" y="357"/>
                  </a:lnTo>
                  <a:lnTo>
                    <a:pt x="570" y="351"/>
                  </a:lnTo>
                  <a:lnTo>
                    <a:pt x="571" y="344"/>
                  </a:lnTo>
                  <a:lnTo>
                    <a:pt x="572" y="338"/>
                  </a:lnTo>
                  <a:lnTo>
                    <a:pt x="572" y="299"/>
                  </a:lnTo>
                  <a:lnTo>
                    <a:pt x="571" y="292"/>
                  </a:lnTo>
                  <a:lnTo>
                    <a:pt x="570" y="284"/>
                  </a:lnTo>
                  <a:lnTo>
                    <a:pt x="568" y="278"/>
                  </a:lnTo>
                  <a:lnTo>
                    <a:pt x="566" y="272"/>
                  </a:lnTo>
                  <a:lnTo>
                    <a:pt x="562" y="264"/>
                  </a:lnTo>
                  <a:lnTo>
                    <a:pt x="558" y="259"/>
                  </a:lnTo>
                  <a:lnTo>
                    <a:pt x="554" y="252"/>
                  </a:lnTo>
                  <a:lnTo>
                    <a:pt x="550" y="247"/>
                  </a:lnTo>
                  <a:lnTo>
                    <a:pt x="544" y="243"/>
                  </a:lnTo>
                  <a:lnTo>
                    <a:pt x="538" y="237"/>
                  </a:lnTo>
                  <a:lnTo>
                    <a:pt x="531" y="234"/>
                  </a:lnTo>
                  <a:lnTo>
                    <a:pt x="525" y="231"/>
                  </a:lnTo>
                  <a:lnTo>
                    <a:pt x="518" y="228"/>
                  </a:lnTo>
                  <a:lnTo>
                    <a:pt x="511" y="226"/>
                  </a:lnTo>
                  <a:lnTo>
                    <a:pt x="505" y="225"/>
                  </a:lnTo>
                  <a:lnTo>
                    <a:pt x="497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021"/>
            <p:cNvSpPr>
              <a:spLocks/>
            </p:cNvSpPr>
            <p:nvPr/>
          </p:nvSpPr>
          <p:spPr bwMode="auto">
            <a:xfrm>
              <a:off x="6105525" y="4297363"/>
              <a:ext cx="76200" cy="106363"/>
            </a:xfrm>
            <a:custGeom>
              <a:avLst/>
              <a:gdLst>
                <a:gd name="T0" fmla="*/ 240 w 240"/>
                <a:gd name="T1" fmla="*/ 0 h 334"/>
                <a:gd name="T2" fmla="*/ 222 w 240"/>
                <a:gd name="T3" fmla="*/ 0 h 334"/>
                <a:gd name="T4" fmla="*/ 204 w 240"/>
                <a:gd name="T5" fmla="*/ 1 h 334"/>
                <a:gd name="T6" fmla="*/ 185 w 240"/>
                <a:gd name="T7" fmla="*/ 1 h 334"/>
                <a:gd name="T8" fmla="*/ 165 w 240"/>
                <a:gd name="T9" fmla="*/ 1 h 334"/>
                <a:gd name="T10" fmla="*/ 120 w 240"/>
                <a:gd name="T11" fmla="*/ 1 h 334"/>
                <a:gd name="T12" fmla="*/ 108 w 240"/>
                <a:gd name="T13" fmla="*/ 2 h 334"/>
                <a:gd name="T14" fmla="*/ 96 w 240"/>
                <a:gd name="T15" fmla="*/ 4 h 334"/>
                <a:gd name="T16" fmla="*/ 85 w 240"/>
                <a:gd name="T17" fmla="*/ 8 h 334"/>
                <a:gd name="T18" fmla="*/ 73 w 240"/>
                <a:gd name="T19" fmla="*/ 12 h 334"/>
                <a:gd name="T20" fmla="*/ 62 w 240"/>
                <a:gd name="T21" fmla="*/ 17 h 334"/>
                <a:gd name="T22" fmla="*/ 53 w 240"/>
                <a:gd name="T23" fmla="*/ 24 h 334"/>
                <a:gd name="T24" fmla="*/ 44 w 240"/>
                <a:gd name="T25" fmla="*/ 32 h 334"/>
                <a:gd name="T26" fmla="*/ 35 w 240"/>
                <a:gd name="T27" fmla="*/ 41 h 334"/>
                <a:gd name="T28" fmla="*/ 27 w 240"/>
                <a:gd name="T29" fmla="*/ 51 h 334"/>
                <a:gd name="T30" fmla="*/ 20 w 240"/>
                <a:gd name="T31" fmla="*/ 60 h 334"/>
                <a:gd name="T32" fmla="*/ 15 w 240"/>
                <a:gd name="T33" fmla="*/ 72 h 334"/>
                <a:gd name="T34" fmla="*/ 10 w 240"/>
                <a:gd name="T35" fmla="*/ 84 h 334"/>
                <a:gd name="T36" fmla="*/ 5 w 240"/>
                <a:gd name="T37" fmla="*/ 96 h 334"/>
                <a:gd name="T38" fmla="*/ 2 w 240"/>
                <a:gd name="T39" fmla="*/ 110 h 334"/>
                <a:gd name="T40" fmla="*/ 1 w 240"/>
                <a:gd name="T41" fmla="*/ 122 h 334"/>
                <a:gd name="T42" fmla="*/ 0 w 240"/>
                <a:gd name="T43" fmla="*/ 136 h 334"/>
                <a:gd name="T44" fmla="*/ 0 w 240"/>
                <a:gd name="T45" fmla="*/ 212 h 334"/>
                <a:gd name="T46" fmla="*/ 1 w 240"/>
                <a:gd name="T47" fmla="*/ 224 h 334"/>
                <a:gd name="T48" fmla="*/ 2 w 240"/>
                <a:gd name="T49" fmla="*/ 237 h 334"/>
                <a:gd name="T50" fmla="*/ 5 w 240"/>
                <a:gd name="T51" fmla="*/ 249 h 334"/>
                <a:gd name="T52" fmla="*/ 9 w 240"/>
                <a:gd name="T53" fmla="*/ 261 h 334"/>
                <a:gd name="T54" fmla="*/ 14 w 240"/>
                <a:gd name="T55" fmla="*/ 272 h 334"/>
                <a:gd name="T56" fmla="*/ 19 w 240"/>
                <a:gd name="T57" fmla="*/ 281 h 334"/>
                <a:gd name="T58" fmla="*/ 26 w 240"/>
                <a:gd name="T59" fmla="*/ 290 h 334"/>
                <a:gd name="T60" fmla="*/ 33 w 240"/>
                <a:gd name="T61" fmla="*/ 298 h 334"/>
                <a:gd name="T62" fmla="*/ 42 w 240"/>
                <a:gd name="T63" fmla="*/ 306 h 334"/>
                <a:gd name="T64" fmla="*/ 52 w 240"/>
                <a:gd name="T65" fmla="*/ 312 h 334"/>
                <a:gd name="T66" fmla="*/ 61 w 240"/>
                <a:gd name="T67" fmla="*/ 319 h 334"/>
                <a:gd name="T68" fmla="*/ 72 w 240"/>
                <a:gd name="T69" fmla="*/ 323 h 334"/>
                <a:gd name="T70" fmla="*/ 83 w 240"/>
                <a:gd name="T71" fmla="*/ 327 h 334"/>
                <a:gd name="T72" fmla="*/ 96 w 240"/>
                <a:gd name="T73" fmla="*/ 329 h 334"/>
                <a:gd name="T74" fmla="*/ 107 w 240"/>
                <a:gd name="T75" fmla="*/ 332 h 334"/>
                <a:gd name="T76" fmla="*/ 120 w 240"/>
                <a:gd name="T77" fmla="*/ 332 h 334"/>
                <a:gd name="T78" fmla="*/ 165 w 240"/>
                <a:gd name="T79" fmla="*/ 332 h 334"/>
                <a:gd name="T80" fmla="*/ 185 w 240"/>
                <a:gd name="T81" fmla="*/ 332 h 334"/>
                <a:gd name="T82" fmla="*/ 204 w 240"/>
                <a:gd name="T83" fmla="*/ 333 h 334"/>
                <a:gd name="T84" fmla="*/ 222 w 240"/>
                <a:gd name="T85" fmla="*/ 333 h 334"/>
                <a:gd name="T86" fmla="*/ 240 w 240"/>
                <a:gd name="T87" fmla="*/ 334 h 334"/>
                <a:gd name="T88" fmla="*/ 240 w 240"/>
                <a:gd name="T89" fmla="*/ 333 h 334"/>
                <a:gd name="T90" fmla="*/ 240 w 240"/>
                <a:gd name="T91" fmla="*/ 332 h 334"/>
                <a:gd name="T92" fmla="*/ 240 w 240"/>
                <a:gd name="T93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0" h="334">
                  <a:moveTo>
                    <a:pt x="240" y="0"/>
                  </a:moveTo>
                  <a:lnTo>
                    <a:pt x="222" y="0"/>
                  </a:lnTo>
                  <a:lnTo>
                    <a:pt x="204" y="1"/>
                  </a:lnTo>
                  <a:lnTo>
                    <a:pt x="185" y="1"/>
                  </a:lnTo>
                  <a:lnTo>
                    <a:pt x="165" y="1"/>
                  </a:lnTo>
                  <a:lnTo>
                    <a:pt x="120" y="1"/>
                  </a:lnTo>
                  <a:lnTo>
                    <a:pt x="108" y="2"/>
                  </a:lnTo>
                  <a:lnTo>
                    <a:pt x="96" y="4"/>
                  </a:lnTo>
                  <a:lnTo>
                    <a:pt x="85" y="8"/>
                  </a:lnTo>
                  <a:lnTo>
                    <a:pt x="73" y="12"/>
                  </a:lnTo>
                  <a:lnTo>
                    <a:pt x="62" y="17"/>
                  </a:lnTo>
                  <a:lnTo>
                    <a:pt x="53" y="24"/>
                  </a:lnTo>
                  <a:lnTo>
                    <a:pt x="44" y="32"/>
                  </a:lnTo>
                  <a:lnTo>
                    <a:pt x="35" y="41"/>
                  </a:lnTo>
                  <a:lnTo>
                    <a:pt x="27" y="51"/>
                  </a:lnTo>
                  <a:lnTo>
                    <a:pt x="20" y="60"/>
                  </a:lnTo>
                  <a:lnTo>
                    <a:pt x="15" y="72"/>
                  </a:lnTo>
                  <a:lnTo>
                    <a:pt x="10" y="84"/>
                  </a:lnTo>
                  <a:lnTo>
                    <a:pt x="5" y="96"/>
                  </a:lnTo>
                  <a:lnTo>
                    <a:pt x="2" y="110"/>
                  </a:lnTo>
                  <a:lnTo>
                    <a:pt x="1" y="122"/>
                  </a:lnTo>
                  <a:lnTo>
                    <a:pt x="0" y="136"/>
                  </a:lnTo>
                  <a:lnTo>
                    <a:pt x="0" y="212"/>
                  </a:lnTo>
                  <a:lnTo>
                    <a:pt x="1" y="224"/>
                  </a:lnTo>
                  <a:lnTo>
                    <a:pt x="2" y="237"/>
                  </a:lnTo>
                  <a:lnTo>
                    <a:pt x="5" y="249"/>
                  </a:lnTo>
                  <a:lnTo>
                    <a:pt x="9" y="261"/>
                  </a:lnTo>
                  <a:lnTo>
                    <a:pt x="14" y="272"/>
                  </a:lnTo>
                  <a:lnTo>
                    <a:pt x="19" y="281"/>
                  </a:lnTo>
                  <a:lnTo>
                    <a:pt x="26" y="290"/>
                  </a:lnTo>
                  <a:lnTo>
                    <a:pt x="33" y="298"/>
                  </a:lnTo>
                  <a:lnTo>
                    <a:pt x="42" y="306"/>
                  </a:lnTo>
                  <a:lnTo>
                    <a:pt x="52" y="312"/>
                  </a:lnTo>
                  <a:lnTo>
                    <a:pt x="61" y="319"/>
                  </a:lnTo>
                  <a:lnTo>
                    <a:pt x="72" y="323"/>
                  </a:lnTo>
                  <a:lnTo>
                    <a:pt x="83" y="327"/>
                  </a:lnTo>
                  <a:lnTo>
                    <a:pt x="96" y="329"/>
                  </a:lnTo>
                  <a:lnTo>
                    <a:pt x="107" y="332"/>
                  </a:lnTo>
                  <a:lnTo>
                    <a:pt x="120" y="332"/>
                  </a:lnTo>
                  <a:lnTo>
                    <a:pt x="165" y="332"/>
                  </a:lnTo>
                  <a:lnTo>
                    <a:pt x="185" y="332"/>
                  </a:lnTo>
                  <a:lnTo>
                    <a:pt x="204" y="333"/>
                  </a:lnTo>
                  <a:lnTo>
                    <a:pt x="222" y="333"/>
                  </a:lnTo>
                  <a:lnTo>
                    <a:pt x="240" y="334"/>
                  </a:lnTo>
                  <a:lnTo>
                    <a:pt x="240" y="333"/>
                  </a:lnTo>
                  <a:lnTo>
                    <a:pt x="240" y="332"/>
                  </a:lnTo>
                  <a:lnTo>
                    <a:pt x="2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022"/>
            <p:cNvSpPr>
              <a:spLocks/>
            </p:cNvSpPr>
            <p:nvPr/>
          </p:nvSpPr>
          <p:spPr bwMode="auto">
            <a:xfrm>
              <a:off x="6191250" y="4287838"/>
              <a:ext cx="57150" cy="201613"/>
            </a:xfrm>
            <a:custGeom>
              <a:avLst/>
              <a:gdLst>
                <a:gd name="T0" fmla="*/ 154 w 177"/>
                <a:gd name="T1" fmla="*/ 594 h 632"/>
                <a:gd name="T2" fmla="*/ 126 w 177"/>
                <a:gd name="T3" fmla="*/ 574 h 632"/>
                <a:gd name="T4" fmla="*/ 100 w 177"/>
                <a:gd name="T5" fmla="*/ 549 h 632"/>
                <a:gd name="T6" fmla="*/ 79 w 177"/>
                <a:gd name="T7" fmla="*/ 520 h 632"/>
                <a:gd name="T8" fmla="*/ 60 w 177"/>
                <a:gd name="T9" fmla="*/ 489 h 632"/>
                <a:gd name="T10" fmla="*/ 46 w 177"/>
                <a:gd name="T11" fmla="*/ 455 h 632"/>
                <a:gd name="T12" fmla="*/ 37 w 177"/>
                <a:gd name="T13" fmla="*/ 419 h 632"/>
                <a:gd name="T14" fmla="*/ 31 w 177"/>
                <a:gd name="T15" fmla="*/ 380 h 632"/>
                <a:gd name="T16" fmla="*/ 30 w 177"/>
                <a:gd name="T17" fmla="*/ 15 h 632"/>
                <a:gd name="T18" fmla="*/ 29 w 177"/>
                <a:gd name="T19" fmla="*/ 10 h 632"/>
                <a:gd name="T20" fmla="*/ 26 w 177"/>
                <a:gd name="T21" fmla="*/ 5 h 632"/>
                <a:gd name="T22" fmla="*/ 22 w 177"/>
                <a:gd name="T23" fmla="*/ 1 h 632"/>
                <a:gd name="T24" fmla="*/ 15 w 177"/>
                <a:gd name="T25" fmla="*/ 0 h 632"/>
                <a:gd name="T26" fmla="*/ 10 w 177"/>
                <a:gd name="T27" fmla="*/ 1 h 632"/>
                <a:gd name="T28" fmla="*/ 5 w 177"/>
                <a:gd name="T29" fmla="*/ 5 h 632"/>
                <a:gd name="T30" fmla="*/ 1 w 177"/>
                <a:gd name="T31" fmla="*/ 10 h 632"/>
                <a:gd name="T32" fmla="*/ 0 w 177"/>
                <a:gd name="T33" fmla="*/ 15 h 632"/>
                <a:gd name="T34" fmla="*/ 1 w 177"/>
                <a:gd name="T35" fmla="*/ 383 h 632"/>
                <a:gd name="T36" fmla="*/ 7 w 177"/>
                <a:gd name="T37" fmla="*/ 425 h 632"/>
                <a:gd name="T38" fmla="*/ 18 w 177"/>
                <a:gd name="T39" fmla="*/ 466 h 632"/>
                <a:gd name="T40" fmla="*/ 34 w 177"/>
                <a:gd name="T41" fmla="*/ 503 h 632"/>
                <a:gd name="T42" fmla="*/ 54 w 177"/>
                <a:gd name="T43" fmla="*/ 539 h 632"/>
                <a:gd name="T44" fmla="*/ 78 w 177"/>
                <a:gd name="T45" fmla="*/ 570 h 632"/>
                <a:gd name="T46" fmla="*/ 107 w 177"/>
                <a:gd name="T47" fmla="*/ 598 h 632"/>
                <a:gd name="T48" fmla="*/ 139 w 177"/>
                <a:gd name="T49" fmla="*/ 620 h 632"/>
                <a:gd name="T50" fmla="*/ 159 w 177"/>
                <a:gd name="T51" fmla="*/ 631 h 632"/>
                <a:gd name="T52" fmla="*/ 167 w 177"/>
                <a:gd name="T53" fmla="*/ 631 h 632"/>
                <a:gd name="T54" fmla="*/ 173 w 177"/>
                <a:gd name="T55" fmla="*/ 627 h 632"/>
                <a:gd name="T56" fmla="*/ 176 w 177"/>
                <a:gd name="T57" fmla="*/ 620 h 632"/>
                <a:gd name="T58" fmla="*/ 177 w 177"/>
                <a:gd name="T59" fmla="*/ 615 h 632"/>
                <a:gd name="T60" fmla="*/ 175 w 177"/>
                <a:gd name="T61" fmla="*/ 609 h 632"/>
                <a:gd name="T62" fmla="*/ 171 w 177"/>
                <a:gd name="T63" fmla="*/ 604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7" h="632">
                  <a:moveTo>
                    <a:pt x="169" y="603"/>
                  </a:moveTo>
                  <a:lnTo>
                    <a:pt x="154" y="594"/>
                  </a:lnTo>
                  <a:lnTo>
                    <a:pt x="139" y="585"/>
                  </a:lnTo>
                  <a:lnTo>
                    <a:pt x="126" y="574"/>
                  </a:lnTo>
                  <a:lnTo>
                    <a:pt x="113" y="562"/>
                  </a:lnTo>
                  <a:lnTo>
                    <a:pt x="100" y="549"/>
                  </a:lnTo>
                  <a:lnTo>
                    <a:pt x="89" y="535"/>
                  </a:lnTo>
                  <a:lnTo>
                    <a:pt x="79" y="520"/>
                  </a:lnTo>
                  <a:lnTo>
                    <a:pt x="69" y="505"/>
                  </a:lnTo>
                  <a:lnTo>
                    <a:pt x="60" y="489"/>
                  </a:lnTo>
                  <a:lnTo>
                    <a:pt x="53" y="472"/>
                  </a:lnTo>
                  <a:lnTo>
                    <a:pt x="46" y="455"/>
                  </a:lnTo>
                  <a:lnTo>
                    <a:pt x="41" y="437"/>
                  </a:lnTo>
                  <a:lnTo>
                    <a:pt x="37" y="419"/>
                  </a:lnTo>
                  <a:lnTo>
                    <a:pt x="34" y="399"/>
                  </a:lnTo>
                  <a:lnTo>
                    <a:pt x="31" y="380"/>
                  </a:lnTo>
                  <a:lnTo>
                    <a:pt x="30" y="36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361"/>
                  </a:lnTo>
                  <a:lnTo>
                    <a:pt x="1" y="383"/>
                  </a:lnTo>
                  <a:lnTo>
                    <a:pt x="4" y="404"/>
                  </a:lnTo>
                  <a:lnTo>
                    <a:pt x="7" y="425"/>
                  </a:lnTo>
                  <a:lnTo>
                    <a:pt x="12" y="445"/>
                  </a:lnTo>
                  <a:lnTo>
                    <a:pt x="18" y="466"/>
                  </a:lnTo>
                  <a:lnTo>
                    <a:pt x="25" y="485"/>
                  </a:lnTo>
                  <a:lnTo>
                    <a:pt x="34" y="503"/>
                  </a:lnTo>
                  <a:lnTo>
                    <a:pt x="43" y="522"/>
                  </a:lnTo>
                  <a:lnTo>
                    <a:pt x="54" y="539"/>
                  </a:lnTo>
                  <a:lnTo>
                    <a:pt x="65" y="555"/>
                  </a:lnTo>
                  <a:lnTo>
                    <a:pt x="78" y="570"/>
                  </a:lnTo>
                  <a:lnTo>
                    <a:pt x="92" y="585"/>
                  </a:lnTo>
                  <a:lnTo>
                    <a:pt x="107" y="598"/>
                  </a:lnTo>
                  <a:lnTo>
                    <a:pt x="122" y="609"/>
                  </a:lnTo>
                  <a:lnTo>
                    <a:pt x="139" y="620"/>
                  </a:lnTo>
                  <a:lnTo>
                    <a:pt x="156" y="630"/>
                  </a:lnTo>
                  <a:lnTo>
                    <a:pt x="159" y="631"/>
                  </a:lnTo>
                  <a:lnTo>
                    <a:pt x="162" y="632"/>
                  </a:lnTo>
                  <a:lnTo>
                    <a:pt x="167" y="631"/>
                  </a:lnTo>
                  <a:lnTo>
                    <a:pt x="170" y="630"/>
                  </a:lnTo>
                  <a:lnTo>
                    <a:pt x="173" y="627"/>
                  </a:lnTo>
                  <a:lnTo>
                    <a:pt x="175" y="623"/>
                  </a:lnTo>
                  <a:lnTo>
                    <a:pt x="176" y="620"/>
                  </a:lnTo>
                  <a:lnTo>
                    <a:pt x="177" y="617"/>
                  </a:lnTo>
                  <a:lnTo>
                    <a:pt x="177" y="615"/>
                  </a:lnTo>
                  <a:lnTo>
                    <a:pt x="176" y="612"/>
                  </a:lnTo>
                  <a:lnTo>
                    <a:pt x="175" y="609"/>
                  </a:lnTo>
                  <a:lnTo>
                    <a:pt x="173" y="606"/>
                  </a:lnTo>
                  <a:lnTo>
                    <a:pt x="171" y="604"/>
                  </a:lnTo>
                  <a:lnTo>
                    <a:pt x="169" y="6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4162969" y="3585983"/>
            <a:ext cx="335314" cy="335312"/>
            <a:chOff x="9893300" y="2497138"/>
            <a:chExt cx="276225" cy="276225"/>
          </a:xfrm>
          <a:solidFill>
            <a:schemeClr val="bg1"/>
          </a:solidFill>
        </p:grpSpPr>
        <p:sp>
          <p:nvSpPr>
            <p:cNvPr id="91" name="Freeform 3545"/>
            <p:cNvSpPr>
              <a:spLocks noEditPoints="1"/>
            </p:cNvSpPr>
            <p:nvPr/>
          </p:nvSpPr>
          <p:spPr bwMode="auto">
            <a:xfrm>
              <a:off x="9893300" y="2497138"/>
              <a:ext cx="228600" cy="220663"/>
            </a:xfrm>
            <a:custGeom>
              <a:avLst/>
              <a:gdLst>
                <a:gd name="T0" fmla="*/ 238 w 578"/>
                <a:gd name="T1" fmla="*/ 357 h 556"/>
                <a:gd name="T2" fmla="*/ 100 w 578"/>
                <a:gd name="T3" fmla="*/ 472 h 556"/>
                <a:gd name="T4" fmla="*/ 90 w 578"/>
                <a:gd name="T5" fmla="*/ 472 h 556"/>
                <a:gd name="T6" fmla="*/ 84 w 578"/>
                <a:gd name="T7" fmla="*/ 464 h 556"/>
                <a:gd name="T8" fmla="*/ 85 w 578"/>
                <a:gd name="T9" fmla="*/ 455 h 556"/>
                <a:gd name="T10" fmla="*/ 226 w 578"/>
                <a:gd name="T11" fmla="*/ 335 h 556"/>
                <a:gd name="T12" fmla="*/ 234 w 578"/>
                <a:gd name="T13" fmla="*/ 333 h 556"/>
                <a:gd name="T14" fmla="*/ 349 w 578"/>
                <a:gd name="T15" fmla="*/ 334 h 556"/>
                <a:gd name="T16" fmla="*/ 356 w 578"/>
                <a:gd name="T17" fmla="*/ 341 h 556"/>
                <a:gd name="T18" fmla="*/ 356 w 578"/>
                <a:gd name="T19" fmla="*/ 350 h 556"/>
                <a:gd name="T20" fmla="*/ 349 w 578"/>
                <a:gd name="T21" fmla="*/ 356 h 556"/>
                <a:gd name="T22" fmla="*/ 505 w 578"/>
                <a:gd name="T23" fmla="*/ 369 h 556"/>
                <a:gd name="T24" fmla="*/ 543 w 578"/>
                <a:gd name="T25" fmla="*/ 374 h 556"/>
                <a:gd name="T26" fmla="*/ 578 w 578"/>
                <a:gd name="T27" fmla="*/ 388 h 556"/>
                <a:gd name="T28" fmla="*/ 578 w 578"/>
                <a:gd name="T29" fmla="*/ 244 h 556"/>
                <a:gd name="T30" fmla="*/ 403 w 578"/>
                <a:gd name="T31" fmla="*/ 334 h 556"/>
                <a:gd name="T32" fmla="*/ 397 w 578"/>
                <a:gd name="T33" fmla="*/ 334 h 556"/>
                <a:gd name="T34" fmla="*/ 392 w 578"/>
                <a:gd name="T35" fmla="*/ 332 h 556"/>
                <a:gd name="T36" fmla="*/ 388 w 578"/>
                <a:gd name="T37" fmla="*/ 324 h 556"/>
                <a:gd name="T38" fmla="*/ 390 w 578"/>
                <a:gd name="T39" fmla="*/ 315 h 556"/>
                <a:gd name="T40" fmla="*/ 569 w 578"/>
                <a:gd name="T41" fmla="*/ 221 h 556"/>
                <a:gd name="T42" fmla="*/ 293 w 578"/>
                <a:gd name="T43" fmla="*/ 2 h 556"/>
                <a:gd name="T44" fmla="*/ 285 w 578"/>
                <a:gd name="T45" fmla="*/ 2 h 556"/>
                <a:gd name="T46" fmla="*/ 10 w 578"/>
                <a:gd name="T47" fmla="*/ 222 h 556"/>
                <a:gd name="T48" fmla="*/ 188 w 578"/>
                <a:gd name="T49" fmla="*/ 315 h 556"/>
                <a:gd name="T50" fmla="*/ 190 w 578"/>
                <a:gd name="T51" fmla="*/ 324 h 556"/>
                <a:gd name="T52" fmla="*/ 186 w 578"/>
                <a:gd name="T53" fmla="*/ 332 h 556"/>
                <a:gd name="T54" fmla="*/ 181 w 578"/>
                <a:gd name="T55" fmla="*/ 334 h 556"/>
                <a:gd name="T56" fmla="*/ 175 w 578"/>
                <a:gd name="T57" fmla="*/ 334 h 556"/>
                <a:gd name="T58" fmla="*/ 0 w 578"/>
                <a:gd name="T59" fmla="*/ 244 h 556"/>
                <a:gd name="T60" fmla="*/ 1 w 578"/>
                <a:gd name="T61" fmla="*/ 514 h 556"/>
                <a:gd name="T62" fmla="*/ 9 w 578"/>
                <a:gd name="T63" fmla="*/ 533 h 556"/>
                <a:gd name="T64" fmla="*/ 23 w 578"/>
                <a:gd name="T65" fmla="*/ 547 h 556"/>
                <a:gd name="T66" fmla="*/ 42 w 578"/>
                <a:gd name="T67" fmla="*/ 556 h 556"/>
                <a:gd name="T68" fmla="*/ 360 w 578"/>
                <a:gd name="T69" fmla="*/ 556 h 556"/>
                <a:gd name="T70" fmla="*/ 354 w 578"/>
                <a:gd name="T71" fmla="*/ 519 h 556"/>
                <a:gd name="T72" fmla="*/ 358 w 578"/>
                <a:gd name="T73" fmla="*/ 488 h 556"/>
                <a:gd name="T74" fmla="*/ 367 w 578"/>
                <a:gd name="T75" fmla="*/ 461 h 556"/>
                <a:gd name="T76" fmla="*/ 380 w 578"/>
                <a:gd name="T77" fmla="*/ 436 h 556"/>
                <a:gd name="T78" fmla="*/ 399 w 578"/>
                <a:gd name="T79" fmla="*/ 412 h 556"/>
                <a:gd name="T80" fmla="*/ 421 w 578"/>
                <a:gd name="T81" fmla="*/ 395 h 556"/>
                <a:gd name="T82" fmla="*/ 447 w 578"/>
                <a:gd name="T83" fmla="*/ 380 h 556"/>
                <a:gd name="T84" fmla="*/ 475 w 578"/>
                <a:gd name="T85" fmla="*/ 371 h 556"/>
                <a:gd name="T86" fmla="*/ 505 w 578"/>
                <a:gd name="T87" fmla="*/ 369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78" h="556">
                  <a:moveTo>
                    <a:pt x="344" y="357"/>
                  </a:moveTo>
                  <a:lnTo>
                    <a:pt x="238" y="357"/>
                  </a:lnTo>
                  <a:lnTo>
                    <a:pt x="103" y="469"/>
                  </a:lnTo>
                  <a:lnTo>
                    <a:pt x="100" y="472"/>
                  </a:lnTo>
                  <a:lnTo>
                    <a:pt x="95" y="472"/>
                  </a:lnTo>
                  <a:lnTo>
                    <a:pt x="90" y="472"/>
                  </a:lnTo>
                  <a:lnTo>
                    <a:pt x="86" y="468"/>
                  </a:lnTo>
                  <a:lnTo>
                    <a:pt x="84" y="464"/>
                  </a:lnTo>
                  <a:lnTo>
                    <a:pt x="84" y="459"/>
                  </a:lnTo>
                  <a:lnTo>
                    <a:pt x="85" y="455"/>
                  </a:lnTo>
                  <a:lnTo>
                    <a:pt x="87" y="451"/>
                  </a:lnTo>
                  <a:lnTo>
                    <a:pt x="226" y="335"/>
                  </a:lnTo>
                  <a:lnTo>
                    <a:pt x="230" y="334"/>
                  </a:lnTo>
                  <a:lnTo>
                    <a:pt x="234" y="333"/>
                  </a:lnTo>
                  <a:lnTo>
                    <a:pt x="344" y="333"/>
                  </a:lnTo>
                  <a:lnTo>
                    <a:pt x="349" y="334"/>
                  </a:lnTo>
                  <a:lnTo>
                    <a:pt x="353" y="337"/>
                  </a:lnTo>
                  <a:lnTo>
                    <a:pt x="356" y="341"/>
                  </a:lnTo>
                  <a:lnTo>
                    <a:pt x="357" y="346"/>
                  </a:lnTo>
                  <a:lnTo>
                    <a:pt x="356" y="350"/>
                  </a:lnTo>
                  <a:lnTo>
                    <a:pt x="353" y="353"/>
                  </a:lnTo>
                  <a:lnTo>
                    <a:pt x="349" y="356"/>
                  </a:lnTo>
                  <a:lnTo>
                    <a:pt x="344" y="357"/>
                  </a:lnTo>
                  <a:close/>
                  <a:moveTo>
                    <a:pt x="505" y="369"/>
                  </a:moveTo>
                  <a:lnTo>
                    <a:pt x="525" y="370"/>
                  </a:lnTo>
                  <a:lnTo>
                    <a:pt x="543" y="374"/>
                  </a:lnTo>
                  <a:lnTo>
                    <a:pt x="561" y="379"/>
                  </a:lnTo>
                  <a:lnTo>
                    <a:pt x="578" y="388"/>
                  </a:lnTo>
                  <a:lnTo>
                    <a:pt x="578" y="346"/>
                  </a:lnTo>
                  <a:lnTo>
                    <a:pt x="578" y="244"/>
                  </a:lnTo>
                  <a:lnTo>
                    <a:pt x="406" y="334"/>
                  </a:lnTo>
                  <a:lnTo>
                    <a:pt x="403" y="334"/>
                  </a:lnTo>
                  <a:lnTo>
                    <a:pt x="399" y="335"/>
                  </a:lnTo>
                  <a:lnTo>
                    <a:pt x="397" y="334"/>
                  </a:lnTo>
                  <a:lnTo>
                    <a:pt x="394" y="333"/>
                  </a:lnTo>
                  <a:lnTo>
                    <a:pt x="392" y="332"/>
                  </a:lnTo>
                  <a:lnTo>
                    <a:pt x="389" y="329"/>
                  </a:lnTo>
                  <a:lnTo>
                    <a:pt x="388" y="324"/>
                  </a:lnTo>
                  <a:lnTo>
                    <a:pt x="388" y="320"/>
                  </a:lnTo>
                  <a:lnTo>
                    <a:pt x="390" y="315"/>
                  </a:lnTo>
                  <a:lnTo>
                    <a:pt x="394" y="312"/>
                  </a:lnTo>
                  <a:lnTo>
                    <a:pt x="569" y="221"/>
                  </a:lnTo>
                  <a:lnTo>
                    <a:pt x="297" y="3"/>
                  </a:lnTo>
                  <a:lnTo>
                    <a:pt x="293" y="2"/>
                  </a:lnTo>
                  <a:lnTo>
                    <a:pt x="289" y="0"/>
                  </a:lnTo>
                  <a:lnTo>
                    <a:pt x="285" y="2"/>
                  </a:lnTo>
                  <a:lnTo>
                    <a:pt x="281" y="3"/>
                  </a:lnTo>
                  <a:lnTo>
                    <a:pt x="10" y="222"/>
                  </a:lnTo>
                  <a:lnTo>
                    <a:pt x="184" y="312"/>
                  </a:lnTo>
                  <a:lnTo>
                    <a:pt x="188" y="315"/>
                  </a:lnTo>
                  <a:lnTo>
                    <a:pt x="190" y="320"/>
                  </a:lnTo>
                  <a:lnTo>
                    <a:pt x="190" y="324"/>
                  </a:lnTo>
                  <a:lnTo>
                    <a:pt x="189" y="329"/>
                  </a:lnTo>
                  <a:lnTo>
                    <a:pt x="186" y="332"/>
                  </a:lnTo>
                  <a:lnTo>
                    <a:pt x="184" y="333"/>
                  </a:lnTo>
                  <a:lnTo>
                    <a:pt x="181" y="334"/>
                  </a:lnTo>
                  <a:lnTo>
                    <a:pt x="179" y="335"/>
                  </a:lnTo>
                  <a:lnTo>
                    <a:pt x="175" y="334"/>
                  </a:lnTo>
                  <a:lnTo>
                    <a:pt x="172" y="334"/>
                  </a:lnTo>
                  <a:lnTo>
                    <a:pt x="0" y="244"/>
                  </a:lnTo>
                  <a:lnTo>
                    <a:pt x="0" y="502"/>
                  </a:lnTo>
                  <a:lnTo>
                    <a:pt x="1" y="514"/>
                  </a:lnTo>
                  <a:lnTo>
                    <a:pt x="4" y="524"/>
                  </a:lnTo>
                  <a:lnTo>
                    <a:pt x="9" y="533"/>
                  </a:lnTo>
                  <a:lnTo>
                    <a:pt x="15" y="541"/>
                  </a:lnTo>
                  <a:lnTo>
                    <a:pt x="23" y="547"/>
                  </a:lnTo>
                  <a:lnTo>
                    <a:pt x="32" y="552"/>
                  </a:lnTo>
                  <a:lnTo>
                    <a:pt x="42" y="556"/>
                  </a:lnTo>
                  <a:lnTo>
                    <a:pt x="54" y="556"/>
                  </a:lnTo>
                  <a:lnTo>
                    <a:pt x="360" y="556"/>
                  </a:lnTo>
                  <a:lnTo>
                    <a:pt x="356" y="538"/>
                  </a:lnTo>
                  <a:lnTo>
                    <a:pt x="354" y="519"/>
                  </a:lnTo>
                  <a:lnTo>
                    <a:pt x="356" y="504"/>
                  </a:lnTo>
                  <a:lnTo>
                    <a:pt x="358" y="488"/>
                  </a:lnTo>
                  <a:lnTo>
                    <a:pt x="362" y="474"/>
                  </a:lnTo>
                  <a:lnTo>
                    <a:pt x="367" y="461"/>
                  </a:lnTo>
                  <a:lnTo>
                    <a:pt x="374" y="447"/>
                  </a:lnTo>
                  <a:lnTo>
                    <a:pt x="380" y="436"/>
                  </a:lnTo>
                  <a:lnTo>
                    <a:pt x="389" y="424"/>
                  </a:lnTo>
                  <a:lnTo>
                    <a:pt x="399" y="412"/>
                  </a:lnTo>
                  <a:lnTo>
                    <a:pt x="410" y="403"/>
                  </a:lnTo>
                  <a:lnTo>
                    <a:pt x="421" y="395"/>
                  </a:lnTo>
                  <a:lnTo>
                    <a:pt x="434" y="387"/>
                  </a:lnTo>
                  <a:lnTo>
                    <a:pt x="447" y="380"/>
                  </a:lnTo>
                  <a:lnTo>
                    <a:pt x="461" y="375"/>
                  </a:lnTo>
                  <a:lnTo>
                    <a:pt x="475" y="371"/>
                  </a:lnTo>
                  <a:lnTo>
                    <a:pt x="489" y="370"/>
                  </a:lnTo>
                  <a:lnTo>
                    <a:pt x="505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546"/>
            <p:cNvSpPr>
              <a:spLocks noEditPoints="1"/>
            </p:cNvSpPr>
            <p:nvPr/>
          </p:nvSpPr>
          <p:spPr bwMode="auto">
            <a:xfrm>
              <a:off x="10040938" y="2649538"/>
              <a:ext cx="128587" cy="123825"/>
            </a:xfrm>
            <a:custGeom>
              <a:avLst/>
              <a:gdLst>
                <a:gd name="T0" fmla="*/ 111 w 325"/>
                <a:gd name="T1" fmla="*/ 237 h 312"/>
                <a:gd name="T2" fmla="*/ 81 w 325"/>
                <a:gd name="T3" fmla="*/ 227 h 312"/>
                <a:gd name="T4" fmla="*/ 57 w 325"/>
                <a:gd name="T5" fmla="*/ 208 h 312"/>
                <a:gd name="T6" fmla="*/ 38 w 325"/>
                <a:gd name="T7" fmla="*/ 183 h 312"/>
                <a:gd name="T8" fmla="*/ 27 w 325"/>
                <a:gd name="T9" fmla="*/ 154 h 312"/>
                <a:gd name="T10" fmla="*/ 26 w 325"/>
                <a:gd name="T11" fmla="*/ 121 h 312"/>
                <a:gd name="T12" fmla="*/ 34 w 325"/>
                <a:gd name="T13" fmla="*/ 90 h 312"/>
                <a:gd name="T14" fmla="*/ 49 w 325"/>
                <a:gd name="T15" fmla="*/ 63 h 312"/>
                <a:gd name="T16" fmla="*/ 72 w 325"/>
                <a:gd name="T17" fmla="*/ 42 h 312"/>
                <a:gd name="T18" fmla="*/ 101 w 325"/>
                <a:gd name="T19" fmla="*/ 29 h 312"/>
                <a:gd name="T20" fmla="*/ 133 w 325"/>
                <a:gd name="T21" fmla="*/ 24 h 312"/>
                <a:gd name="T22" fmla="*/ 165 w 325"/>
                <a:gd name="T23" fmla="*/ 29 h 312"/>
                <a:gd name="T24" fmla="*/ 193 w 325"/>
                <a:gd name="T25" fmla="*/ 42 h 312"/>
                <a:gd name="T26" fmla="*/ 216 w 325"/>
                <a:gd name="T27" fmla="*/ 63 h 312"/>
                <a:gd name="T28" fmla="*/ 233 w 325"/>
                <a:gd name="T29" fmla="*/ 90 h 312"/>
                <a:gd name="T30" fmla="*/ 241 w 325"/>
                <a:gd name="T31" fmla="*/ 121 h 312"/>
                <a:gd name="T32" fmla="*/ 239 w 325"/>
                <a:gd name="T33" fmla="*/ 154 h 312"/>
                <a:gd name="T34" fmla="*/ 228 w 325"/>
                <a:gd name="T35" fmla="*/ 183 h 312"/>
                <a:gd name="T36" fmla="*/ 210 w 325"/>
                <a:gd name="T37" fmla="*/ 209 h 312"/>
                <a:gd name="T38" fmla="*/ 185 w 325"/>
                <a:gd name="T39" fmla="*/ 227 h 312"/>
                <a:gd name="T40" fmla="*/ 155 w 325"/>
                <a:gd name="T41" fmla="*/ 237 h 312"/>
                <a:gd name="T42" fmla="*/ 322 w 325"/>
                <a:gd name="T43" fmla="*/ 291 h 312"/>
                <a:gd name="T44" fmla="*/ 246 w 325"/>
                <a:gd name="T45" fmla="*/ 201 h 312"/>
                <a:gd name="T46" fmla="*/ 259 w 325"/>
                <a:gd name="T47" fmla="*/ 173 h 312"/>
                <a:gd name="T48" fmla="*/ 265 w 325"/>
                <a:gd name="T49" fmla="*/ 142 h 312"/>
                <a:gd name="T50" fmla="*/ 262 w 325"/>
                <a:gd name="T51" fmla="*/ 105 h 312"/>
                <a:gd name="T52" fmla="*/ 250 w 325"/>
                <a:gd name="T53" fmla="*/ 69 h 312"/>
                <a:gd name="T54" fmla="*/ 227 w 325"/>
                <a:gd name="T55" fmla="*/ 38 h 312"/>
                <a:gd name="T56" fmla="*/ 196 w 325"/>
                <a:gd name="T57" fmla="*/ 15 h 312"/>
                <a:gd name="T58" fmla="*/ 160 w 325"/>
                <a:gd name="T59" fmla="*/ 2 h 312"/>
                <a:gd name="T60" fmla="*/ 120 w 325"/>
                <a:gd name="T61" fmla="*/ 1 h 312"/>
                <a:gd name="T62" fmla="*/ 81 w 325"/>
                <a:gd name="T63" fmla="*/ 10 h 312"/>
                <a:gd name="T64" fmla="*/ 49 w 325"/>
                <a:gd name="T65" fmla="*/ 31 h 312"/>
                <a:gd name="T66" fmla="*/ 24 w 325"/>
                <a:gd name="T67" fmla="*/ 58 h 312"/>
                <a:gd name="T68" fmla="*/ 7 w 325"/>
                <a:gd name="T69" fmla="*/ 92 h 312"/>
                <a:gd name="T70" fmla="*/ 0 w 325"/>
                <a:gd name="T71" fmla="*/ 132 h 312"/>
                <a:gd name="T72" fmla="*/ 7 w 325"/>
                <a:gd name="T73" fmla="*/ 172 h 312"/>
                <a:gd name="T74" fmla="*/ 24 w 325"/>
                <a:gd name="T75" fmla="*/ 205 h 312"/>
                <a:gd name="T76" fmla="*/ 49 w 325"/>
                <a:gd name="T77" fmla="*/ 234 h 312"/>
                <a:gd name="T78" fmla="*/ 81 w 325"/>
                <a:gd name="T79" fmla="*/ 254 h 312"/>
                <a:gd name="T80" fmla="*/ 120 w 325"/>
                <a:gd name="T81" fmla="*/ 263 h 312"/>
                <a:gd name="T82" fmla="*/ 158 w 325"/>
                <a:gd name="T83" fmla="*/ 262 h 312"/>
                <a:gd name="T84" fmla="*/ 194 w 325"/>
                <a:gd name="T85" fmla="*/ 249 h 312"/>
                <a:gd name="T86" fmla="*/ 224 w 325"/>
                <a:gd name="T87" fmla="*/ 228 h 312"/>
                <a:gd name="T88" fmla="*/ 309 w 325"/>
                <a:gd name="T89" fmla="*/ 312 h 312"/>
                <a:gd name="T90" fmla="*/ 322 w 325"/>
                <a:gd name="T91" fmla="*/ 309 h 312"/>
                <a:gd name="T92" fmla="*/ 324 w 325"/>
                <a:gd name="T93" fmla="*/ 29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5" h="312">
                  <a:moveTo>
                    <a:pt x="133" y="240"/>
                  </a:moveTo>
                  <a:lnTo>
                    <a:pt x="122" y="240"/>
                  </a:lnTo>
                  <a:lnTo>
                    <a:pt x="111" y="237"/>
                  </a:lnTo>
                  <a:lnTo>
                    <a:pt x="101" y="235"/>
                  </a:lnTo>
                  <a:lnTo>
                    <a:pt x="92" y="232"/>
                  </a:lnTo>
                  <a:lnTo>
                    <a:pt x="81" y="227"/>
                  </a:lnTo>
                  <a:lnTo>
                    <a:pt x="72" y="222"/>
                  </a:lnTo>
                  <a:lnTo>
                    <a:pt x="65" y="216"/>
                  </a:lnTo>
                  <a:lnTo>
                    <a:pt x="57" y="208"/>
                  </a:lnTo>
                  <a:lnTo>
                    <a:pt x="49" y="201"/>
                  </a:lnTo>
                  <a:lnTo>
                    <a:pt x="44" y="192"/>
                  </a:lnTo>
                  <a:lnTo>
                    <a:pt x="38" y="183"/>
                  </a:lnTo>
                  <a:lnTo>
                    <a:pt x="34" y="174"/>
                  </a:lnTo>
                  <a:lnTo>
                    <a:pt x="30" y="164"/>
                  </a:lnTo>
                  <a:lnTo>
                    <a:pt x="27" y="154"/>
                  </a:lnTo>
                  <a:lnTo>
                    <a:pt x="26" y="144"/>
                  </a:lnTo>
                  <a:lnTo>
                    <a:pt x="25" y="132"/>
                  </a:lnTo>
                  <a:lnTo>
                    <a:pt x="26" y="121"/>
                  </a:lnTo>
                  <a:lnTo>
                    <a:pt x="27" y="110"/>
                  </a:lnTo>
                  <a:lnTo>
                    <a:pt x="30" y="100"/>
                  </a:lnTo>
                  <a:lnTo>
                    <a:pt x="34" y="90"/>
                  </a:lnTo>
                  <a:lnTo>
                    <a:pt x="38" y="81"/>
                  </a:lnTo>
                  <a:lnTo>
                    <a:pt x="44" y="72"/>
                  </a:lnTo>
                  <a:lnTo>
                    <a:pt x="49" y="63"/>
                  </a:lnTo>
                  <a:lnTo>
                    <a:pt x="57" y="55"/>
                  </a:lnTo>
                  <a:lnTo>
                    <a:pt x="65" y="49"/>
                  </a:lnTo>
                  <a:lnTo>
                    <a:pt x="72" y="42"/>
                  </a:lnTo>
                  <a:lnTo>
                    <a:pt x="81" y="37"/>
                  </a:lnTo>
                  <a:lnTo>
                    <a:pt x="92" y="32"/>
                  </a:lnTo>
                  <a:lnTo>
                    <a:pt x="101" y="29"/>
                  </a:lnTo>
                  <a:lnTo>
                    <a:pt x="111" y="25"/>
                  </a:lnTo>
                  <a:lnTo>
                    <a:pt x="122" y="24"/>
                  </a:lnTo>
                  <a:lnTo>
                    <a:pt x="133" y="24"/>
                  </a:lnTo>
                  <a:lnTo>
                    <a:pt x="144" y="24"/>
                  </a:lnTo>
                  <a:lnTo>
                    <a:pt x="155" y="25"/>
                  </a:lnTo>
                  <a:lnTo>
                    <a:pt x="165" y="29"/>
                  </a:lnTo>
                  <a:lnTo>
                    <a:pt x="175" y="32"/>
                  </a:lnTo>
                  <a:lnTo>
                    <a:pt x="185" y="37"/>
                  </a:lnTo>
                  <a:lnTo>
                    <a:pt x="193" y="42"/>
                  </a:lnTo>
                  <a:lnTo>
                    <a:pt x="202" y="49"/>
                  </a:lnTo>
                  <a:lnTo>
                    <a:pt x="210" y="55"/>
                  </a:lnTo>
                  <a:lnTo>
                    <a:pt x="216" y="63"/>
                  </a:lnTo>
                  <a:lnTo>
                    <a:pt x="223" y="72"/>
                  </a:lnTo>
                  <a:lnTo>
                    <a:pt x="228" y="81"/>
                  </a:lnTo>
                  <a:lnTo>
                    <a:pt x="233" y="90"/>
                  </a:lnTo>
                  <a:lnTo>
                    <a:pt x="237" y="100"/>
                  </a:lnTo>
                  <a:lnTo>
                    <a:pt x="239" y="110"/>
                  </a:lnTo>
                  <a:lnTo>
                    <a:pt x="241" y="121"/>
                  </a:lnTo>
                  <a:lnTo>
                    <a:pt x="242" y="132"/>
                  </a:lnTo>
                  <a:lnTo>
                    <a:pt x="241" y="144"/>
                  </a:lnTo>
                  <a:lnTo>
                    <a:pt x="239" y="154"/>
                  </a:lnTo>
                  <a:lnTo>
                    <a:pt x="237" y="164"/>
                  </a:lnTo>
                  <a:lnTo>
                    <a:pt x="233" y="174"/>
                  </a:lnTo>
                  <a:lnTo>
                    <a:pt x="228" y="183"/>
                  </a:lnTo>
                  <a:lnTo>
                    <a:pt x="223" y="192"/>
                  </a:lnTo>
                  <a:lnTo>
                    <a:pt x="216" y="201"/>
                  </a:lnTo>
                  <a:lnTo>
                    <a:pt x="210" y="209"/>
                  </a:lnTo>
                  <a:lnTo>
                    <a:pt x="202" y="216"/>
                  </a:lnTo>
                  <a:lnTo>
                    <a:pt x="193" y="222"/>
                  </a:lnTo>
                  <a:lnTo>
                    <a:pt x="185" y="227"/>
                  </a:lnTo>
                  <a:lnTo>
                    <a:pt x="175" y="232"/>
                  </a:lnTo>
                  <a:lnTo>
                    <a:pt x="165" y="235"/>
                  </a:lnTo>
                  <a:lnTo>
                    <a:pt x="155" y="237"/>
                  </a:lnTo>
                  <a:lnTo>
                    <a:pt x="144" y="240"/>
                  </a:lnTo>
                  <a:lnTo>
                    <a:pt x="133" y="240"/>
                  </a:lnTo>
                  <a:close/>
                  <a:moveTo>
                    <a:pt x="322" y="291"/>
                  </a:moveTo>
                  <a:lnTo>
                    <a:pt x="253" y="222"/>
                  </a:lnTo>
                  <a:lnTo>
                    <a:pt x="241" y="209"/>
                  </a:lnTo>
                  <a:lnTo>
                    <a:pt x="246" y="201"/>
                  </a:lnTo>
                  <a:lnTo>
                    <a:pt x="251" y="192"/>
                  </a:lnTo>
                  <a:lnTo>
                    <a:pt x="255" y="183"/>
                  </a:lnTo>
                  <a:lnTo>
                    <a:pt x="259" y="173"/>
                  </a:lnTo>
                  <a:lnTo>
                    <a:pt x="261" y="164"/>
                  </a:lnTo>
                  <a:lnTo>
                    <a:pt x="264" y="154"/>
                  </a:lnTo>
                  <a:lnTo>
                    <a:pt x="265" y="142"/>
                  </a:lnTo>
                  <a:lnTo>
                    <a:pt x="265" y="132"/>
                  </a:lnTo>
                  <a:lnTo>
                    <a:pt x="265" y="118"/>
                  </a:lnTo>
                  <a:lnTo>
                    <a:pt x="262" y="105"/>
                  </a:lnTo>
                  <a:lnTo>
                    <a:pt x="260" y="92"/>
                  </a:lnTo>
                  <a:lnTo>
                    <a:pt x="255" y="81"/>
                  </a:lnTo>
                  <a:lnTo>
                    <a:pt x="250" y="69"/>
                  </a:lnTo>
                  <a:lnTo>
                    <a:pt x="243" y="58"/>
                  </a:lnTo>
                  <a:lnTo>
                    <a:pt x="235" y="49"/>
                  </a:lnTo>
                  <a:lnTo>
                    <a:pt x="227" y="38"/>
                  </a:lnTo>
                  <a:lnTo>
                    <a:pt x="218" y="31"/>
                  </a:lnTo>
                  <a:lnTo>
                    <a:pt x="207" y="23"/>
                  </a:lnTo>
                  <a:lnTo>
                    <a:pt x="196" y="15"/>
                  </a:lnTo>
                  <a:lnTo>
                    <a:pt x="184" y="10"/>
                  </a:lnTo>
                  <a:lnTo>
                    <a:pt x="173" y="6"/>
                  </a:lnTo>
                  <a:lnTo>
                    <a:pt x="160" y="2"/>
                  </a:lnTo>
                  <a:lnTo>
                    <a:pt x="147" y="1"/>
                  </a:lnTo>
                  <a:lnTo>
                    <a:pt x="133" y="0"/>
                  </a:lnTo>
                  <a:lnTo>
                    <a:pt x="120" y="1"/>
                  </a:lnTo>
                  <a:lnTo>
                    <a:pt x="107" y="2"/>
                  </a:lnTo>
                  <a:lnTo>
                    <a:pt x="94" y="6"/>
                  </a:lnTo>
                  <a:lnTo>
                    <a:pt x="81" y="10"/>
                  </a:lnTo>
                  <a:lnTo>
                    <a:pt x="70" y="15"/>
                  </a:lnTo>
                  <a:lnTo>
                    <a:pt x="60" y="23"/>
                  </a:lnTo>
                  <a:lnTo>
                    <a:pt x="49" y="31"/>
                  </a:lnTo>
                  <a:lnTo>
                    <a:pt x="40" y="38"/>
                  </a:lnTo>
                  <a:lnTo>
                    <a:pt x="31" y="49"/>
                  </a:lnTo>
                  <a:lnTo>
                    <a:pt x="24" y="58"/>
                  </a:lnTo>
                  <a:lnTo>
                    <a:pt x="17" y="69"/>
                  </a:lnTo>
                  <a:lnTo>
                    <a:pt x="12" y="81"/>
                  </a:lnTo>
                  <a:lnTo>
                    <a:pt x="7" y="92"/>
                  </a:lnTo>
                  <a:lnTo>
                    <a:pt x="4" y="105"/>
                  </a:lnTo>
                  <a:lnTo>
                    <a:pt x="2" y="118"/>
                  </a:lnTo>
                  <a:lnTo>
                    <a:pt x="0" y="132"/>
                  </a:lnTo>
                  <a:lnTo>
                    <a:pt x="2" y="145"/>
                  </a:lnTo>
                  <a:lnTo>
                    <a:pt x="4" y="159"/>
                  </a:lnTo>
                  <a:lnTo>
                    <a:pt x="7" y="172"/>
                  </a:lnTo>
                  <a:lnTo>
                    <a:pt x="12" y="183"/>
                  </a:lnTo>
                  <a:lnTo>
                    <a:pt x="17" y="195"/>
                  </a:lnTo>
                  <a:lnTo>
                    <a:pt x="24" y="205"/>
                  </a:lnTo>
                  <a:lnTo>
                    <a:pt x="31" y="216"/>
                  </a:lnTo>
                  <a:lnTo>
                    <a:pt x="40" y="226"/>
                  </a:lnTo>
                  <a:lnTo>
                    <a:pt x="49" y="234"/>
                  </a:lnTo>
                  <a:lnTo>
                    <a:pt x="60" y="241"/>
                  </a:lnTo>
                  <a:lnTo>
                    <a:pt x="70" y="248"/>
                  </a:lnTo>
                  <a:lnTo>
                    <a:pt x="81" y="254"/>
                  </a:lnTo>
                  <a:lnTo>
                    <a:pt x="94" y="258"/>
                  </a:lnTo>
                  <a:lnTo>
                    <a:pt x="107" y="262"/>
                  </a:lnTo>
                  <a:lnTo>
                    <a:pt x="120" y="263"/>
                  </a:lnTo>
                  <a:lnTo>
                    <a:pt x="133" y="264"/>
                  </a:lnTo>
                  <a:lnTo>
                    <a:pt x="147" y="263"/>
                  </a:lnTo>
                  <a:lnTo>
                    <a:pt x="158" y="262"/>
                  </a:lnTo>
                  <a:lnTo>
                    <a:pt x="171" y="259"/>
                  </a:lnTo>
                  <a:lnTo>
                    <a:pt x="183" y="254"/>
                  </a:lnTo>
                  <a:lnTo>
                    <a:pt x="194" y="249"/>
                  </a:lnTo>
                  <a:lnTo>
                    <a:pt x="205" y="243"/>
                  </a:lnTo>
                  <a:lnTo>
                    <a:pt x="215" y="236"/>
                  </a:lnTo>
                  <a:lnTo>
                    <a:pt x="224" y="228"/>
                  </a:lnTo>
                  <a:lnTo>
                    <a:pt x="237" y="240"/>
                  </a:lnTo>
                  <a:lnTo>
                    <a:pt x="305" y="309"/>
                  </a:lnTo>
                  <a:lnTo>
                    <a:pt x="309" y="312"/>
                  </a:lnTo>
                  <a:lnTo>
                    <a:pt x="314" y="312"/>
                  </a:lnTo>
                  <a:lnTo>
                    <a:pt x="318" y="312"/>
                  </a:lnTo>
                  <a:lnTo>
                    <a:pt x="322" y="309"/>
                  </a:lnTo>
                  <a:lnTo>
                    <a:pt x="324" y="304"/>
                  </a:lnTo>
                  <a:lnTo>
                    <a:pt x="325" y="300"/>
                  </a:lnTo>
                  <a:lnTo>
                    <a:pt x="324" y="295"/>
                  </a:lnTo>
                  <a:lnTo>
                    <a:pt x="322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3459169" y="5265943"/>
            <a:ext cx="314114" cy="333386"/>
            <a:chOff x="887413" y="779463"/>
            <a:chExt cx="258762" cy="274638"/>
          </a:xfrm>
          <a:solidFill>
            <a:schemeClr val="bg1"/>
          </a:solidFill>
        </p:grpSpPr>
        <p:sp>
          <p:nvSpPr>
            <p:cNvPr id="94" name="Freeform 596"/>
            <p:cNvSpPr>
              <a:spLocks/>
            </p:cNvSpPr>
            <p:nvPr/>
          </p:nvSpPr>
          <p:spPr bwMode="auto">
            <a:xfrm>
              <a:off x="1022350" y="798513"/>
              <a:ext cx="123825" cy="255588"/>
            </a:xfrm>
            <a:custGeom>
              <a:avLst/>
              <a:gdLst>
                <a:gd name="T0" fmla="*/ 385 w 391"/>
                <a:gd name="T1" fmla="*/ 2 h 807"/>
                <a:gd name="T2" fmla="*/ 381 w 391"/>
                <a:gd name="T3" fmla="*/ 0 h 807"/>
                <a:gd name="T4" fmla="*/ 377 w 391"/>
                <a:gd name="T5" fmla="*/ 0 h 807"/>
                <a:gd name="T6" fmla="*/ 374 w 391"/>
                <a:gd name="T7" fmla="*/ 0 h 807"/>
                <a:gd name="T8" fmla="*/ 370 w 391"/>
                <a:gd name="T9" fmla="*/ 1 h 807"/>
                <a:gd name="T10" fmla="*/ 0 w 391"/>
                <a:gd name="T11" fmla="*/ 172 h 807"/>
                <a:gd name="T12" fmla="*/ 0 w 391"/>
                <a:gd name="T13" fmla="*/ 807 h 807"/>
                <a:gd name="T14" fmla="*/ 382 w 391"/>
                <a:gd name="T15" fmla="*/ 615 h 807"/>
                <a:gd name="T16" fmla="*/ 387 w 391"/>
                <a:gd name="T17" fmla="*/ 613 h 807"/>
                <a:gd name="T18" fmla="*/ 389 w 391"/>
                <a:gd name="T19" fmla="*/ 609 h 807"/>
                <a:gd name="T20" fmla="*/ 391 w 391"/>
                <a:gd name="T21" fmla="*/ 606 h 807"/>
                <a:gd name="T22" fmla="*/ 391 w 391"/>
                <a:gd name="T23" fmla="*/ 602 h 807"/>
                <a:gd name="T24" fmla="*/ 391 w 391"/>
                <a:gd name="T25" fmla="*/ 15 h 807"/>
                <a:gd name="T26" fmla="*/ 391 w 391"/>
                <a:gd name="T27" fmla="*/ 11 h 807"/>
                <a:gd name="T28" fmla="*/ 389 w 391"/>
                <a:gd name="T29" fmla="*/ 8 h 807"/>
                <a:gd name="T30" fmla="*/ 387 w 391"/>
                <a:gd name="T31" fmla="*/ 4 h 807"/>
                <a:gd name="T32" fmla="*/ 385 w 391"/>
                <a:gd name="T33" fmla="*/ 2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1" h="807">
                  <a:moveTo>
                    <a:pt x="385" y="2"/>
                  </a:moveTo>
                  <a:lnTo>
                    <a:pt x="381" y="0"/>
                  </a:lnTo>
                  <a:lnTo>
                    <a:pt x="377" y="0"/>
                  </a:lnTo>
                  <a:lnTo>
                    <a:pt x="374" y="0"/>
                  </a:lnTo>
                  <a:lnTo>
                    <a:pt x="370" y="1"/>
                  </a:lnTo>
                  <a:lnTo>
                    <a:pt x="0" y="172"/>
                  </a:lnTo>
                  <a:lnTo>
                    <a:pt x="0" y="807"/>
                  </a:lnTo>
                  <a:lnTo>
                    <a:pt x="382" y="615"/>
                  </a:lnTo>
                  <a:lnTo>
                    <a:pt x="387" y="613"/>
                  </a:lnTo>
                  <a:lnTo>
                    <a:pt x="389" y="609"/>
                  </a:lnTo>
                  <a:lnTo>
                    <a:pt x="391" y="606"/>
                  </a:lnTo>
                  <a:lnTo>
                    <a:pt x="391" y="602"/>
                  </a:lnTo>
                  <a:lnTo>
                    <a:pt x="391" y="15"/>
                  </a:lnTo>
                  <a:lnTo>
                    <a:pt x="391" y="11"/>
                  </a:lnTo>
                  <a:lnTo>
                    <a:pt x="389" y="8"/>
                  </a:lnTo>
                  <a:lnTo>
                    <a:pt x="387" y="4"/>
                  </a:lnTo>
                  <a:lnTo>
                    <a:pt x="38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97"/>
            <p:cNvSpPr>
              <a:spLocks/>
            </p:cNvSpPr>
            <p:nvPr/>
          </p:nvSpPr>
          <p:spPr bwMode="auto">
            <a:xfrm>
              <a:off x="887413" y="798513"/>
              <a:ext cx="125413" cy="255588"/>
            </a:xfrm>
            <a:custGeom>
              <a:avLst/>
              <a:gdLst>
                <a:gd name="T0" fmla="*/ 8 w 392"/>
                <a:gd name="T1" fmla="*/ 2 h 807"/>
                <a:gd name="T2" fmla="*/ 4 w 392"/>
                <a:gd name="T3" fmla="*/ 4 h 807"/>
                <a:gd name="T4" fmla="*/ 2 w 392"/>
                <a:gd name="T5" fmla="*/ 8 h 807"/>
                <a:gd name="T6" fmla="*/ 1 w 392"/>
                <a:gd name="T7" fmla="*/ 11 h 807"/>
                <a:gd name="T8" fmla="*/ 0 w 392"/>
                <a:gd name="T9" fmla="*/ 15 h 807"/>
                <a:gd name="T10" fmla="*/ 0 w 392"/>
                <a:gd name="T11" fmla="*/ 602 h 807"/>
                <a:gd name="T12" fmla="*/ 1 w 392"/>
                <a:gd name="T13" fmla="*/ 606 h 807"/>
                <a:gd name="T14" fmla="*/ 2 w 392"/>
                <a:gd name="T15" fmla="*/ 609 h 807"/>
                <a:gd name="T16" fmla="*/ 5 w 392"/>
                <a:gd name="T17" fmla="*/ 613 h 807"/>
                <a:gd name="T18" fmla="*/ 9 w 392"/>
                <a:gd name="T19" fmla="*/ 615 h 807"/>
                <a:gd name="T20" fmla="*/ 392 w 392"/>
                <a:gd name="T21" fmla="*/ 807 h 807"/>
                <a:gd name="T22" fmla="*/ 392 w 392"/>
                <a:gd name="T23" fmla="*/ 172 h 807"/>
                <a:gd name="T24" fmla="*/ 22 w 392"/>
                <a:gd name="T25" fmla="*/ 1 h 807"/>
                <a:gd name="T26" fmla="*/ 18 w 392"/>
                <a:gd name="T27" fmla="*/ 0 h 807"/>
                <a:gd name="T28" fmla="*/ 14 w 392"/>
                <a:gd name="T29" fmla="*/ 0 h 807"/>
                <a:gd name="T30" fmla="*/ 11 w 392"/>
                <a:gd name="T31" fmla="*/ 0 h 807"/>
                <a:gd name="T32" fmla="*/ 8 w 392"/>
                <a:gd name="T33" fmla="*/ 2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2" h="807">
                  <a:moveTo>
                    <a:pt x="8" y="2"/>
                  </a:moveTo>
                  <a:lnTo>
                    <a:pt x="4" y="4"/>
                  </a:lnTo>
                  <a:lnTo>
                    <a:pt x="2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602"/>
                  </a:lnTo>
                  <a:lnTo>
                    <a:pt x="1" y="606"/>
                  </a:lnTo>
                  <a:lnTo>
                    <a:pt x="2" y="609"/>
                  </a:lnTo>
                  <a:lnTo>
                    <a:pt x="5" y="613"/>
                  </a:lnTo>
                  <a:lnTo>
                    <a:pt x="9" y="615"/>
                  </a:lnTo>
                  <a:lnTo>
                    <a:pt x="392" y="807"/>
                  </a:lnTo>
                  <a:lnTo>
                    <a:pt x="392" y="17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598"/>
            <p:cNvSpPr>
              <a:spLocks/>
            </p:cNvSpPr>
            <p:nvPr/>
          </p:nvSpPr>
          <p:spPr bwMode="auto">
            <a:xfrm>
              <a:off x="915988" y="779463"/>
              <a:ext cx="201613" cy="57150"/>
            </a:xfrm>
            <a:custGeom>
              <a:avLst/>
              <a:gdLst>
                <a:gd name="T0" fmla="*/ 631 w 633"/>
                <a:gd name="T1" fmla="*/ 8 h 181"/>
                <a:gd name="T2" fmla="*/ 630 w 633"/>
                <a:gd name="T3" fmla="*/ 6 h 181"/>
                <a:gd name="T4" fmla="*/ 628 w 633"/>
                <a:gd name="T5" fmla="*/ 4 h 181"/>
                <a:gd name="T6" fmla="*/ 625 w 633"/>
                <a:gd name="T7" fmla="*/ 2 h 181"/>
                <a:gd name="T8" fmla="*/ 622 w 633"/>
                <a:gd name="T9" fmla="*/ 1 h 181"/>
                <a:gd name="T10" fmla="*/ 620 w 633"/>
                <a:gd name="T11" fmla="*/ 1 h 181"/>
                <a:gd name="T12" fmla="*/ 617 w 633"/>
                <a:gd name="T13" fmla="*/ 0 h 181"/>
                <a:gd name="T14" fmla="*/ 614 w 633"/>
                <a:gd name="T15" fmla="*/ 1 h 181"/>
                <a:gd name="T16" fmla="*/ 612 w 633"/>
                <a:gd name="T17" fmla="*/ 2 h 181"/>
                <a:gd name="T18" fmla="*/ 317 w 633"/>
                <a:gd name="T19" fmla="*/ 149 h 181"/>
                <a:gd name="T20" fmla="*/ 23 w 633"/>
                <a:gd name="T21" fmla="*/ 2 h 181"/>
                <a:gd name="T22" fmla="*/ 20 w 633"/>
                <a:gd name="T23" fmla="*/ 1 h 181"/>
                <a:gd name="T24" fmla="*/ 16 w 633"/>
                <a:gd name="T25" fmla="*/ 0 h 181"/>
                <a:gd name="T26" fmla="*/ 14 w 633"/>
                <a:gd name="T27" fmla="*/ 0 h 181"/>
                <a:gd name="T28" fmla="*/ 11 w 633"/>
                <a:gd name="T29" fmla="*/ 1 h 181"/>
                <a:gd name="T30" fmla="*/ 9 w 633"/>
                <a:gd name="T31" fmla="*/ 2 h 181"/>
                <a:gd name="T32" fmla="*/ 6 w 633"/>
                <a:gd name="T33" fmla="*/ 4 h 181"/>
                <a:gd name="T34" fmla="*/ 3 w 633"/>
                <a:gd name="T35" fmla="*/ 6 h 181"/>
                <a:gd name="T36" fmla="*/ 2 w 633"/>
                <a:gd name="T37" fmla="*/ 8 h 181"/>
                <a:gd name="T38" fmla="*/ 1 w 633"/>
                <a:gd name="T39" fmla="*/ 12 h 181"/>
                <a:gd name="T40" fmla="*/ 0 w 633"/>
                <a:gd name="T41" fmla="*/ 14 h 181"/>
                <a:gd name="T42" fmla="*/ 1 w 633"/>
                <a:gd name="T43" fmla="*/ 17 h 181"/>
                <a:gd name="T44" fmla="*/ 1 w 633"/>
                <a:gd name="T45" fmla="*/ 20 h 181"/>
                <a:gd name="T46" fmla="*/ 2 w 633"/>
                <a:gd name="T47" fmla="*/ 22 h 181"/>
                <a:gd name="T48" fmla="*/ 5 w 633"/>
                <a:gd name="T49" fmla="*/ 26 h 181"/>
                <a:gd name="T50" fmla="*/ 7 w 633"/>
                <a:gd name="T51" fmla="*/ 27 h 181"/>
                <a:gd name="T52" fmla="*/ 9 w 633"/>
                <a:gd name="T53" fmla="*/ 29 h 181"/>
                <a:gd name="T54" fmla="*/ 310 w 633"/>
                <a:gd name="T55" fmla="*/ 179 h 181"/>
                <a:gd name="T56" fmla="*/ 313 w 633"/>
                <a:gd name="T57" fmla="*/ 180 h 181"/>
                <a:gd name="T58" fmla="*/ 317 w 633"/>
                <a:gd name="T59" fmla="*/ 181 h 181"/>
                <a:gd name="T60" fmla="*/ 320 w 633"/>
                <a:gd name="T61" fmla="*/ 180 h 181"/>
                <a:gd name="T62" fmla="*/ 324 w 633"/>
                <a:gd name="T63" fmla="*/ 179 h 181"/>
                <a:gd name="T64" fmla="*/ 624 w 633"/>
                <a:gd name="T65" fmla="*/ 29 h 181"/>
                <a:gd name="T66" fmla="*/ 628 w 633"/>
                <a:gd name="T67" fmla="*/ 27 h 181"/>
                <a:gd name="T68" fmla="*/ 630 w 633"/>
                <a:gd name="T69" fmla="*/ 26 h 181"/>
                <a:gd name="T70" fmla="*/ 631 w 633"/>
                <a:gd name="T71" fmla="*/ 22 h 181"/>
                <a:gd name="T72" fmla="*/ 632 w 633"/>
                <a:gd name="T73" fmla="*/ 20 h 181"/>
                <a:gd name="T74" fmla="*/ 633 w 633"/>
                <a:gd name="T75" fmla="*/ 17 h 181"/>
                <a:gd name="T76" fmla="*/ 633 w 633"/>
                <a:gd name="T77" fmla="*/ 14 h 181"/>
                <a:gd name="T78" fmla="*/ 632 w 633"/>
                <a:gd name="T79" fmla="*/ 12 h 181"/>
                <a:gd name="T80" fmla="*/ 631 w 633"/>
                <a:gd name="T81" fmla="*/ 8 h 181"/>
                <a:gd name="T82" fmla="*/ 631 w 633"/>
                <a:gd name="T83" fmla="*/ 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3" h="181">
                  <a:moveTo>
                    <a:pt x="631" y="8"/>
                  </a:moveTo>
                  <a:lnTo>
                    <a:pt x="630" y="6"/>
                  </a:lnTo>
                  <a:lnTo>
                    <a:pt x="628" y="4"/>
                  </a:lnTo>
                  <a:lnTo>
                    <a:pt x="625" y="2"/>
                  </a:lnTo>
                  <a:lnTo>
                    <a:pt x="622" y="1"/>
                  </a:lnTo>
                  <a:lnTo>
                    <a:pt x="620" y="1"/>
                  </a:lnTo>
                  <a:lnTo>
                    <a:pt x="617" y="0"/>
                  </a:lnTo>
                  <a:lnTo>
                    <a:pt x="614" y="1"/>
                  </a:lnTo>
                  <a:lnTo>
                    <a:pt x="612" y="2"/>
                  </a:lnTo>
                  <a:lnTo>
                    <a:pt x="317" y="149"/>
                  </a:lnTo>
                  <a:lnTo>
                    <a:pt x="23" y="2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3" y="6"/>
                  </a:lnTo>
                  <a:lnTo>
                    <a:pt x="2" y="8"/>
                  </a:lnTo>
                  <a:lnTo>
                    <a:pt x="1" y="12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310" y="179"/>
                  </a:lnTo>
                  <a:lnTo>
                    <a:pt x="313" y="180"/>
                  </a:lnTo>
                  <a:lnTo>
                    <a:pt x="317" y="181"/>
                  </a:lnTo>
                  <a:lnTo>
                    <a:pt x="320" y="180"/>
                  </a:lnTo>
                  <a:lnTo>
                    <a:pt x="324" y="179"/>
                  </a:lnTo>
                  <a:lnTo>
                    <a:pt x="624" y="29"/>
                  </a:lnTo>
                  <a:lnTo>
                    <a:pt x="628" y="27"/>
                  </a:lnTo>
                  <a:lnTo>
                    <a:pt x="630" y="26"/>
                  </a:lnTo>
                  <a:lnTo>
                    <a:pt x="631" y="22"/>
                  </a:lnTo>
                  <a:lnTo>
                    <a:pt x="632" y="20"/>
                  </a:lnTo>
                  <a:lnTo>
                    <a:pt x="633" y="17"/>
                  </a:lnTo>
                  <a:lnTo>
                    <a:pt x="633" y="14"/>
                  </a:lnTo>
                  <a:lnTo>
                    <a:pt x="632" y="12"/>
                  </a:lnTo>
                  <a:lnTo>
                    <a:pt x="631" y="8"/>
                  </a:lnTo>
                  <a:lnTo>
                    <a:pt x="63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7" name="Text Placeholder 2"/>
          <p:cNvSpPr txBox="1">
            <a:spLocks/>
          </p:cNvSpPr>
          <p:nvPr/>
        </p:nvSpPr>
        <p:spPr>
          <a:xfrm>
            <a:off x="1158149" y="3853847"/>
            <a:ext cx="1557522" cy="4799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12568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</a:t>
            </a:r>
          </a:p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rgbClr val="12568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PSUM</a:t>
            </a:r>
          </a:p>
        </p:txBody>
      </p:sp>
      <p:grpSp>
        <p:nvGrpSpPr>
          <p:cNvPr id="98" name="Group 97"/>
          <p:cNvGrpSpPr/>
          <p:nvPr/>
        </p:nvGrpSpPr>
        <p:grpSpPr>
          <a:xfrm>
            <a:off x="1692199" y="3299508"/>
            <a:ext cx="489421" cy="407849"/>
            <a:chOff x="9883775" y="857250"/>
            <a:chExt cx="285750" cy="238125"/>
          </a:xfrm>
          <a:solidFill>
            <a:srgbClr val="F6443B"/>
          </a:solidFill>
        </p:grpSpPr>
        <p:sp>
          <p:nvSpPr>
            <p:cNvPr id="99" name="Freeform 4137"/>
            <p:cNvSpPr>
              <a:spLocks/>
            </p:cNvSpPr>
            <p:nvPr/>
          </p:nvSpPr>
          <p:spPr bwMode="auto">
            <a:xfrm>
              <a:off x="9883775" y="857250"/>
              <a:ext cx="285750" cy="180975"/>
            </a:xfrm>
            <a:custGeom>
              <a:avLst/>
              <a:gdLst>
                <a:gd name="T0" fmla="*/ 790 w 901"/>
                <a:gd name="T1" fmla="*/ 0 h 571"/>
                <a:gd name="T2" fmla="*/ 777 w 901"/>
                <a:gd name="T3" fmla="*/ 2 h 571"/>
                <a:gd name="T4" fmla="*/ 767 w 901"/>
                <a:gd name="T5" fmla="*/ 8 h 571"/>
                <a:gd name="T6" fmla="*/ 760 w 901"/>
                <a:gd name="T7" fmla="*/ 18 h 571"/>
                <a:gd name="T8" fmla="*/ 755 w 901"/>
                <a:gd name="T9" fmla="*/ 30 h 571"/>
                <a:gd name="T10" fmla="*/ 744 w 901"/>
                <a:gd name="T11" fmla="*/ 122 h 571"/>
                <a:gd name="T12" fmla="*/ 742 w 901"/>
                <a:gd name="T13" fmla="*/ 136 h 571"/>
                <a:gd name="T14" fmla="*/ 735 w 901"/>
                <a:gd name="T15" fmla="*/ 147 h 571"/>
                <a:gd name="T16" fmla="*/ 723 w 901"/>
                <a:gd name="T17" fmla="*/ 150 h 571"/>
                <a:gd name="T18" fmla="*/ 62 w 901"/>
                <a:gd name="T19" fmla="*/ 151 h 571"/>
                <a:gd name="T20" fmla="*/ 46 w 901"/>
                <a:gd name="T21" fmla="*/ 156 h 571"/>
                <a:gd name="T22" fmla="*/ 31 w 901"/>
                <a:gd name="T23" fmla="*/ 164 h 571"/>
                <a:gd name="T24" fmla="*/ 19 w 901"/>
                <a:gd name="T25" fmla="*/ 175 h 571"/>
                <a:gd name="T26" fmla="*/ 9 w 901"/>
                <a:gd name="T27" fmla="*/ 188 h 571"/>
                <a:gd name="T28" fmla="*/ 3 w 901"/>
                <a:gd name="T29" fmla="*/ 203 h 571"/>
                <a:gd name="T30" fmla="*/ 0 w 901"/>
                <a:gd name="T31" fmla="*/ 220 h 571"/>
                <a:gd name="T32" fmla="*/ 1 w 901"/>
                <a:gd name="T33" fmla="*/ 237 h 571"/>
                <a:gd name="T34" fmla="*/ 62 w 901"/>
                <a:gd name="T35" fmla="*/ 434 h 571"/>
                <a:gd name="T36" fmla="*/ 72 w 901"/>
                <a:gd name="T37" fmla="*/ 453 h 571"/>
                <a:gd name="T38" fmla="*/ 87 w 901"/>
                <a:gd name="T39" fmla="*/ 468 h 571"/>
                <a:gd name="T40" fmla="*/ 106 w 901"/>
                <a:gd name="T41" fmla="*/ 478 h 571"/>
                <a:gd name="T42" fmla="*/ 127 w 901"/>
                <a:gd name="T43" fmla="*/ 481 h 571"/>
                <a:gd name="T44" fmla="*/ 136 w 901"/>
                <a:gd name="T45" fmla="*/ 481 h 571"/>
                <a:gd name="T46" fmla="*/ 680 w 901"/>
                <a:gd name="T47" fmla="*/ 482 h 571"/>
                <a:gd name="T48" fmla="*/ 686 w 901"/>
                <a:gd name="T49" fmla="*/ 489 h 571"/>
                <a:gd name="T50" fmla="*/ 690 w 901"/>
                <a:gd name="T51" fmla="*/ 501 h 571"/>
                <a:gd name="T52" fmla="*/ 691 w 901"/>
                <a:gd name="T53" fmla="*/ 516 h 571"/>
                <a:gd name="T54" fmla="*/ 689 w 901"/>
                <a:gd name="T55" fmla="*/ 525 h 571"/>
                <a:gd name="T56" fmla="*/ 685 w 901"/>
                <a:gd name="T57" fmla="*/ 533 h 571"/>
                <a:gd name="T58" fmla="*/ 678 w 901"/>
                <a:gd name="T59" fmla="*/ 538 h 571"/>
                <a:gd name="T60" fmla="*/ 148 w 901"/>
                <a:gd name="T61" fmla="*/ 541 h 571"/>
                <a:gd name="T62" fmla="*/ 141 w 901"/>
                <a:gd name="T63" fmla="*/ 542 h 571"/>
                <a:gd name="T64" fmla="*/ 137 w 901"/>
                <a:gd name="T65" fmla="*/ 545 h 571"/>
                <a:gd name="T66" fmla="*/ 134 w 901"/>
                <a:gd name="T67" fmla="*/ 550 h 571"/>
                <a:gd name="T68" fmla="*/ 133 w 901"/>
                <a:gd name="T69" fmla="*/ 556 h 571"/>
                <a:gd name="T70" fmla="*/ 134 w 901"/>
                <a:gd name="T71" fmla="*/ 562 h 571"/>
                <a:gd name="T72" fmla="*/ 137 w 901"/>
                <a:gd name="T73" fmla="*/ 567 h 571"/>
                <a:gd name="T74" fmla="*/ 141 w 901"/>
                <a:gd name="T75" fmla="*/ 570 h 571"/>
                <a:gd name="T76" fmla="*/ 148 w 901"/>
                <a:gd name="T77" fmla="*/ 571 h 571"/>
                <a:gd name="T78" fmla="*/ 685 w 901"/>
                <a:gd name="T79" fmla="*/ 569 h 571"/>
                <a:gd name="T80" fmla="*/ 701 w 901"/>
                <a:gd name="T81" fmla="*/ 558 h 571"/>
                <a:gd name="T82" fmla="*/ 713 w 901"/>
                <a:gd name="T83" fmla="*/ 545 h 571"/>
                <a:gd name="T84" fmla="*/ 719 w 901"/>
                <a:gd name="T85" fmla="*/ 530 h 571"/>
                <a:gd name="T86" fmla="*/ 721 w 901"/>
                <a:gd name="T87" fmla="*/ 511 h 571"/>
                <a:gd name="T88" fmla="*/ 720 w 901"/>
                <a:gd name="T89" fmla="*/ 499 h 571"/>
                <a:gd name="T90" fmla="*/ 772 w 901"/>
                <a:gd name="T91" fmla="*/ 138 h 571"/>
                <a:gd name="T92" fmla="*/ 785 w 901"/>
                <a:gd name="T93" fmla="*/ 33 h 571"/>
                <a:gd name="T94" fmla="*/ 790 w 901"/>
                <a:gd name="T95" fmla="*/ 30 h 571"/>
                <a:gd name="T96" fmla="*/ 889 w 901"/>
                <a:gd name="T97" fmla="*/ 30 h 571"/>
                <a:gd name="T98" fmla="*/ 895 w 901"/>
                <a:gd name="T99" fmla="*/ 28 h 571"/>
                <a:gd name="T100" fmla="*/ 899 w 901"/>
                <a:gd name="T101" fmla="*/ 23 h 571"/>
                <a:gd name="T102" fmla="*/ 901 w 901"/>
                <a:gd name="T103" fmla="*/ 18 h 571"/>
                <a:gd name="T104" fmla="*/ 901 w 901"/>
                <a:gd name="T105" fmla="*/ 12 h 571"/>
                <a:gd name="T106" fmla="*/ 899 w 901"/>
                <a:gd name="T107" fmla="*/ 6 h 571"/>
                <a:gd name="T108" fmla="*/ 895 w 901"/>
                <a:gd name="T109" fmla="*/ 3 h 571"/>
                <a:gd name="T110" fmla="*/ 889 w 901"/>
                <a:gd name="T11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1" h="571">
                  <a:moveTo>
                    <a:pt x="886" y="0"/>
                  </a:moveTo>
                  <a:lnTo>
                    <a:pt x="790" y="0"/>
                  </a:lnTo>
                  <a:lnTo>
                    <a:pt x="783" y="1"/>
                  </a:lnTo>
                  <a:lnTo>
                    <a:pt x="777" y="2"/>
                  </a:lnTo>
                  <a:lnTo>
                    <a:pt x="772" y="5"/>
                  </a:lnTo>
                  <a:lnTo>
                    <a:pt x="767" y="8"/>
                  </a:lnTo>
                  <a:lnTo>
                    <a:pt x="763" y="13"/>
                  </a:lnTo>
                  <a:lnTo>
                    <a:pt x="760" y="18"/>
                  </a:lnTo>
                  <a:lnTo>
                    <a:pt x="757" y="23"/>
                  </a:lnTo>
                  <a:lnTo>
                    <a:pt x="755" y="30"/>
                  </a:lnTo>
                  <a:lnTo>
                    <a:pt x="744" y="121"/>
                  </a:lnTo>
                  <a:lnTo>
                    <a:pt x="744" y="122"/>
                  </a:lnTo>
                  <a:lnTo>
                    <a:pt x="744" y="122"/>
                  </a:lnTo>
                  <a:lnTo>
                    <a:pt x="742" y="136"/>
                  </a:lnTo>
                  <a:lnTo>
                    <a:pt x="738" y="142"/>
                  </a:lnTo>
                  <a:lnTo>
                    <a:pt x="735" y="147"/>
                  </a:lnTo>
                  <a:lnTo>
                    <a:pt x="730" y="149"/>
                  </a:lnTo>
                  <a:lnTo>
                    <a:pt x="723" y="150"/>
                  </a:lnTo>
                  <a:lnTo>
                    <a:pt x="71" y="150"/>
                  </a:lnTo>
                  <a:lnTo>
                    <a:pt x="62" y="151"/>
                  </a:lnTo>
                  <a:lnTo>
                    <a:pt x="53" y="153"/>
                  </a:lnTo>
                  <a:lnTo>
                    <a:pt x="46" y="156"/>
                  </a:lnTo>
                  <a:lnTo>
                    <a:pt x="38" y="160"/>
                  </a:lnTo>
                  <a:lnTo>
                    <a:pt x="31" y="164"/>
                  </a:lnTo>
                  <a:lnTo>
                    <a:pt x="24" y="169"/>
                  </a:lnTo>
                  <a:lnTo>
                    <a:pt x="19" y="175"/>
                  </a:lnTo>
                  <a:lnTo>
                    <a:pt x="14" y="181"/>
                  </a:lnTo>
                  <a:lnTo>
                    <a:pt x="9" y="188"/>
                  </a:lnTo>
                  <a:lnTo>
                    <a:pt x="5" y="196"/>
                  </a:lnTo>
                  <a:lnTo>
                    <a:pt x="3" y="203"/>
                  </a:lnTo>
                  <a:lnTo>
                    <a:pt x="1" y="212"/>
                  </a:lnTo>
                  <a:lnTo>
                    <a:pt x="0" y="220"/>
                  </a:lnTo>
                  <a:lnTo>
                    <a:pt x="0" y="228"/>
                  </a:lnTo>
                  <a:lnTo>
                    <a:pt x="1" y="237"/>
                  </a:lnTo>
                  <a:lnTo>
                    <a:pt x="3" y="244"/>
                  </a:lnTo>
                  <a:lnTo>
                    <a:pt x="62" y="434"/>
                  </a:lnTo>
                  <a:lnTo>
                    <a:pt x="66" y="444"/>
                  </a:lnTo>
                  <a:lnTo>
                    <a:pt x="72" y="453"/>
                  </a:lnTo>
                  <a:lnTo>
                    <a:pt x="79" y="461"/>
                  </a:lnTo>
                  <a:lnTo>
                    <a:pt x="87" y="468"/>
                  </a:lnTo>
                  <a:lnTo>
                    <a:pt x="96" y="474"/>
                  </a:lnTo>
                  <a:lnTo>
                    <a:pt x="106" y="478"/>
                  </a:lnTo>
                  <a:lnTo>
                    <a:pt x="117" y="480"/>
                  </a:lnTo>
                  <a:lnTo>
                    <a:pt x="127" y="481"/>
                  </a:lnTo>
                  <a:lnTo>
                    <a:pt x="132" y="481"/>
                  </a:lnTo>
                  <a:lnTo>
                    <a:pt x="136" y="481"/>
                  </a:lnTo>
                  <a:lnTo>
                    <a:pt x="676" y="481"/>
                  </a:lnTo>
                  <a:lnTo>
                    <a:pt x="680" y="482"/>
                  </a:lnTo>
                  <a:lnTo>
                    <a:pt x="684" y="485"/>
                  </a:lnTo>
                  <a:lnTo>
                    <a:pt x="686" y="489"/>
                  </a:lnTo>
                  <a:lnTo>
                    <a:pt x="688" y="492"/>
                  </a:lnTo>
                  <a:lnTo>
                    <a:pt x="690" y="501"/>
                  </a:lnTo>
                  <a:lnTo>
                    <a:pt x="691" y="511"/>
                  </a:lnTo>
                  <a:lnTo>
                    <a:pt x="691" y="516"/>
                  </a:lnTo>
                  <a:lnTo>
                    <a:pt x="690" y="521"/>
                  </a:lnTo>
                  <a:lnTo>
                    <a:pt x="689" y="525"/>
                  </a:lnTo>
                  <a:lnTo>
                    <a:pt x="687" y="529"/>
                  </a:lnTo>
                  <a:lnTo>
                    <a:pt x="685" y="533"/>
                  </a:lnTo>
                  <a:lnTo>
                    <a:pt x="682" y="536"/>
                  </a:lnTo>
                  <a:lnTo>
                    <a:pt x="678" y="538"/>
                  </a:lnTo>
                  <a:lnTo>
                    <a:pt x="674" y="541"/>
                  </a:lnTo>
                  <a:lnTo>
                    <a:pt x="148" y="541"/>
                  </a:lnTo>
                  <a:lnTo>
                    <a:pt x="145" y="541"/>
                  </a:lnTo>
                  <a:lnTo>
                    <a:pt x="141" y="542"/>
                  </a:lnTo>
                  <a:lnTo>
                    <a:pt x="139" y="543"/>
                  </a:lnTo>
                  <a:lnTo>
                    <a:pt x="137" y="545"/>
                  </a:lnTo>
                  <a:lnTo>
                    <a:pt x="135" y="548"/>
                  </a:lnTo>
                  <a:lnTo>
                    <a:pt x="134" y="550"/>
                  </a:lnTo>
                  <a:lnTo>
                    <a:pt x="133" y="553"/>
                  </a:lnTo>
                  <a:lnTo>
                    <a:pt x="133" y="556"/>
                  </a:lnTo>
                  <a:lnTo>
                    <a:pt x="133" y="559"/>
                  </a:lnTo>
                  <a:lnTo>
                    <a:pt x="134" y="562"/>
                  </a:lnTo>
                  <a:lnTo>
                    <a:pt x="135" y="565"/>
                  </a:lnTo>
                  <a:lnTo>
                    <a:pt x="137" y="567"/>
                  </a:lnTo>
                  <a:lnTo>
                    <a:pt x="139" y="568"/>
                  </a:lnTo>
                  <a:lnTo>
                    <a:pt x="141" y="570"/>
                  </a:lnTo>
                  <a:lnTo>
                    <a:pt x="145" y="571"/>
                  </a:lnTo>
                  <a:lnTo>
                    <a:pt x="148" y="571"/>
                  </a:lnTo>
                  <a:lnTo>
                    <a:pt x="682" y="571"/>
                  </a:lnTo>
                  <a:lnTo>
                    <a:pt x="685" y="569"/>
                  </a:lnTo>
                  <a:lnTo>
                    <a:pt x="693" y="565"/>
                  </a:lnTo>
                  <a:lnTo>
                    <a:pt x="701" y="558"/>
                  </a:lnTo>
                  <a:lnTo>
                    <a:pt x="707" y="553"/>
                  </a:lnTo>
                  <a:lnTo>
                    <a:pt x="713" y="545"/>
                  </a:lnTo>
                  <a:lnTo>
                    <a:pt x="716" y="538"/>
                  </a:lnTo>
                  <a:lnTo>
                    <a:pt x="719" y="530"/>
                  </a:lnTo>
                  <a:lnTo>
                    <a:pt x="720" y="521"/>
                  </a:lnTo>
                  <a:lnTo>
                    <a:pt x="721" y="511"/>
                  </a:lnTo>
                  <a:lnTo>
                    <a:pt x="721" y="505"/>
                  </a:lnTo>
                  <a:lnTo>
                    <a:pt x="720" y="499"/>
                  </a:lnTo>
                  <a:lnTo>
                    <a:pt x="772" y="141"/>
                  </a:lnTo>
                  <a:lnTo>
                    <a:pt x="772" y="138"/>
                  </a:lnTo>
                  <a:lnTo>
                    <a:pt x="773" y="135"/>
                  </a:lnTo>
                  <a:lnTo>
                    <a:pt x="785" y="33"/>
                  </a:lnTo>
                  <a:lnTo>
                    <a:pt x="787" y="31"/>
                  </a:lnTo>
                  <a:lnTo>
                    <a:pt x="790" y="30"/>
                  </a:lnTo>
                  <a:lnTo>
                    <a:pt x="886" y="30"/>
                  </a:lnTo>
                  <a:lnTo>
                    <a:pt x="889" y="30"/>
                  </a:lnTo>
                  <a:lnTo>
                    <a:pt x="892" y="29"/>
                  </a:lnTo>
                  <a:lnTo>
                    <a:pt x="895" y="28"/>
                  </a:lnTo>
                  <a:lnTo>
                    <a:pt x="897" y="26"/>
                  </a:lnTo>
                  <a:lnTo>
                    <a:pt x="899" y="23"/>
                  </a:lnTo>
                  <a:lnTo>
                    <a:pt x="900" y="21"/>
                  </a:lnTo>
                  <a:lnTo>
                    <a:pt x="901" y="18"/>
                  </a:lnTo>
                  <a:lnTo>
                    <a:pt x="901" y="15"/>
                  </a:lnTo>
                  <a:lnTo>
                    <a:pt x="901" y="12"/>
                  </a:lnTo>
                  <a:lnTo>
                    <a:pt x="900" y="9"/>
                  </a:lnTo>
                  <a:lnTo>
                    <a:pt x="899" y="6"/>
                  </a:lnTo>
                  <a:lnTo>
                    <a:pt x="897" y="4"/>
                  </a:lnTo>
                  <a:lnTo>
                    <a:pt x="895" y="3"/>
                  </a:lnTo>
                  <a:lnTo>
                    <a:pt x="892" y="1"/>
                  </a:lnTo>
                  <a:lnTo>
                    <a:pt x="889" y="0"/>
                  </a:lnTo>
                  <a:lnTo>
                    <a:pt x="8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138"/>
            <p:cNvSpPr>
              <a:spLocks/>
            </p:cNvSpPr>
            <p:nvPr/>
          </p:nvSpPr>
          <p:spPr bwMode="auto">
            <a:xfrm>
              <a:off x="10064750" y="1047750"/>
              <a:ext cx="47625" cy="47625"/>
            </a:xfrm>
            <a:custGeom>
              <a:avLst/>
              <a:gdLst>
                <a:gd name="T0" fmla="*/ 68 w 150"/>
                <a:gd name="T1" fmla="*/ 0 h 150"/>
                <a:gd name="T2" fmla="*/ 53 w 150"/>
                <a:gd name="T3" fmla="*/ 3 h 150"/>
                <a:gd name="T4" fmla="*/ 39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9 w 150"/>
                <a:gd name="T11" fmla="*/ 40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9 w 150"/>
                <a:gd name="T21" fmla="*/ 111 h 150"/>
                <a:gd name="T22" fmla="*/ 17 w 150"/>
                <a:gd name="T23" fmla="*/ 122 h 150"/>
                <a:gd name="T24" fmla="*/ 27 w 150"/>
                <a:gd name="T25" fmla="*/ 133 h 150"/>
                <a:gd name="T26" fmla="*/ 39 w 150"/>
                <a:gd name="T27" fmla="*/ 142 h 150"/>
                <a:gd name="T28" fmla="*/ 53 w 150"/>
                <a:gd name="T29" fmla="*/ 147 h 150"/>
                <a:gd name="T30" fmla="*/ 68 w 150"/>
                <a:gd name="T31" fmla="*/ 150 h 150"/>
                <a:gd name="T32" fmla="*/ 83 w 150"/>
                <a:gd name="T33" fmla="*/ 150 h 150"/>
                <a:gd name="T34" fmla="*/ 97 w 150"/>
                <a:gd name="T35" fmla="*/ 147 h 150"/>
                <a:gd name="T36" fmla="*/ 111 w 150"/>
                <a:gd name="T37" fmla="*/ 142 h 150"/>
                <a:gd name="T38" fmla="*/ 122 w 150"/>
                <a:gd name="T39" fmla="*/ 133 h 150"/>
                <a:gd name="T40" fmla="*/ 133 w 150"/>
                <a:gd name="T41" fmla="*/ 122 h 150"/>
                <a:gd name="T42" fmla="*/ 141 w 150"/>
                <a:gd name="T43" fmla="*/ 111 h 150"/>
                <a:gd name="T44" fmla="*/ 147 w 150"/>
                <a:gd name="T45" fmla="*/ 98 h 150"/>
                <a:gd name="T46" fmla="*/ 149 w 150"/>
                <a:gd name="T47" fmla="*/ 83 h 150"/>
                <a:gd name="T48" fmla="*/ 149 w 150"/>
                <a:gd name="T49" fmla="*/ 68 h 150"/>
                <a:gd name="T50" fmla="*/ 147 w 150"/>
                <a:gd name="T51" fmla="*/ 53 h 150"/>
                <a:gd name="T52" fmla="*/ 141 w 150"/>
                <a:gd name="T53" fmla="*/ 40 h 150"/>
                <a:gd name="T54" fmla="*/ 133 w 150"/>
                <a:gd name="T55" fmla="*/ 27 h 150"/>
                <a:gd name="T56" fmla="*/ 122 w 150"/>
                <a:gd name="T57" fmla="*/ 17 h 150"/>
                <a:gd name="T58" fmla="*/ 111 w 150"/>
                <a:gd name="T59" fmla="*/ 9 h 150"/>
                <a:gd name="T60" fmla="*/ 97 w 150"/>
                <a:gd name="T61" fmla="*/ 3 h 150"/>
                <a:gd name="T62" fmla="*/ 83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40"/>
                  </a:lnTo>
                  <a:lnTo>
                    <a:pt x="5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2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3" y="137"/>
                  </a:lnTo>
                  <a:lnTo>
                    <a:pt x="39" y="142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0"/>
                  </a:lnTo>
                  <a:lnTo>
                    <a:pt x="83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5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2" y="133"/>
                  </a:lnTo>
                  <a:lnTo>
                    <a:pt x="128" y="128"/>
                  </a:lnTo>
                  <a:lnTo>
                    <a:pt x="133" y="122"/>
                  </a:lnTo>
                  <a:lnTo>
                    <a:pt x="137" y="117"/>
                  </a:lnTo>
                  <a:lnTo>
                    <a:pt x="141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49" y="83"/>
                  </a:lnTo>
                  <a:lnTo>
                    <a:pt x="150" y="75"/>
                  </a:lnTo>
                  <a:lnTo>
                    <a:pt x="149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40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3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139"/>
            <p:cNvSpPr>
              <a:spLocks/>
            </p:cNvSpPr>
            <p:nvPr/>
          </p:nvSpPr>
          <p:spPr bwMode="auto">
            <a:xfrm>
              <a:off x="9931400" y="1047750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40 w 150"/>
                <a:gd name="T5" fmla="*/ 9 h 150"/>
                <a:gd name="T6" fmla="*/ 28 w 150"/>
                <a:gd name="T7" fmla="*/ 17 h 150"/>
                <a:gd name="T8" fmla="*/ 17 w 150"/>
                <a:gd name="T9" fmla="*/ 27 h 150"/>
                <a:gd name="T10" fmla="*/ 10 w 150"/>
                <a:gd name="T11" fmla="*/ 40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10 w 150"/>
                <a:gd name="T21" fmla="*/ 111 h 150"/>
                <a:gd name="T22" fmla="*/ 17 w 150"/>
                <a:gd name="T23" fmla="*/ 122 h 150"/>
                <a:gd name="T24" fmla="*/ 28 w 150"/>
                <a:gd name="T25" fmla="*/ 133 h 150"/>
                <a:gd name="T26" fmla="*/ 40 w 150"/>
                <a:gd name="T27" fmla="*/ 142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1 w 150"/>
                <a:gd name="T37" fmla="*/ 142 h 150"/>
                <a:gd name="T38" fmla="*/ 123 w 150"/>
                <a:gd name="T39" fmla="*/ 133 h 150"/>
                <a:gd name="T40" fmla="*/ 133 w 150"/>
                <a:gd name="T41" fmla="*/ 122 h 150"/>
                <a:gd name="T42" fmla="*/ 141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1 w 150"/>
                <a:gd name="T53" fmla="*/ 40 h 150"/>
                <a:gd name="T54" fmla="*/ 133 w 150"/>
                <a:gd name="T55" fmla="*/ 27 h 150"/>
                <a:gd name="T56" fmla="*/ 123 w 150"/>
                <a:gd name="T57" fmla="*/ 17 h 150"/>
                <a:gd name="T58" fmla="*/ 111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40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6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2"/>
                  </a:lnTo>
                  <a:lnTo>
                    <a:pt x="22" y="128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5"/>
                  </a:lnTo>
                  <a:lnTo>
                    <a:pt x="111" y="142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2"/>
                  </a:lnTo>
                  <a:lnTo>
                    <a:pt x="137" y="117"/>
                  </a:lnTo>
                  <a:lnTo>
                    <a:pt x="141" y="111"/>
                  </a:lnTo>
                  <a:lnTo>
                    <a:pt x="145" y="104"/>
                  </a:lnTo>
                  <a:lnTo>
                    <a:pt x="147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4498283" y="1567389"/>
            <a:ext cx="5783792" cy="998244"/>
            <a:chOff x="4593892" y="1549431"/>
            <a:chExt cx="5934408" cy="1024239"/>
          </a:xfrm>
        </p:grpSpPr>
        <p:sp>
          <p:nvSpPr>
            <p:cNvPr id="65" name="Text Placeholder 2"/>
            <p:cNvSpPr txBox="1">
              <a:spLocks/>
            </p:cNvSpPr>
            <p:nvPr/>
          </p:nvSpPr>
          <p:spPr>
            <a:xfrm>
              <a:off x="4593892" y="1919645"/>
              <a:ext cx="5934408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sp>
          <p:nvSpPr>
            <p:cNvPr id="102" name="Text Placeholder 2"/>
            <p:cNvSpPr txBox="1">
              <a:spLocks/>
            </p:cNvSpPr>
            <p:nvPr/>
          </p:nvSpPr>
          <p:spPr>
            <a:xfrm>
              <a:off x="4603887" y="1549431"/>
              <a:ext cx="159808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4498283" y="4924231"/>
            <a:ext cx="5783792" cy="998244"/>
            <a:chOff x="4593892" y="1549431"/>
            <a:chExt cx="5934408" cy="1024239"/>
          </a:xfrm>
        </p:grpSpPr>
        <p:sp>
          <p:nvSpPr>
            <p:cNvPr id="107" name="Text Placeholder 2"/>
            <p:cNvSpPr txBox="1">
              <a:spLocks/>
            </p:cNvSpPr>
            <p:nvPr/>
          </p:nvSpPr>
          <p:spPr>
            <a:xfrm>
              <a:off x="4593892" y="1919645"/>
              <a:ext cx="5934408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sp>
          <p:nvSpPr>
            <p:cNvPr id="108" name="Text Placeholder 2"/>
            <p:cNvSpPr txBox="1">
              <a:spLocks/>
            </p:cNvSpPr>
            <p:nvPr/>
          </p:nvSpPr>
          <p:spPr>
            <a:xfrm>
              <a:off x="4603887" y="1549431"/>
              <a:ext cx="159808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5182614" y="3245233"/>
            <a:ext cx="5540150" cy="1014843"/>
            <a:chOff x="4593892" y="1549431"/>
            <a:chExt cx="5684421" cy="1041270"/>
          </a:xfrm>
        </p:grpSpPr>
        <p:sp>
          <p:nvSpPr>
            <p:cNvPr id="110" name="Text Placeholder 2"/>
            <p:cNvSpPr txBox="1">
              <a:spLocks/>
            </p:cNvSpPr>
            <p:nvPr/>
          </p:nvSpPr>
          <p:spPr>
            <a:xfrm>
              <a:off x="4593892" y="1919645"/>
              <a:ext cx="5684421" cy="6710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sp>
          <p:nvSpPr>
            <p:cNvPr id="111" name="Text Placeholder 2"/>
            <p:cNvSpPr txBox="1">
              <a:spLocks/>
            </p:cNvSpPr>
            <p:nvPr/>
          </p:nvSpPr>
          <p:spPr>
            <a:xfrm>
              <a:off x="4603887" y="1549431"/>
              <a:ext cx="159808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</p:grpSp>
      <p:sp>
        <p:nvSpPr>
          <p:cNvPr id="112" name="Freeform 8"/>
          <p:cNvSpPr>
            <a:spLocks/>
          </p:cNvSpPr>
          <p:nvPr/>
        </p:nvSpPr>
        <p:spPr bwMode="auto">
          <a:xfrm>
            <a:off x="207635" y="5908050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19"/>
          <p:cNvSpPr>
            <a:spLocks/>
          </p:cNvSpPr>
          <p:nvPr/>
        </p:nvSpPr>
        <p:spPr bwMode="auto">
          <a:xfrm>
            <a:off x="748869" y="5637653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5"/>
          <p:cNvSpPr>
            <a:spLocks/>
          </p:cNvSpPr>
          <p:nvPr/>
        </p:nvSpPr>
        <p:spPr bwMode="auto">
          <a:xfrm>
            <a:off x="1946275" y="6325079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583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88891" cy="323691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tangle 48"/>
          <p:cNvSpPr>
            <a:spLocks noChangeArrowheads="1"/>
          </p:cNvSpPr>
          <p:nvPr/>
        </p:nvSpPr>
        <p:spPr bwMode="auto">
          <a:xfrm>
            <a:off x="0" y="3230294"/>
            <a:ext cx="12188890" cy="3627706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6" name="Straight Connector 115"/>
          <p:cNvCxnSpPr/>
          <p:nvPr/>
        </p:nvCxnSpPr>
        <p:spPr>
          <a:xfrm>
            <a:off x="0" y="3489326"/>
            <a:ext cx="10500346" cy="0"/>
          </a:xfrm>
          <a:prstGeom prst="line">
            <a:avLst/>
          </a:prstGeom>
          <a:ln w="28575"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21677" y="901249"/>
            <a:ext cx="10809135" cy="1239841"/>
            <a:chOff x="814298" y="3603943"/>
            <a:chExt cx="10809135" cy="1239841"/>
          </a:xfrm>
        </p:grpSpPr>
        <p:sp>
          <p:nvSpPr>
            <p:cNvPr id="17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9"/>
            <p:cNvSpPr>
              <a:spLocks noChangeArrowheads="1"/>
            </p:cNvSpPr>
            <p:nvPr/>
          </p:nvSpPr>
          <p:spPr bwMode="auto">
            <a:xfrm>
              <a:off x="4933869" y="474362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4"/>
            <p:cNvSpPr>
              <a:spLocks noChangeArrowheads="1"/>
            </p:cNvSpPr>
            <p:nvPr/>
          </p:nvSpPr>
          <p:spPr bwMode="auto">
            <a:xfrm>
              <a:off x="7754634" y="4693116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5"/>
            <p:cNvSpPr>
              <a:spLocks noChangeArrowheads="1"/>
            </p:cNvSpPr>
            <p:nvPr/>
          </p:nvSpPr>
          <p:spPr bwMode="auto">
            <a:xfrm>
              <a:off x="6117299" y="4625688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6"/>
            <p:cNvSpPr>
              <a:spLocks noChangeArrowheads="1"/>
            </p:cNvSpPr>
            <p:nvPr/>
          </p:nvSpPr>
          <p:spPr bwMode="auto">
            <a:xfrm>
              <a:off x="9675018" y="4768450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1"/>
            <p:cNvSpPr>
              <a:spLocks noChangeArrowheads="1"/>
            </p:cNvSpPr>
            <p:nvPr/>
          </p:nvSpPr>
          <p:spPr bwMode="auto">
            <a:xfrm>
              <a:off x="9224973" y="392142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3"/>
            <p:cNvSpPr>
              <a:spLocks noChangeArrowheads="1"/>
            </p:cNvSpPr>
            <p:nvPr/>
          </p:nvSpPr>
          <p:spPr bwMode="auto">
            <a:xfrm>
              <a:off x="8406483" y="447176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4"/>
            <p:cNvSpPr>
              <a:spLocks noChangeArrowheads="1"/>
            </p:cNvSpPr>
            <p:nvPr/>
          </p:nvSpPr>
          <p:spPr bwMode="auto">
            <a:xfrm>
              <a:off x="2841598" y="428111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826809" y="3299924"/>
            <a:ext cx="1384300" cy="548177"/>
            <a:chOff x="929805" y="4201624"/>
            <a:chExt cx="1384300" cy="548177"/>
          </a:xfrm>
        </p:grpSpPr>
        <p:sp>
          <p:nvSpPr>
            <p:cNvPr id="5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52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3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54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sp>
        <p:nvSpPr>
          <p:cNvPr id="39" name="TextBox 38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3064292" y="3299924"/>
            <a:ext cx="1384300" cy="548177"/>
            <a:chOff x="929805" y="4201624"/>
            <a:chExt cx="1384300" cy="548177"/>
          </a:xfrm>
        </p:grpSpPr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3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94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5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96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97" name="Group 96"/>
          <p:cNvGrpSpPr/>
          <p:nvPr/>
        </p:nvGrpSpPr>
        <p:grpSpPr>
          <a:xfrm>
            <a:off x="5301775" y="3299924"/>
            <a:ext cx="1384300" cy="548177"/>
            <a:chOff x="929805" y="4201624"/>
            <a:chExt cx="1384300" cy="548177"/>
          </a:xfrm>
        </p:grpSpPr>
        <p:sp>
          <p:nvSpPr>
            <p:cNvPr id="98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9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0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03" name="Group 102"/>
          <p:cNvGrpSpPr/>
          <p:nvPr/>
        </p:nvGrpSpPr>
        <p:grpSpPr>
          <a:xfrm>
            <a:off x="7539258" y="3299924"/>
            <a:ext cx="1384300" cy="548177"/>
            <a:chOff x="929805" y="4201624"/>
            <a:chExt cx="1384300" cy="548177"/>
          </a:xfrm>
        </p:grpSpPr>
        <p:sp>
          <p:nvSpPr>
            <p:cNvPr id="104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5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06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7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125680"/>
                  </a:gs>
                  <a:gs pos="0">
                    <a:srgbClr val="12395E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08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chemeClr val="bg1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09" name="Group 108"/>
          <p:cNvGrpSpPr/>
          <p:nvPr/>
        </p:nvGrpSpPr>
        <p:grpSpPr>
          <a:xfrm>
            <a:off x="9776741" y="3299924"/>
            <a:ext cx="1384300" cy="548177"/>
            <a:chOff x="929805" y="4201624"/>
            <a:chExt cx="1384300" cy="548177"/>
          </a:xfrm>
        </p:grpSpPr>
        <p:sp>
          <p:nvSpPr>
            <p:cNvPr id="110" name="Freeform 11"/>
            <p:cNvSpPr>
              <a:spLocks/>
            </p:cNvSpPr>
            <p:nvPr/>
          </p:nvSpPr>
          <p:spPr bwMode="auto">
            <a:xfrm>
              <a:off x="929805" y="4391026"/>
              <a:ext cx="1384300" cy="358775"/>
            </a:xfrm>
            <a:custGeom>
              <a:avLst/>
              <a:gdLst>
                <a:gd name="T0" fmla="*/ 872 w 872"/>
                <a:gd name="T1" fmla="*/ 0 h 226"/>
                <a:gd name="T2" fmla="*/ 872 w 872"/>
                <a:gd name="T3" fmla="*/ 126 h 226"/>
                <a:gd name="T4" fmla="*/ 655 w 872"/>
                <a:gd name="T5" fmla="*/ 226 h 226"/>
                <a:gd name="T6" fmla="*/ 0 w 872"/>
                <a:gd name="T7" fmla="*/ 226 h 226"/>
                <a:gd name="T8" fmla="*/ 0 w 872"/>
                <a:gd name="T9" fmla="*/ 87 h 226"/>
                <a:gd name="T10" fmla="*/ 872 w 872"/>
                <a:gd name="T11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2" h="226">
                  <a:moveTo>
                    <a:pt x="872" y="0"/>
                  </a:moveTo>
                  <a:lnTo>
                    <a:pt x="872" y="126"/>
                  </a:lnTo>
                  <a:lnTo>
                    <a:pt x="655" y="226"/>
                  </a:lnTo>
                  <a:lnTo>
                    <a:pt x="0" y="226"/>
                  </a:lnTo>
                  <a:lnTo>
                    <a:pt x="0" y="87"/>
                  </a:lnTo>
                  <a:lnTo>
                    <a:pt x="872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0">
                  <a:srgbClr val="B0F7F4">
                    <a:alpha val="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1" name="Group 4"/>
            <p:cNvGrpSpPr>
              <a:grpSpLocks noChangeAspect="1"/>
            </p:cNvGrpSpPr>
            <p:nvPr/>
          </p:nvGrpSpPr>
          <p:grpSpPr bwMode="auto">
            <a:xfrm>
              <a:off x="929805" y="4201624"/>
              <a:ext cx="1384300" cy="333375"/>
              <a:chOff x="3404" y="2519"/>
              <a:chExt cx="872" cy="210"/>
            </a:xfrm>
          </p:grpSpPr>
          <p:sp>
            <p:nvSpPr>
              <p:cNvPr id="112" name="Freeform 5"/>
              <p:cNvSpPr>
                <a:spLocks/>
              </p:cNvSpPr>
              <p:nvPr/>
            </p:nvSpPr>
            <p:spPr bwMode="auto">
              <a:xfrm>
                <a:off x="3404" y="2519"/>
                <a:ext cx="655" cy="210"/>
              </a:xfrm>
              <a:custGeom>
                <a:avLst/>
                <a:gdLst>
                  <a:gd name="T0" fmla="*/ 107 w 655"/>
                  <a:gd name="T1" fmla="*/ 0 h 210"/>
                  <a:gd name="T2" fmla="*/ 107 w 655"/>
                  <a:gd name="T3" fmla="*/ 93 h 210"/>
                  <a:gd name="T4" fmla="*/ 0 w 655"/>
                  <a:gd name="T5" fmla="*/ 141 h 210"/>
                  <a:gd name="T6" fmla="*/ 0 w 655"/>
                  <a:gd name="T7" fmla="*/ 210 h 210"/>
                  <a:gd name="T8" fmla="*/ 655 w 655"/>
                  <a:gd name="T9" fmla="*/ 210 h 210"/>
                  <a:gd name="T10" fmla="*/ 655 w 655"/>
                  <a:gd name="T11" fmla="*/ 141 h 210"/>
                  <a:gd name="T12" fmla="*/ 107 w 655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5" h="210">
                    <a:moveTo>
                      <a:pt x="107" y="0"/>
                    </a:moveTo>
                    <a:lnTo>
                      <a:pt x="107" y="93"/>
                    </a:lnTo>
                    <a:lnTo>
                      <a:pt x="0" y="141"/>
                    </a:lnTo>
                    <a:lnTo>
                      <a:pt x="0" y="210"/>
                    </a:lnTo>
                    <a:lnTo>
                      <a:pt x="655" y="210"/>
                    </a:lnTo>
                    <a:lnTo>
                      <a:pt x="655" y="141"/>
                    </a:lnTo>
                    <a:lnTo>
                      <a:pt x="107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BABA7"/>
                  </a:gs>
                  <a:gs pos="100000">
                    <a:srgbClr val="F6443B"/>
                  </a:gs>
                </a:gsLst>
                <a:lin ang="27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  <p:sp>
            <p:nvSpPr>
              <p:cNvPr id="113" name="Freeform 6"/>
              <p:cNvSpPr>
                <a:spLocks/>
              </p:cNvSpPr>
              <p:nvPr/>
            </p:nvSpPr>
            <p:spPr bwMode="auto">
              <a:xfrm>
                <a:off x="3404" y="2519"/>
                <a:ext cx="872" cy="141"/>
              </a:xfrm>
              <a:custGeom>
                <a:avLst/>
                <a:gdLst>
                  <a:gd name="T0" fmla="*/ 107 w 872"/>
                  <a:gd name="T1" fmla="*/ 0 h 141"/>
                  <a:gd name="T2" fmla="*/ 724 w 872"/>
                  <a:gd name="T3" fmla="*/ 0 h 141"/>
                  <a:gd name="T4" fmla="*/ 872 w 872"/>
                  <a:gd name="T5" fmla="*/ 51 h 141"/>
                  <a:gd name="T6" fmla="*/ 655 w 872"/>
                  <a:gd name="T7" fmla="*/ 141 h 141"/>
                  <a:gd name="T8" fmla="*/ 0 w 872"/>
                  <a:gd name="T9" fmla="*/ 141 h 141"/>
                  <a:gd name="T10" fmla="*/ 164 w 872"/>
                  <a:gd name="T11" fmla="*/ 51 h 141"/>
                  <a:gd name="T12" fmla="*/ 107 w 872"/>
                  <a:gd name="T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2" h="141">
                    <a:moveTo>
                      <a:pt x="107" y="0"/>
                    </a:moveTo>
                    <a:lnTo>
                      <a:pt x="724" y="0"/>
                    </a:lnTo>
                    <a:lnTo>
                      <a:pt x="872" y="51"/>
                    </a:lnTo>
                    <a:lnTo>
                      <a:pt x="655" y="141"/>
                    </a:lnTo>
                    <a:lnTo>
                      <a:pt x="0" y="141"/>
                    </a:lnTo>
                    <a:lnTo>
                      <a:pt x="164" y="51"/>
                    </a:lnTo>
                    <a:lnTo>
                      <a:pt x="107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8716A"/>
                  </a:gs>
                  <a:gs pos="32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7"/>
              <p:cNvSpPr>
                <a:spLocks/>
              </p:cNvSpPr>
              <p:nvPr/>
            </p:nvSpPr>
            <p:spPr bwMode="auto">
              <a:xfrm>
                <a:off x="4059" y="2570"/>
                <a:ext cx="217" cy="159"/>
              </a:xfrm>
              <a:custGeom>
                <a:avLst/>
                <a:gdLst>
                  <a:gd name="T0" fmla="*/ 217 w 217"/>
                  <a:gd name="T1" fmla="*/ 0 h 159"/>
                  <a:gd name="T2" fmla="*/ 217 w 217"/>
                  <a:gd name="T3" fmla="*/ 71 h 159"/>
                  <a:gd name="T4" fmla="*/ 0 w 217"/>
                  <a:gd name="T5" fmla="*/ 159 h 159"/>
                  <a:gd name="T6" fmla="*/ 0 w 217"/>
                  <a:gd name="T7" fmla="*/ 90 h 159"/>
                  <a:gd name="T8" fmla="*/ 217 w 217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159">
                    <a:moveTo>
                      <a:pt x="217" y="0"/>
                    </a:moveTo>
                    <a:lnTo>
                      <a:pt x="217" y="71"/>
                    </a:lnTo>
                    <a:lnTo>
                      <a:pt x="0" y="159"/>
                    </a:lnTo>
                    <a:lnTo>
                      <a:pt x="0" y="90"/>
                    </a:lnTo>
                    <a:lnTo>
                      <a:pt x="217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BB3B0"/>
                  </a:gs>
                  <a:gs pos="100000">
                    <a:srgbClr val="F6443B"/>
                  </a:gs>
                </a:gsLst>
                <a:lin ang="189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/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1119850" y="2200438"/>
            <a:ext cx="798223" cy="798223"/>
            <a:chOff x="1119850" y="3102138"/>
            <a:chExt cx="798223" cy="798223"/>
          </a:xfrm>
        </p:grpSpPr>
        <p:sp>
          <p:nvSpPr>
            <p:cNvPr id="117" name="Rectangle 11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3357333" y="2200438"/>
            <a:ext cx="798223" cy="798223"/>
            <a:chOff x="1119850" y="3102138"/>
            <a:chExt cx="798223" cy="798223"/>
          </a:xfrm>
        </p:grpSpPr>
        <p:sp>
          <p:nvSpPr>
            <p:cNvPr id="128" name="Rectangle 127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5594816" y="2200438"/>
            <a:ext cx="798223" cy="798223"/>
            <a:chOff x="1119850" y="3102138"/>
            <a:chExt cx="798223" cy="798223"/>
          </a:xfrm>
        </p:grpSpPr>
        <p:sp>
          <p:nvSpPr>
            <p:cNvPr id="131" name="Rectangle 130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7832299" y="2200438"/>
            <a:ext cx="798223" cy="798223"/>
            <a:chOff x="1119850" y="3102138"/>
            <a:chExt cx="798223" cy="798223"/>
          </a:xfrm>
        </p:grpSpPr>
        <p:sp>
          <p:nvSpPr>
            <p:cNvPr id="134" name="Rectangle 133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0069780" y="2205769"/>
            <a:ext cx="798223" cy="798223"/>
            <a:chOff x="1119850" y="3102138"/>
            <a:chExt cx="798223" cy="798223"/>
          </a:xfrm>
        </p:grpSpPr>
        <p:sp>
          <p:nvSpPr>
            <p:cNvPr id="137" name="Rectangle 13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8088535" y="2477862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140" name="Freeform 565"/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66"/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851052" y="2486837"/>
            <a:ext cx="285750" cy="225425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143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614363" y="2468580"/>
            <a:ext cx="284163" cy="261938"/>
            <a:chOff x="4313201" y="1920875"/>
            <a:chExt cx="284163" cy="261938"/>
          </a:xfrm>
          <a:solidFill>
            <a:srgbClr val="125680"/>
          </a:solidFill>
          <a:effectLst/>
        </p:grpSpPr>
        <p:sp>
          <p:nvSpPr>
            <p:cNvPr id="14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1418949" y="2455880"/>
            <a:ext cx="200025" cy="287338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49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3" name="Freeform 3073"/>
          <p:cNvSpPr>
            <a:spLocks noEditPoints="1"/>
          </p:cNvSpPr>
          <p:nvPr/>
        </p:nvSpPr>
        <p:spPr bwMode="auto">
          <a:xfrm>
            <a:off x="10326016" y="2462005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Text Placeholder 2"/>
          <p:cNvSpPr txBox="1">
            <a:spLocks/>
          </p:cNvSpPr>
          <p:nvPr/>
        </p:nvSpPr>
        <p:spPr>
          <a:xfrm>
            <a:off x="814298" y="4435405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81429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7" name="Text Placeholder 2"/>
          <p:cNvSpPr txBox="1">
            <a:spLocks/>
          </p:cNvSpPr>
          <p:nvPr/>
        </p:nvSpPr>
        <p:spPr>
          <a:xfrm>
            <a:off x="3064292" y="4435405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3064292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9" name="Text Placeholder 2"/>
          <p:cNvSpPr txBox="1">
            <a:spLocks/>
          </p:cNvSpPr>
          <p:nvPr/>
        </p:nvSpPr>
        <p:spPr>
          <a:xfrm>
            <a:off x="5299676" y="4435405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5299676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1" name="Text Placeholder 2"/>
          <p:cNvSpPr txBox="1">
            <a:spLocks/>
          </p:cNvSpPr>
          <p:nvPr/>
        </p:nvSpPr>
        <p:spPr>
          <a:xfrm>
            <a:off x="7535060" y="4435405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7535060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3" name="Text Placeholder 2"/>
          <p:cNvSpPr txBox="1">
            <a:spLocks/>
          </p:cNvSpPr>
          <p:nvPr/>
        </p:nvSpPr>
        <p:spPr>
          <a:xfrm>
            <a:off x="9779288" y="4435405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9779288" y="4015913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082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4933175" y="1772340"/>
            <a:ext cx="6679457" cy="3486794"/>
            <a:chOff x="1504597" y="2399471"/>
            <a:chExt cx="6134807" cy="3202478"/>
          </a:xfrm>
          <a:solidFill>
            <a:srgbClr val="B0F7F4"/>
          </a:solidFill>
          <a:effectLst/>
        </p:grpSpPr>
        <p:sp>
          <p:nvSpPr>
            <p:cNvPr id="3" name="Freeform 5962"/>
            <p:cNvSpPr>
              <a:spLocks noEditPoints="1"/>
            </p:cNvSpPr>
            <p:nvPr/>
          </p:nvSpPr>
          <p:spPr bwMode="auto">
            <a:xfrm>
              <a:off x="3063972" y="4165973"/>
              <a:ext cx="836057" cy="1435976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" name="Freeform 6151"/>
            <p:cNvSpPr>
              <a:spLocks noEditPoints="1"/>
            </p:cNvSpPr>
            <p:nvPr/>
          </p:nvSpPr>
          <p:spPr bwMode="auto">
            <a:xfrm>
              <a:off x="6266439" y="4430998"/>
              <a:ext cx="1201064" cy="96840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" name="Freeform 6153"/>
            <p:cNvSpPr>
              <a:spLocks noEditPoints="1"/>
            </p:cNvSpPr>
            <p:nvPr/>
          </p:nvSpPr>
          <p:spPr bwMode="auto">
            <a:xfrm>
              <a:off x="3915668" y="3671184"/>
              <a:ext cx="1239013" cy="1462182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" name="Freeform 6155"/>
            <p:cNvSpPr>
              <a:spLocks noEditPoints="1"/>
            </p:cNvSpPr>
            <p:nvPr/>
          </p:nvSpPr>
          <p:spPr bwMode="auto">
            <a:xfrm>
              <a:off x="4040675" y="2527450"/>
              <a:ext cx="1264689" cy="1655655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solidFill>
              <a:srgbClr val="F6443B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" name="Freeform 6156"/>
            <p:cNvSpPr>
              <a:spLocks noEditPoints="1"/>
            </p:cNvSpPr>
            <p:nvPr/>
          </p:nvSpPr>
          <p:spPr bwMode="auto">
            <a:xfrm>
              <a:off x="5024074" y="2480087"/>
              <a:ext cx="2615330" cy="2204852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" name="Freeform 6004"/>
            <p:cNvSpPr>
              <a:spLocks/>
            </p:cNvSpPr>
            <p:nvPr/>
          </p:nvSpPr>
          <p:spPr bwMode="auto">
            <a:xfrm>
              <a:off x="3948495" y="4209922"/>
              <a:ext cx="3572" cy="403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9" name="Gruppe 224"/>
            <p:cNvGrpSpPr/>
            <p:nvPr/>
          </p:nvGrpSpPr>
          <p:grpSpPr bwMode="auto">
            <a:xfrm>
              <a:off x="1504597" y="2399471"/>
              <a:ext cx="2802847" cy="1873326"/>
              <a:chOff x="93979" y="699453"/>
              <a:chExt cx="3986530" cy="2951480"/>
            </a:xfrm>
            <a:grpFill/>
          </p:grpSpPr>
          <p:sp>
            <p:nvSpPr>
              <p:cNvPr id="17" name="Freeform 6016"/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" name="Freeform 6017"/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9" name="Freeform 6018"/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0" name="Freeform 6019"/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1" name="Freeform 6020"/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2" name="Freeform 6021"/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3" name="Freeform 6022"/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4" name="Freeform 6023"/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" name="Freeform 6024"/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" name="Freeform 6025"/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" name="Freeform 6026"/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" name="Freeform 6027"/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" name="Freeform 6033"/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" name="Freeform 6037"/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" name="Freeform 6054"/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2" name="Freeform 6074"/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3" name="Freeform 6084"/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4" name="Freeform 6086"/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5" name="Freeform 6087"/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6" name="Freeform 6088"/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7" name="Freeform 6089"/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8" name="Freeform 6091"/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9" name="Freeform 6092"/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0" name="Freeform 6094"/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1" name="Freeform 6098"/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2" name="Freeform 6099"/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3" name="Freeform 6100"/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4" name="Freeform 6101"/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5" name="Freeform 6102"/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6" name="Freeform 6103"/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7" name="Freeform 6104"/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8" name="Freeform 6105"/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9" name="Freeform 6106"/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0" name="Freeform 6107"/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" name="Freeform 6108"/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" name="Freeform 6109"/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" name="Freeform 6110"/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" name="Freeform 6111"/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5" name="Freeform 6112"/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6" name="Freeform 6113"/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7" name="Freeform 6115"/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8" name="Freeform 6116"/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9" name="Freeform 6117"/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0" name="Freeform 6118"/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0" name="Freeform 6134"/>
            <p:cNvSpPr>
              <a:spLocks/>
            </p:cNvSpPr>
            <p:nvPr/>
          </p:nvSpPr>
          <p:spPr bwMode="auto">
            <a:xfrm>
              <a:off x="3956532" y="4207503"/>
              <a:ext cx="2678" cy="3224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" name="Freeform 6135"/>
            <p:cNvSpPr>
              <a:spLocks/>
            </p:cNvSpPr>
            <p:nvPr/>
          </p:nvSpPr>
          <p:spPr bwMode="auto">
            <a:xfrm>
              <a:off x="3960208" y="4202250"/>
              <a:ext cx="1116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2" name="Freeform 6136"/>
            <p:cNvSpPr>
              <a:spLocks/>
            </p:cNvSpPr>
            <p:nvPr/>
          </p:nvSpPr>
          <p:spPr bwMode="auto">
            <a:xfrm>
              <a:off x="3951969" y="4201861"/>
              <a:ext cx="2678" cy="3224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3" name="Freeform 6138"/>
            <p:cNvSpPr>
              <a:spLocks/>
            </p:cNvSpPr>
            <p:nvPr/>
          </p:nvSpPr>
          <p:spPr bwMode="auto">
            <a:xfrm>
              <a:off x="3952965" y="4209874"/>
              <a:ext cx="1785" cy="24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4" name="Freeform 6144"/>
            <p:cNvSpPr>
              <a:spLocks/>
            </p:cNvSpPr>
            <p:nvPr/>
          </p:nvSpPr>
          <p:spPr bwMode="auto">
            <a:xfrm>
              <a:off x="3950141" y="4196164"/>
              <a:ext cx="3572" cy="2418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5" name="Freeform 6149"/>
            <p:cNvSpPr>
              <a:spLocks/>
            </p:cNvSpPr>
            <p:nvPr/>
          </p:nvSpPr>
          <p:spPr bwMode="auto">
            <a:xfrm>
              <a:off x="3945656" y="4202169"/>
              <a:ext cx="2232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6" name="Freeform 6150"/>
            <p:cNvSpPr>
              <a:spLocks/>
            </p:cNvSpPr>
            <p:nvPr/>
          </p:nvSpPr>
          <p:spPr bwMode="auto">
            <a:xfrm>
              <a:off x="3947487" y="4207726"/>
              <a:ext cx="2678" cy="161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826809" y="589490"/>
            <a:ext cx="3080972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ORLD MAP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969738" y="1909094"/>
            <a:ext cx="613628" cy="613628"/>
            <a:chOff x="1119850" y="3102137"/>
            <a:chExt cx="798223" cy="798223"/>
          </a:xfrm>
        </p:grpSpPr>
        <p:sp>
          <p:nvSpPr>
            <p:cNvPr id="65" name="Rectangle 64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969738" y="3099666"/>
            <a:ext cx="613628" cy="613628"/>
            <a:chOff x="1119850" y="3102137"/>
            <a:chExt cx="798223" cy="798223"/>
          </a:xfrm>
        </p:grpSpPr>
        <p:sp>
          <p:nvSpPr>
            <p:cNvPr id="68" name="Rectangle 67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1916715" y="1837539"/>
            <a:ext cx="2450706" cy="756739"/>
            <a:chOff x="7108746" y="3378652"/>
            <a:chExt cx="2450706" cy="756739"/>
          </a:xfrm>
        </p:grpSpPr>
        <p:sp>
          <p:nvSpPr>
            <p:cNvPr id="71" name="Text Placeholder 2"/>
            <p:cNvSpPr txBox="1">
              <a:spLocks/>
            </p:cNvSpPr>
            <p:nvPr/>
          </p:nvSpPr>
          <p:spPr>
            <a:xfrm>
              <a:off x="7108746" y="3721944"/>
              <a:ext cx="2450706" cy="41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108746" y="3378652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916715" y="3028111"/>
            <a:ext cx="2450706" cy="756739"/>
            <a:chOff x="7108746" y="3378652"/>
            <a:chExt cx="2450706" cy="756739"/>
          </a:xfrm>
        </p:grpSpPr>
        <p:sp>
          <p:nvSpPr>
            <p:cNvPr id="75" name="Text Placeholder 2"/>
            <p:cNvSpPr txBox="1">
              <a:spLocks/>
            </p:cNvSpPr>
            <p:nvPr/>
          </p:nvSpPr>
          <p:spPr>
            <a:xfrm>
              <a:off x="7108746" y="3721944"/>
              <a:ext cx="2450706" cy="4134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108746" y="3378652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cxnSp>
        <p:nvCxnSpPr>
          <p:cNvPr id="77" name="Straight Connector 76"/>
          <p:cNvCxnSpPr/>
          <p:nvPr/>
        </p:nvCxnSpPr>
        <p:spPr>
          <a:xfrm>
            <a:off x="826809" y="4347842"/>
            <a:ext cx="4588265" cy="0"/>
          </a:xfrm>
          <a:prstGeom prst="line">
            <a:avLst/>
          </a:prstGeom>
          <a:ln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2"/>
          <p:cNvSpPr txBox="1">
            <a:spLocks/>
          </p:cNvSpPr>
          <p:nvPr/>
        </p:nvSpPr>
        <p:spPr>
          <a:xfrm>
            <a:off x="826809" y="4523156"/>
            <a:ext cx="2951466" cy="872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4038425" y="4599288"/>
            <a:ext cx="142875" cy="285750"/>
            <a:chOff x="7085013" y="5922963"/>
            <a:chExt cx="142875" cy="285750"/>
          </a:xfrm>
          <a:solidFill>
            <a:srgbClr val="B0F7F4"/>
          </a:solidFill>
          <a:effectLst/>
        </p:grpSpPr>
        <p:sp>
          <p:nvSpPr>
            <p:cNvPr id="80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4336675" y="4599288"/>
            <a:ext cx="142875" cy="285750"/>
            <a:chOff x="7085013" y="5922963"/>
            <a:chExt cx="142875" cy="285750"/>
          </a:xfrm>
          <a:solidFill>
            <a:srgbClr val="B0F7F4"/>
          </a:solidFill>
          <a:effectLst/>
        </p:grpSpPr>
        <p:sp>
          <p:nvSpPr>
            <p:cNvPr id="83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4634925" y="4599288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86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4933175" y="4599288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89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5231425" y="4599288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92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4038425" y="5053341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95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336675" y="5053341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98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4634925" y="5053341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101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4933175" y="5053341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104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5231425" y="5053341"/>
            <a:ext cx="142875" cy="285750"/>
            <a:chOff x="7085013" y="5922963"/>
            <a:chExt cx="142875" cy="285750"/>
          </a:xfrm>
          <a:solidFill>
            <a:srgbClr val="122141"/>
          </a:solidFill>
          <a:effectLst/>
        </p:grpSpPr>
        <p:sp>
          <p:nvSpPr>
            <p:cNvPr id="107" name="Freeform 3394"/>
            <p:cNvSpPr>
              <a:spLocks/>
            </p:cNvSpPr>
            <p:nvPr/>
          </p:nvSpPr>
          <p:spPr bwMode="auto">
            <a:xfrm>
              <a:off x="7107238" y="5922963"/>
              <a:ext cx="96837" cy="95250"/>
            </a:xfrm>
            <a:custGeom>
              <a:avLst/>
              <a:gdLst>
                <a:gd name="T0" fmla="*/ 132 w 241"/>
                <a:gd name="T1" fmla="*/ 239 h 240"/>
                <a:gd name="T2" fmla="*/ 156 w 241"/>
                <a:gd name="T3" fmla="*/ 235 h 240"/>
                <a:gd name="T4" fmla="*/ 177 w 241"/>
                <a:gd name="T5" fmla="*/ 226 h 240"/>
                <a:gd name="T6" fmla="*/ 196 w 241"/>
                <a:gd name="T7" fmla="*/ 212 h 240"/>
                <a:gd name="T8" fmla="*/ 213 w 241"/>
                <a:gd name="T9" fmla="*/ 196 h 240"/>
                <a:gd name="T10" fmla="*/ 226 w 241"/>
                <a:gd name="T11" fmla="*/ 177 h 240"/>
                <a:gd name="T12" fmla="*/ 235 w 241"/>
                <a:gd name="T13" fmla="*/ 155 h 240"/>
                <a:gd name="T14" fmla="*/ 240 w 241"/>
                <a:gd name="T15" fmla="*/ 132 h 240"/>
                <a:gd name="T16" fmla="*/ 240 w 241"/>
                <a:gd name="T17" fmla="*/ 108 h 240"/>
                <a:gd name="T18" fmla="*/ 235 w 241"/>
                <a:gd name="T19" fmla="*/ 83 h 240"/>
                <a:gd name="T20" fmla="*/ 226 w 241"/>
                <a:gd name="T21" fmla="*/ 63 h 240"/>
                <a:gd name="T22" fmla="*/ 213 w 241"/>
                <a:gd name="T23" fmla="*/ 43 h 240"/>
                <a:gd name="T24" fmla="*/ 196 w 241"/>
                <a:gd name="T25" fmla="*/ 27 h 240"/>
                <a:gd name="T26" fmla="*/ 177 w 241"/>
                <a:gd name="T27" fmla="*/ 14 h 240"/>
                <a:gd name="T28" fmla="*/ 156 w 241"/>
                <a:gd name="T29" fmla="*/ 5 h 240"/>
                <a:gd name="T30" fmla="*/ 132 w 241"/>
                <a:gd name="T31" fmla="*/ 0 h 240"/>
                <a:gd name="T32" fmla="*/ 108 w 241"/>
                <a:gd name="T33" fmla="*/ 0 h 240"/>
                <a:gd name="T34" fmla="*/ 84 w 241"/>
                <a:gd name="T35" fmla="*/ 5 h 240"/>
                <a:gd name="T36" fmla="*/ 63 w 241"/>
                <a:gd name="T37" fmla="*/ 14 h 240"/>
                <a:gd name="T38" fmla="*/ 43 w 241"/>
                <a:gd name="T39" fmla="*/ 27 h 240"/>
                <a:gd name="T40" fmla="*/ 28 w 241"/>
                <a:gd name="T41" fmla="*/ 43 h 240"/>
                <a:gd name="T42" fmla="*/ 15 w 241"/>
                <a:gd name="T43" fmla="*/ 63 h 240"/>
                <a:gd name="T44" fmla="*/ 6 w 241"/>
                <a:gd name="T45" fmla="*/ 83 h 240"/>
                <a:gd name="T46" fmla="*/ 1 w 241"/>
                <a:gd name="T47" fmla="*/ 108 h 240"/>
                <a:gd name="T48" fmla="*/ 1 w 241"/>
                <a:gd name="T49" fmla="*/ 132 h 240"/>
                <a:gd name="T50" fmla="*/ 6 w 241"/>
                <a:gd name="T51" fmla="*/ 155 h 240"/>
                <a:gd name="T52" fmla="*/ 15 w 241"/>
                <a:gd name="T53" fmla="*/ 177 h 240"/>
                <a:gd name="T54" fmla="*/ 28 w 241"/>
                <a:gd name="T55" fmla="*/ 196 h 240"/>
                <a:gd name="T56" fmla="*/ 43 w 241"/>
                <a:gd name="T57" fmla="*/ 212 h 240"/>
                <a:gd name="T58" fmla="*/ 63 w 241"/>
                <a:gd name="T59" fmla="*/ 226 h 240"/>
                <a:gd name="T60" fmla="*/ 84 w 241"/>
                <a:gd name="T61" fmla="*/ 235 h 240"/>
                <a:gd name="T62" fmla="*/ 108 w 241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40">
                  <a:moveTo>
                    <a:pt x="120" y="240"/>
                  </a:moveTo>
                  <a:lnTo>
                    <a:pt x="132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7" y="219"/>
                  </a:lnTo>
                  <a:lnTo>
                    <a:pt x="196" y="212"/>
                  </a:lnTo>
                  <a:lnTo>
                    <a:pt x="205" y="204"/>
                  </a:lnTo>
                  <a:lnTo>
                    <a:pt x="213" y="196"/>
                  </a:lnTo>
                  <a:lnTo>
                    <a:pt x="221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9" y="144"/>
                  </a:lnTo>
                  <a:lnTo>
                    <a:pt x="240" y="132"/>
                  </a:lnTo>
                  <a:lnTo>
                    <a:pt x="241" y="119"/>
                  </a:lnTo>
                  <a:lnTo>
                    <a:pt x="240" y="108"/>
                  </a:lnTo>
                  <a:lnTo>
                    <a:pt x="239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1" y="52"/>
                  </a:lnTo>
                  <a:lnTo>
                    <a:pt x="213" y="43"/>
                  </a:lnTo>
                  <a:lnTo>
                    <a:pt x="205" y="34"/>
                  </a:lnTo>
                  <a:lnTo>
                    <a:pt x="196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2"/>
                  </a:lnTo>
                  <a:lnTo>
                    <a:pt x="84" y="5"/>
                  </a:lnTo>
                  <a:lnTo>
                    <a:pt x="74" y="9"/>
                  </a:lnTo>
                  <a:lnTo>
                    <a:pt x="63" y="14"/>
                  </a:lnTo>
                  <a:lnTo>
                    <a:pt x="54" y="20"/>
                  </a:lnTo>
                  <a:lnTo>
                    <a:pt x="43" y="27"/>
                  </a:lnTo>
                  <a:lnTo>
                    <a:pt x="36" y="34"/>
                  </a:lnTo>
                  <a:lnTo>
                    <a:pt x="28" y="43"/>
                  </a:lnTo>
                  <a:lnTo>
                    <a:pt x="20" y="52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6" y="83"/>
                  </a:lnTo>
                  <a:lnTo>
                    <a:pt x="2" y="95"/>
                  </a:lnTo>
                  <a:lnTo>
                    <a:pt x="1" y="108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6" y="155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6"/>
                  </a:lnTo>
                  <a:lnTo>
                    <a:pt x="36" y="204"/>
                  </a:lnTo>
                  <a:lnTo>
                    <a:pt x="43" y="212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0"/>
                  </a:lnTo>
                  <a:lnTo>
                    <a:pt x="84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395"/>
            <p:cNvSpPr>
              <a:spLocks/>
            </p:cNvSpPr>
            <p:nvPr/>
          </p:nvSpPr>
          <p:spPr bwMode="auto">
            <a:xfrm>
              <a:off x="7085013" y="6027738"/>
              <a:ext cx="142875" cy="180975"/>
            </a:xfrm>
            <a:custGeom>
              <a:avLst/>
              <a:gdLst>
                <a:gd name="T0" fmla="*/ 0 w 359"/>
                <a:gd name="T1" fmla="*/ 0 h 456"/>
                <a:gd name="T2" fmla="*/ 0 w 359"/>
                <a:gd name="T3" fmla="*/ 12 h 456"/>
                <a:gd name="T4" fmla="*/ 0 w 359"/>
                <a:gd name="T5" fmla="*/ 39 h 456"/>
                <a:gd name="T6" fmla="*/ 2 w 359"/>
                <a:gd name="T7" fmla="*/ 64 h 456"/>
                <a:gd name="T8" fmla="*/ 5 w 359"/>
                <a:gd name="T9" fmla="*/ 88 h 456"/>
                <a:gd name="T10" fmla="*/ 10 w 359"/>
                <a:gd name="T11" fmla="*/ 109 h 456"/>
                <a:gd name="T12" fmla="*/ 15 w 359"/>
                <a:gd name="T13" fmla="*/ 130 h 456"/>
                <a:gd name="T14" fmla="*/ 21 w 359"/>
                <a:gd name="T15" fmla="*/ 148 h 456"/>
                <a:gd name="T16" fmla="*/ 29 w 359"/>
                <a:gd name="T17" fmla="*/ 165 h 456"/>
                <a:gd name="T18" fmla="*/ 37 w 359"/>
                <a:gd name="T19" fmla="*/ 180 h 456"/>
                <a:gd name="T20" fmla="*/ 46 w 359"/>
                <a:gd name="T21" fmla="*/ 194 h 456"/>
                <a:gd name="T22" fmla="*/ 54 w 359"/>
                <a:gd name="T23" fmla="*/ 206 h 456"/>
                <a:gd name="T24" fmla="*/ 63 w 359"/>
                <a:gd name="T25" fmla="*/ 217 h 456"/>
                <a:gd name="T26" fmla="*/ 72 w 359"/>
                <a:gd name="T27" fmla="*/ 226 h 456"/>
                <a:gd name="T28" fmla="*/ 82 w 359"/>
                <a:gd name="T29" fmla="*/ 235 h 456"/>
                <a:gd name="T30" fmla="*/ 91 w 359"/>
                <a:gd name="T31" fmla="*/ 243 h 456"/>
                <a:gd name="T32" fmla="*/ 98 w 359"/>
                <a:gd name="T33" fmla="*/ 249 h 456"/>
                <a:gd name="T34" fmla="*/ 107 w 359"/>
                <a:gd name="T35" fmla="*/ 255 h 456"/>
                <a:gd name="T36" fmla="*/ 107 w 359"/>
                <a:gd name="T37" fmla="*/ 456 h 456"/>
                <a:gd name="T38" fmla="*/ 251 w 359"/>
                <a:gd name="T39" fmla="*/ 456 h 456"/>
                <a:gd name="T40" fmla="*/ 251 w 359"/>
                <a:gd name="T41" fmla="*/ 255 h 456"/>
                <a:gd name="T42" fmla="*/ 262 w 359"/>
                <a:gd name="T43" fmla="*/ 248 h 456"/>
                <a:gd name="T44" fmla="*/ 271 w 359"/>
                <a:gd name="T45" fmla="*/ 242 h 456"/>
                <a:gd name="T46" fmla="*/ 281 w 359"/>
                <a:gd name="T47" fmla="*/ 234 h 456"/>
                <a:gd name="T48" fmla="*/ 290 w 359"/>
                <a:gd name="T49" fmla="*/ 225 h 456"/>
                <a:gd name="T50" fmla="*/ 299 w 359"/>
                <a:gd name="T51" fmla="*/ 215 h 456"/>
                <a:gd name="T52" fmla="*/ 308 w 359"/>
                <a:gd name="T53" fmla="*/ 203 h 456"/>
                <a:gd name="T54" fmla="*/ 317 w 359"/>
                <a:gd name="T55" fmla="*/ 192 h 456"/>
                <a:gd name="T56" fmla="*/ 325 w 359"/>
                <a:gd name="T57" fmla="*/ 177 h 456"/>
                <a:gd name="T58" fmla="*/ 332 w 359"/>
                <a:gd name="T59" fmla="*/ 162 h 456"/>
                <a:gd name="T60" fmla="*/ 339 w 359"/>
                <a:gd name="T61" fmla="*/ 145 h 456"/>
                <a:gd name="T62" fmla="*/ 345 w 359"/>
                <a:gd name="T63" fmla="*/ 127 h 456"/>
                <a:gd name="T64" fmla="*/ 350 w 359"/>
                <a:gd name="T65" fmla="*/ 108 h 456"/>
                <a:gd name="T66" fmla="*/ 354 w 359"/>
                <a:gd name="T67" fmla="*/ 86 h 456"/>
                <a:gd name="T68" fmla="*/ 357 w 359"/>
                <a:gd name="T69" fmla="*/ 63 h 456"/>
                <a:gd name="T70" fmla="*/ 359 w 359"/>
                <a:gd name="T71" fmla="*/ 39 h 456"/>
                <a:gd name="T72" fmla="*/ 359 w 359"/>
                <a:gd name="T73" fmla="*/ 12 h 456"/>
                <a:gd name="T74" fmla="*/ 359 w 359"/>
                <a:gd name="T75" fmla="*/ 0 h 456"/>
                <a:gd name="T76" fmla="*/ 0 w 359"/>
                <a:gd name="T77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9" h="456">
                  <a:moveTo>
                    <a:pt x="0" y="0"/>
                  </a:moveTo>
                  <a:lnTo>
                    <a:pt x="0" y="12"/>
                  </a:lnTo>
                  <a:lnTo>
                    <a:pt x="0" y="39"/>
                  </a:lnTo>
                  <a:lnTo>
                    <a:pt x="2" y="64"/>
                  </a:lnTo>
                  <a:lnTo>
                    <a:pt x="5" y="88"/>
                  </a:lnTo>
                  <a:lnTo>
                    <a:pt x="10" y="109"/>
                  </a:lnTo>
                  <a:lnTo>
                    <a:pt x="15" y="130"/>
                  </a:lnTo>
                  <a:lnTo>
                    <a:pt x="21" y="148"/>
                  </a:lnTo>
                  <a:lnTo>
                    <a:pt x="29" y="165"/>
                  </a:lnTo>
                  <a:lnTo>
                    <a:pt x="37" y="180"/>
                  </a:lnTo>
                  <a:lnTo>
                    <a:pt x="46" y="194"/>
                  </a:lnTo>
                  <a:lnTo>
                    <a:pt x="54" y="206"/>
                  </a:lnTo>
                  <a:lnTo>
                    <a:pt x="63" y="217"/>
                  </a:lnTo>
                  <a:lnTo>
                    <a:pt x="72" y="226"/>
                  </a:lnTo>
                  <a:lnTo>
                    <a:pt x="82" y="235"/>
                  </a:lnTo>
                  <a:lnTo>
                    <a:pt x="91" y="243"/>
                  </a:lnTo>
                  <a:lnTo>
                    <a:pt x="98" y="249"/>
                  </a:lnTo>
                  <a:lnTo>
                    <a:pt x="107" y="255"/>
                  </a:lnTo>
                  <a:lnTo>
                    <a:pt x="107" y="456"/>
                  </a:lnTo>
                  <a:lnTo>
                    <a:pt x="251" y="456"/>
                  </a:lnTo>
                  <a:lnTo>
                    <a:pt x="251" y="255"/>
                  </a:lnTo>
                  <a:lnTo>
                    <a:pt x="262" y="248"/>
                  </a:lnTo>
                  <a:lnTo>
                    <a:pt x="271" y="242"/>
                  </a:lnTo>
                  <a:lnTo>
                    <a:pt x="281" y="234"/>
                  </a:lnTo>
                  <a:lnTo>
                    <a:pt x="290" y="225"/>
                  </a:lnTo>
                  <a:lnTo>
                    <a:pt x="299" y="215"/>
                  </a:lnTo>
                  <a:lnTo>
                    <a:pt x="308" y="203"/>
                  </a:lnTo>
                  <a:lnTo>
                    <a:pt x="317" y="192"/>
                  </a:lnTo>
                  <a:lnTo>
                    <a:pt x="325" y="177"/>
                  </a:lnTo>
                  <a:lnTo>
                    <a:pt x="332" y="162"/>
                  </a:lnTo>
                  <a:lnTo>
                    <a:pt x="339" y="145"/>
                  </a:lnTo>
                  <a:lnTo>
                    <a:pt x="345" y="127"/>
                  </a:lnTo>
                  <a:lnTo>
                    <a:pt x="350" y="108"/>
                  </a:lnTo>
                  <a:lnTo>
                    <a:pt x="354" y="86"/>
                  </a:lnTo>
                  <a:lnTo>
                    <a:pt x="357" y="63"/>
                  </a:lnTo>
                  <a:lnTo>
                    <a:pt x="359" y="39"/>
                  </a:lnTo>
                  <a:lnTo>
                    <a:pt x="359" y="12"/>
                  </a:lnTo>
                  <a:lnTo>
                    <a:pt x="3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9" name="TextBox 108"/>
          <p:cNvSpPr txBox="1"/>
          <p:nvPr/>
        </p:nvSpPr>
        <p:spPr>
          <a:xfrm>
            <a:off x="1088198" y="2108186"/>
            <a:ext cx="37670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F6443B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20%</a:t>
            </a:r>
            <a:endParaRPr lang="en-US" sz="1400" dirty="0">
              <a:solidFill>
                <a:srgbClr val="F6443B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088199" y="3298758"/>
            <a:ext cx="37670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cy-GB" sz="1400" dirty="0">
                <a:solidFill>
                  <a:srgbClr val="12568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80%</a:t>
            </a:r>
            <a:endParaRPr lang="en-US" sz="1400" dirty="0">
              <a:solidFill>
                <a:srgbClr val="125680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1" name="Rectangle 48"/>
          <p:cNvSpPr>
            <a:spLocks noChangeArrowheads="1"/>
          </p:cNvSpPr>
          <p:nvPr/>
        </p:nvSpPr>
        <p:spPr bwMode="auto">
          <a:xfrm>
            <a:off x="3110" y="6211024"/>
            <a:ext cx="12188890" cy="646976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7"/>
          <p:cNvSpPr>
            <a:spLocks/>
          </p:cNvSpPr>
          <p:nvPr/>
        </p:nvSpPr>
        <p:spPr bwMode="auto">
          <a:xfrm>
            <a:off x="10781752" y="4721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8"/>
          <p:cNvSpPr>
            <a:spLocks/>
          </p:cNvSpPr>
          <p:nvPr/>
        </p:nvSpPr>
        <p:spPr bwMode="auto">
          <a:xfrm>
            <a:off x="8212883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9"/>
          <p:cNvSpPr>
            <a:spLocks/>
          </p:cNvSpPr>
          <p:nvPr/>
        </p:nvSpPr>
        <p:spPr bwMode="auto">
          <a:xfrm>
            <a:off x="9427288" y="5357407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13"/>
          <p:cNvSpPr>
            <a:spLocks/>
          </p:cNvSpPr>
          <p:nvPr/>
        </p:nvSpPr>
        <p:spPr bwMode="auto">
          <a:xfrm>
            <a:off x="11273234" y="5876676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14"/>
          <p:cNvSpPr>
            <a:spLocks/>
          </p:cNvSpPr>
          <p:nvPr/>
        </p:nvSpPr>
        <p:spPr bwMode="auto">
          <a:xfrm>
            <a:off x="9171688" y="5956047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15"/>
          <p:cNvSpPr>
            <a:spLocks/>
          </p:cNvSpPr>
          <p:nvPr/>
        </p:nvSpPr>
        <p:spPr bwMode="auto">
          <a:xfrm>
            <a:off x="8983352" y="6044833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8"/>
          <p:cNvSpPr>
            <a:spLocks/>
          </p:cNvSpPr>
          <p:nvPr/>
        </p:nvSpPr>
        <p:spPr bwMode="auto">
          <a:xfrm>
            <a:off x="-28325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19"/>
          <p:cNvSpPr>
            <a:spLocks/>
          </p:cNvSpPr>
          <p:nvPr/>
        </p:nvSpPr>
        <p:spPr bwMode="auto">
          <a:xfrm>
            <a:off x="-992576" y="5357407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13"/>
          <p:cNvSpPr>
            <a:spLocks/>
          </p:cNvSpPr>
          <p:nvPr/>
        </p:nvSpPr>
        <p:spPr bwMode="auto">
          <a:xfrm>
            <a:off x="853370" y="5876676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51"/>
          <p:cNvSpPr>
            <a:spLocks/>
          </p:cNvSpPr>
          <p:nvPr/>
        </p:nvSpPr>
        <p:spPr bwMode="auto">
          <a:xfrm>
            <a:off x="-751774" y="6210662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51"/>
          <p:cNvSpPr>
            <a:spLocks/>
          </p:cNvSpPr>
          <p:nvPr/>
        </p:nvSpPr>
        <p:spPr bwMode="auto">
          <a:xfrm>
            <a:off x="9763778" y="6210662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51"/>
          <p:cNvSpPr>
            <a:spLocks/>
          </p:cNvSpPr>
          <p:nvPr/>
        </p:nvSpPr>
        <p:spPr bwMode="auto">
          <a:xfrm>
            <a:off x="8616906" y="6210662"/>
            <a:ext cx="700070" cy="347692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30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7340600" y="2413000"/>
            <a:ext cx="533400" cy="0"/>
          </a:xfrm>
          <a:prstGeom prst="line">
            <a:avLst/>
          </a:prstGeom>
          <a:ln>
            <a:solidFill>
              <a:srgbClr val="B0F7F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340600" y="3413337"/>
            <a:ext cx="533400" cy="0"/>
          </a:xfrm>
          <a:prstGeom prst="line">
            <a:avLst/>
          </a:prstGeom>
          <a:ln>
            <a:solidFill>
              <a:srgbClr val="F6443B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7340600" y="5414010"/>
            <a:ext cx="533400" cy="0"/>
          </a:xfrm>
          <a:prstGeom prst="line">
            <a:avLst/>
          </a:prstGeom>
          <a:ln>
            <a:solidFill>
              <a:srgbClr val="F6443B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340600" y="4413674"/>
            <a:ext cx="533400" cy="0"/>
          </a:xfrm>
          <a:prstGeom prst="line">
            <a:avLst/>
          </a:prstGeom>
          <a:ln>
            <a:solidFill>
              <a:srgbClr val="B0F7F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4381500" y="5979780"/>
            <a:ext cx="3429000" cy="380078"/>
          </a:xfrm>
          <a:prstGeom prst="ellipse">
            <a:avLst/>
          </a:prstGeom>
          <a:gradFill flip="none" rotWithShape="1">
            <a:gsLst>
              <a:gs pos="0">
                <a:srgbClr val="070C1E">
                  <a:alpha val="41000"/>
                </a:srgbClr>
              </a:gs>
              <a:gs pos="100000">
                <a:srgbClr val="070C1E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826809" y="589490"/>
            <a:ext cx="374820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CUBE 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8104832" y="2052638"/>
            <a:ext cx="3172768" cy="686911"/>
            <a:chOff x="8104830" y="2217738"/>
            <a:chExt cx="2790181" cy="686911"/>
          </a:xfrm>
        </p:grpSpPr>
        <p:sp>
          <p:nvSpPr>
            <p:cNvPr id="23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8104832" y="3055410"/>
            <a:ext cx="3172768" cy="686911"/>
            <a:chOff x="8104830" y="2217738"/>
            <a:chExt cx="2790181" cy="686911"/>
          </a:xfrm>
        </p:grpSpPr>
        <p:sp>
          <p:nvSpPr>
            <p:cNvPr id="31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104832" y="4058182"/>
            <a:ext cx="3172768" cy="686911"/>
            <a:chOff x="8104830" y="2217738"/>
            <a:chExt cx="2790181" cy="686911"/>
          </a:xfrm>
        </p:grpSpPr>
        <p:sp>
          <p:nvSpPr>
            <p:cNvPr id="34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8104832" y="5060954"/>
            <a:ext cx="3172768" cy="686911"/>
            <a:chOff x="8104830" y="2217738"/>
            <a:chExt cx="2790181" cy="686911"/>
          </a:xfrm>
        </p:grpSpPr>
        <p:sp>
          <p:nvSpPr>
            <p:cNvPr id="37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4799012" y="4895854"/>
            <a:ext cx="2593975" cy="1003300"/>
            <a:chOff x="3023" y="1845"/>
            <a:chExt cx="1634" cy="632"/>
          </a:xfrm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F6443B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4799012" y="3893082"/>
            <a:ext cx="2593975" cy="1003300"/>
            <a:chOff x="3023" y="1845"/>
            <a:chExt cx="1634" cy="632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4799012" y="2890310"/>
            <a:ext cx="2593975" cy="1003300"/>
            <a:chOff x="3023" y="1845"/>
            <a:chExt cx="1634" cy="632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F6443B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4799013" y="1887538"/>
            <a:ext cx="2593975" cy="1003300"/>
            <a:chOff x="3023" y="1845"/>
            <a:chExt cx="1634" cy="632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6632209" y="2269788"/>
            <a:ext cx="240450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632209" y="3253864"/>
            <a:ext cx="216406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632209" y="4275332"/>
            <a:ext cx="240450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632209" y="5290046"/>
            <a:ext cx="216406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5265877" y="2335451"/>
            <a:ext cx="285750" cy="279400"/>
            <a:chOff x="7600950" y="3048000"/>
            <a:chExt cx="285750" cy="279400"/>
          </a:xfrm>
          <a:solidFill>
            <a:schemeClr val="bg1"/>
          </a:solidFill>
          <a:effectLst/>
        </p:grpSpPr>
        <p:sp>
          <p:nvSpPr>
            <p:cNvPr id="50" name="Freeform 3039"/>
            <p:cNvSpPr>
              <a:spLocks/>
            </p:cNvSpPr>
            <p:nvPr/>
          </p:nvSpPr>
          <p:spPr bwMode="auto">
            <a:xfrm>
              <a:off x="7681913" y="3048000"/>
              <a:ext cx="123825" cy="128588"/>
            </a:xfrm>
            <a:custGeom>
              <a:avLst/>
              <a:gdLst>
                <a:gd name="T0" fmla="*/ 263 w 310"/>
                <a:gd name="T1" fmla="*/ 323 h 323"/>
                <a:gd name="T2" fmla="*/ 268 w 310"/>
                <a:gd name="T3" fmla="*/ 323 h 323"/>
                <a:gd name="T4" fmla="*/ 271 w 310"/>
                <a:gd name="T5" fmla="*/ 321 h 323"/>
                <a:gd name="T6" fmla="*/ 274 w 310"/>
                <a:gd name="T7" fmla="*/ 317 h 323"/>
                <a:gd name="T8" fmla="*/ 275 w 310"/>
                <a:gd name="T9" fmla="*/ 314 h 323"/>
                <a:gd name="T10" fmla="*/ 275 w 310"/>
                <a:gd name="T11" fmla="*/ 310 h 323"/>
                <a:gd name="T12" fmla="*/ 274 w 310"/>
                <a:gd name="T13" fmla="*/ 307 h 323"/>
                <a:gd name="T14" fmla="*/ 231 w 310"/>
                <a:gd name="T15" fmla="*/ 207 h 323"/>
                <a:gd name="T16" fmla="*/ 307 w 310"/>
                <a:gd name="T17" fmla="*/ 141 h 323"/>
                <a:gd name="T18" fmla="*/ 309 w 310"/>
                <a:gd name="T19" fmla="*/ 138 h 323"/>
                <a:gd name="T20" fmla="*/ 310 w 310"/>
                <a:gd name="T21" fmla="*/ 135 h 323"/>
                <a:gd name="T22" fmla="*/ 310 w 310"/>
                <a:gd name="T23" fmla="*/ 132 h 323"/>
                <a:gd name="T24" fmla="*/ 310 w 310"/>
                <a:gd name="T25" fmla="*/ 128 h 323"/>
                <a:gd name="T26" fmla="*/ 308 w 310"/>
                <a:gd name="T27" fmla="*/ 125 h 323"/>
                <a:gd name="T28" fmla="*/ 306 w 310"/>
                <a:gd name="T29" fmla="*/ 122 h 323"/>
                <a:gd name="T30" fmla="*/ 302 w 310"/>
                <a:gd name="T31" fmla="*/ 121 h 323"/>
                <a:gd name="T32" fmla="*/ 299 w 310"/>
                <a:gd name="T33" fmla="*/ 120 h 323"/>
                <a:gd name="T34" fmla="*/ 200 w 310"/>
                <a:gd name="T35" fmla="*/ 120 h 323"/>
                <a:gd name="T36" fmla="*/ 167 w 310"/>
                <a:gd name="T37" fmla="*/ 9 h 323"/>
                <a:gd name="T38" fmla="*/ 165 w 310"/>
                <a:gd name="T39" fmla="*/ 6 h 323"/>
                <a:gd name="T40" fmla="*/ 163 w 310"/>
                <a:gd name="T41" fmla="*/ 2 h 323"/>
                <a:gd name="T42" fmla="*/ 159 w 310"/>
                <a:gd name="T43" fmla="*/ 1 h 323"/>
                <a:gd name="T44" fmla="*/ 156 w 310"/>
                <a:gd name="T45" fmla="*/ 0 h 323"/>
                <a:gd name="T46" fmla="*/ 151 w 310"/>
                <a:gd name="T47" fmla="*/ 1 h 323"/>
                <a:gd name="T48" fmla="*/ 149 w 310"/>
                <a:gd name="T49" fmla="*/ 2 h 323"/>
                <a:gd name="T50" fmla="*/ 145 w 310"/>
                <a:gd name="T51" fmla="*/ 6 h 323"/>
                <a:gd name="T52" fmla="*/ 144 w 310"/>
                <a:gd name="T53" fmla="*/ 9 h 323"/>
                <a:gd name="T54" fmla="*/ 111 w 310"/>
                <a:gd name="T55" fmla="*/ 120 h 323"/>
                <a:gd name="T56" fmla="*/ 12 w 310"/>
                <a:gd name="T57" fmla="*/ 120 h 323"/>
                <a:gd name="T58" fmla="*/ 8 w 310"/>
                <a:gd name="T59" fmla="*/ 121 h 323"/>
                <a:gd name="T60" fmla="*/ 5 w 310"/>
                <a:gd name="T61" fmla="*/ 122 h 323"/>
                <a:gd name="T62" fmla="*/ 2 w 310"/>
                <a:gd name="T63" fmla="*/ 125 h 323"/>
                <a:gd name="T64" fmla="*/ 0 w 310"/>
                <a:gd name="T65" fmla="*/ 128 h 323"/>
                <a:gd name="T66" fmla="*/ 0 w 310"/>
                <a:gd name="T67" fmla="*/ 132 h 323"/>
                <a:gd name="T68" fmla="*/ 0 w 310"/>
                <a:gd name="T69" fmla="*/ 135 h 323"/>
                <a:gd name="T70" fmla="*/ 1 w 310"/>
                <a:gd name="T71" fmla="*/ 138 h 323"/>
                <a:gd name="T72" fmla="*/ 4 w 310"/>
                <a:gd name="T73" fmla="*/ 141 h 323"/>
                <a:gd name="T74" fmla="*/ 81 w 310"/>
                <a:gd name="T75" fmla="*/ 205 h 323"/>
                <a:gd name="T76" fmla="*/ 37 w 310"/>
                <a:gd name="T77" fmla="*/ 307 h 323"/>
                <a:gd name="T78" fmla="*/ 36 w 310"/>
                <a:gd name="T79" fmla="*/ 310 h 323"/>
                <a:gd name="T80" fmla="*/ 36 w 310"/>
                <a:gd name="T81" fmla="*/ 314 h 323"/>
                <a:gd name="T82" fmla="*/ 37 w 310"/>
                <a:gd name="T83" fmla="*/ 317 h 323"/>
                <a:gd name="T84" fmla="*/ 39 w 310"/>
                <a:gd name="T85" fmla="*/ 321 h 323"/>
                <a:gd name="T86" fmla="*/ 43 w 310"/>
                <a:gd name="T87" fmla="*/ 323 h 323"/>
                <a:gd name="T88" fmla="*/ 46 w 310"/>
                <a:gd name="T89" fmla="*/ 323 h 323"/>
                <a:gd name="T90" fmla="*/ 51 w 310"/>
                <a:gd name="T91" fmla="*/ 323 h 323"/>
                <a:gd name="T92" fmla="*/ 55 w 310"/>
                <a:gd name="T93" fmla="*/ 322 h 323"/>
                <a:gd name="T94" fmla="*/ 156 w 310"/>
                <a:gd name="T95" fmla="*/ 254 h 323"/>
                <a:gd name="T96" fmla="*/ 257 w 310"/>
                <a:gd name="T97" fmla="*/ 322 h 323"/>
                <a:gd name="T98" fmla="*/ 259 w 310"/>
                <a:gd name="T99" fmla="*/ 323 h 323"/>
                <a:gd name="T100" fmla="*/ 263 w 310"/>
                <a:gd name="T101" fmla="*/ 323 h 323"/>
                <a:gd name="T102" fmla="*/ 263 w 310"/>
                <a:gd name="T103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0" h="323">
                  <a:moveTo>
                    <a:pt x="263" y="323"/>
                  </a:moveTo>
                  <a:lnTo>
                    <a:pt x="268" y="323"/>
                  </a:lnTo>
                  <a:lnTo>
                    <a:pt x="271" y="321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4" y="307"/>
                  </a:lnTo>
                  <a:lnTo>
                    <a:pt x="231" y="207"/>
                  </a:lnTo>
                  <a:lnTo>
                    <a:pt x="307" y="141"/>
                  </a:lnTo>
                  <a:lnTo>
                    <a:pt x="309" y="138"/>
                  </a:lnTo>
                  <a:lnTo>
                    <a:pt x="310" y="135"/>
                  </a:lnTo>
                  <a:lnTo>
                    <a:pt x="310" y="132"/>
                  </a:lnTo>
                  <a:lnTo>
                    <a:pt x="310" y="128"/>
                  </a:lnTo>
                  <a:lnTo>
                    <a:pt x="308" y="125"/>
                  </a:lnTo>
                  <a:lnTo>
                    <a:pt x="306" y="122"/>
                  </a:lnTo>
                  <a:lnTo>
                    <a:pt x="302" y="121"/>
                  </a:lnTo>
                  <a:lnTo>
                    <a:pt x="299" y="120"/>
                  </a:lnTo>
                  <a:lnTo>
                    <a:pt x="200" y="120"/>
                  </a:lnTo>
                  <a:lnTo>
                    <a:pt x="167" y="9"/>
                  </a:lnTo>
                  <a:lnTo>
                    <a:pt x="165" y="6"/>
                  </a:lnTo>
                  <a:lnTo>
                    <a:pt x="163" y="2"/>
                  </a:lnTo>
                  <a:lnTo>
                    <a:pt x="159" y="1"/>
                  </a:lnTo>
                  <a:lnTo>
                    <a:pt x="156" y="0"/>
                  </a:lnTo>
                  <a:lnTo>
                    <a:pt x="151" y="1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4" y="9"/>
                  </a:lnTo>
                  <a:lnTo>
                    <a:pt x="111" y="120"/>
                  </a:lnTo>
                  <a:lnTo>
                    <a:pt x="12" y="120"/>
                  </a:lnTo>
                  <a:lnTo>
                    <a:pt x="8" y="121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8"/>
                  </a:lnTo>
                  <a:lnTo>
                    <a:pt x="4" y="141"/>
                  </a:lnTo>
                  <a:lnTo>
                    <a:pt x="81" y="205"/>
                  </a:lnTo>
                  <a:lnTo>
                    <a:pt x="37" y="307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37" y="317"/>
                  </a:lnTo>
                  <a:lnTo>
                    <a:pt x="39" y="321"/>
                  </a:lnTo>
                  <a:lnTo>
                    <a:pt x="43" y="323"/>
                  </a:lnTo>
                  <a:lnTo>
                    <a:pt x="46" y="323"/>
                  </a:lnTo>
                  <a:lnTo>
                    <a:pt x="51" y="323"/>
                  </a:lnTo>
                  <a:lnTo>
                    <a:pt x="55" y="322"/>
                  </a:lnTo>
                  <a:lnTo>
                    <a:pt x="156" y="254"/>
                  </a:lnTo>
                  <a:lnTo>
                    <a:pt x="257" y="322"/>
                  </a:lnTo>
                  <a:lnTo>
                    <a:pt x="259" y="323"/>
                  </a:lnTo>
                  <a:lnTo>
                    <a:pt x="263" y="323"/>
                  </a:lnTo>
                  <a:lnTo>
                    <a:pt x="263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40"/>
            <p:cNvSpPr>
              <a:spLocks/>
            </p:cNvSpPr>
            <p:nvPr/>
          </p:nvSpPr>
          <p:spPr bwMode="auto">
            <a:xfrm>
              <a:off x="7762875" y="3200400"/>
              <a:ext cx="123825" cy="127000"/>
            </a:xfrm>
            <a:custGeom>
              <a:avLst/>
              <a:gdLst>
                <a:gd name="T0" fmla="*/ 311 w 312"/>
                <a:gd name="T1" fmla="*/ 127 h 322"/>
                <a:gd name="T2" fmla="*/ 308 w 312"/>
                <a:gd name="T3" fmla="*/ 124 h 322"/>
                <a:gd name="T4" fmla="*/ 306 w 312"/>
                <a:gd name="T5" fmla="*/ 121 h 322"/>
                <a:gd name="T6" fmla="*/ 304 w 312"/>
                <a:gd name="T7" fmla="*/ 120 h 322"/>
                <a:gd name="T8" fmla="*/ 300 w 312"/>
                <a:gd name="T9" fmla="*/ 119 h 322"/>
                <a:gd name="T10" fmla="*/ 200 w 312"/>
                <a:gd name="T11" fmla="*/ 119 h 322"/>
                <a:gd name="T12" fmla="*/ 167 w 312"/>
                <a:gd name="T13" fmla="*/ 8 h 322"/>
                <a:gd name="T14" fmla="*/ 166 w 312"/>
                <a:gd name="T15" fmla="*/ 5 h 322"/>
                <a:gd name="T16" fmla="*/ 163 w 312"/>
                <a:gd name="T17" fmla="*/ 2 h 322"/>
                <a:gd name="T18" fmla="*/ 160 w 312"/>
                <a:gd name="T19" fmla="*/ 0 h 322"/>
                <a:gd name="T20" fmla="*/ 156 w 312"/>
                <a:gd name="T21" fmla="*/ 0 h 322"/>
                <a:gd name="T22" fmla="*/ 153 w 312"/>
                <a:gd name="T23" fmla="*/ 0 h 322"/>
                <a:gd name="T24" fmla="*/ 149 w 312"/>
                <a:gd name="T25" fmla="*/ 2 h 322"/>
                <a:gd name="T26" fmla="*/ 146 w 312"/>
                <a:gd name="T27" fmla="*/ 5 h 322"/>
                <a:gd name="T28" fmla="*/ 144 w 312"/>
                <a:gd name="T29" fmla="*/ 8 h 322"/>
                <a:gd name="T30" fmla="*/ 111 w 312"/>
                <a:gd name="T31" fmla="*/ 119 h 322"/>
                <a:gd name="T32" fmla="*/ 12 w 312"/>
                <a:gd name="T33" fmla="*/ 119 h 322"/>
                <a:gd name="T34" fmla="*/ 9 w 312"/>
                <a:gd name="T35" fmla="*/ 120 h 322"/>
                <a:gd name="T36" fmla="*/ 5 w 312"/>
                <a:gd name="T37" fmla="*/ 121 h 322"/>
                <a:gd name="T38" fmla="*/ 3 w 312"/>
                <a:gd name="T39" fmla="*/ 124 h 322"/>
                <a:gd name="T40" fmla="*/ 0 w 312"/>
                <a:gd name="T41" fmla="*/ 127 h 322"/>
                <a:gd name="T42" fmla="*/ 0 w 312"/>
                <a:gd name="T43" fmla="*/ 131 h 322"/>
                <a:gd name="T44" fmla="*/ 0 w 312"/>
                <a:gd name="T45" fmla="*/ 134 h 322"/>
                <a:gd name="T46" fmla="*/ 2 w 312"/>
                <a:gd name="T47" fmla="*/ 138 h 322"/>
                <a:gd name="T48" fmla="*/ 4 w 312"/>
                <a:gd name="T49" fmla="*/ 140 h 322"/>
                <a:gd name="T50" fmla="*/ 81 w 312"/>
                <a:gd name="T51" fmla="*/ 204 h 322"/>
                <a:gd name="T52" fmla="*/ 37 w 312"/>
                <a:gd name="T53" fmla="*/ 306 h 322"/>
                <a:gd name="T54" fmla="*/ 36 w 312"/>
                <a:gd name="T55" fmla="*/ 309 h 322"/>
                <a:gd name="T56" fmla="*/ 36 w 312"/>
                <a:gd name="T57" fmla="*/ 314 h 322"/>
                <a:gd name="T58" fmla="*/ 38 w 312"/>
                <a:gd name="T59" fmla="*/ 317 h 322"/>
                <a:gd name="T60" fmla="*/ 41 w 312"/>
                <a:gd name="T61" fmla="*/ 320 h 322"/>
                <a:gd name="T62" fmla="*/ 43 w 312"/>
                <a:gd name="T63" fmla="*/ 322 h 322"/>
                <a:gd name="T64" fmla="*/ 48 w 312"/>
                <a:gd name="T65" fmla="*/ 322 h 322"/>
                <a:gd name="T66" fmla="*/ 52 w 312"/>
                <a:gd name="T67" fmla="*/ 322 h 322"/>
                <a:gd name="T68" fmla="*/ 55 w 312"/>
                <a:gd name="T69" fmla="*/ 321 h 322"/>
                <a:gd name="T70" fmla="*/ 156 w 312"/>
                <a:gd name="T71" fmla="*/ 253 h 322"/>
                <a:gd name="T72" fmla="*/ 257 w 312"/>
                <a:gd name="T73" fmla="*/ 321 h 322"/>
                <a:gd name="T74" fmla="*/ 260 w 312"/>
                <a:gd name="T75" fmla="*/ 322 h 322"/>
                <a:gd name="T76" fmla="*/ 263 w 312"/>
                <a:gd name="T77" fmla="*/ 322 h 322"/>
                <a:gd name="T78" fmla="*/ 268 w 312"/>
                <a:gd name="T79" fmla="*/ 322 h 322"/>
                <a:gd name="T80" fmla="*/ 272 w 312"/>
                <a:gd name="T81" fmla="*/ 320 h 322"/>
                <a:gd name="T82" fmla="*/ 274 w 312"/>
                <a:gd name="T83" fmla="*/ 317 h 322"/>
                <a:gd name="T84" fmla="*/ 275 w 312"/>
                <a:gd name="T85" fmla="*/ 314 h 322"/>
                <a:gd name="T86" fmla="*/ 275 w 312"/>
                <a:gd name="T87" fmla="*/ 310 h 322"/>
                <a:gd name="T88" fmla="*/ 275 w 312"/>
                <a:gd name="T89" fmla="*/ 306 h 322"/>
                <a:gd name="T90" fmla="*/ 231 w 312"/>
                <a:gd name="T91" fmla="*/ 207 h 322"/>
                <a:gd name="T92" fmla="*/ 307 w 312"/>
                <a:gd name="T93" fmla="*/ 140 h 322"/>
                <a:gd name="T94" fmla="*/ 310 w 312"/>
                <a:gd name="T95" fmla="*/ 138 h 322"/>
                <a:gd name="T96" fmla="*/ 311 w 312"/>
                <a:gd name="T97" fmla="*/ 134 h 322"/>
                <a:gd name="T98" fmla="*/ 312 w 312"/>
                <a:gd name="T99" fmla="*/ 131 h 322"/>
                <a:gd name="T100" fmla="*/ 311 w 312"/>
                <a:gd name="T101" fmla="*/ 12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11" y="127"/>
                  </a:moveTo>
                  <a:lnTo>
                    <a:pt x="308" y="124"/>
                  </a:lnTo>
                  <a:lnTo>
                    <a:pt x="306" y="121"/>
                  </a:lnTo>
                  <a:lnTo>
                    <a:pt x="304" y="120"/>
                  </a:lnTo>
                  <a:lnTo>
                    <a:pt x="300" y="119"/>
                  </a:lnTo>
                  <a:lnTo>
                    <a:pt x="200" y="119"/>
                  </a:lnTo>
                  <a:lnTo>
                    <a:pt x="167" y="8"/>
                  </a:lnTo>
                  <a:lnTo>
                    <a:pt x="166" y="5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4" y="8"/>
                  </a:lnTo>
                  <a:lnTo>
                    <a:pt x="111" y="119"/>
                  </a:lnTo>
                  <a:lnTo>
                    <a:pt x="12" y="119"/>
                  </a:lnTo>
                  <a:lnTo>
                    <a:pt x="9" y="120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2" y="138"/>
                  </a:lnTo>
                  <a:lnTo>
                    <a:pt x="4" y="140"/>
                  </a:lnTo>
                  <a:lnTo>
                    <a:pt x="81" y="204"/>
                  </a:lnTo>
                  <a:lnTo>
                    <a:pt x="37" y="306"/>
                  </a:lnTo>
                  <a:lnTo>
                    <a:pt x="36" y="309"/>
                  </a:lnTo>
                  <a:lnTo>
                    <a:pt x="36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3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0" y="322"/>
                  </a:lnTo>
                  <a:lnTo>
                    <a:pt x="263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7" y="140"/>
                  </a:lnTo>
                  <a:lnTo>
                    <a:pt x="310" y="138"/>
                  </a:lnTo>
                  <a:lnTo>
                    <a:pt x="311" y="134"/>
                  </a:lnTo>
                  <a:lnTo>
                    <a:pt x="312" y="131"/>
                  </a:lnTo>
                  <a:lnTo>
                    <a:pt x="311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041"/>
            <p:cNvSpPr>
              <a:spLocks/>
            </p:cNvSpPr>
            <p:nvPr/>
          </p:nvSpPr>
          <p:spPr bwMode="auto">
            <a:xfrm>
              <a:off x="7600950" y="3200400"/>
              <a:ext cx="123825" cy="127000"/>
            </a:xfrm>
            <a:custGeom>
              <a:avLst/>
              <a:gdLst>
                <a:gd name="T0" fmla="*/ 300 w 312"/>
                <a:gd name="T1" fmla="*/ 119 h 322"/>
                <a:gd name="T2" fmla="*/ 201 w 312"/>
                <a:gd name="T3" fmla="*/ 119 h 322"/>
                <a:gd name="T4" fmla="*/ 168 w 312"/>
                <a:gd name="T5" fmla="*/ 8 h 322"/>
                <a:gd name="T6" fmla="*/ 167 w 312"/>
                <a:gd name="T7" fmla="*/ 5 h 322"/>
                <a:gd name="T8" fmla="*/ 163 w 312"/>
                <a:gd name="T9" fmla="*/ 2 h 322"/>
                <a:gd name="T10" fmla="*/ 161 w 312"/>
                <a:gd name="T11" fmla="*/ 0 h 322"/>
                <a:gd name="T12" fmla="*/ 156 w 312"/>
                <a:gd name="T13" fmla="*/ 0 h 322"/>
                <a:gd name="T14" fmla="*/ 153 w 312"/>
                <a:gd name="T15" fmla="*/ 0 h 322"/>
                <a:gd name="T16" fmla="*/ 149 w 312"/>
                <a:gd name="T17" fmla="*/ 2 h 322"/>
                <a:gd name="T18" fmla="*/ 147 w 312"/>
                <a:gd name="T19" fmla="*/ 5 h 322"/>
                <a:gd name="T20" fmla="*/ 146 w 312"/>
                <a:gd name="T21" fmla="*/ 8 h 322"/>
                <a:gd name="T22" fmla="*/ 112 w 312"/>
                <a:gd name="T23" fmla="*/ 119 h 322"/>
                <a:gd name="T24" fmla="*/ 13 w 312"/>
                <a:gd name="T25" fmla="*/ 119 h 322"/>
                <a:gd name="T26" fmla="*/ 9 w 312"/>
                <a:gd name="T27" fmla="*/ 120 h 322"/>
                <a:gd name="T28" fmla="*/ 6 w 312"/>
                <a:gd name="T29" fmla="*/ 121 h 322"/>
                <a:gd name="T30" fmla="*/ 4 w 312"/>
                <a:gd name="T31" fmla="*/ 124 h 322"/>
                <a:gd name="T32" fmla="*/ 2 w 312"/>
                <a:gd name="T33" fmla="*/ 127 h 322"/>
                <a:gd name="T34" fmla="*/ 0 w 312"/>
                <a:gd name="T35" fmla="*/ 131 h 322"/>
                <a:gd name="T36" fmla="*/ 2 w 312"/>
                <a:gd name="T37" fmla="*/ 134 h 322"/>
                <a:gd name="T38" fmla="*/ 3 w 312"/>
                <a:gd name="T39" fmla="*/ 138 h 322"/>
                <a:gd name="T40" fmla="*/ 5 w 312"/>
                <a:gd name="T41" fmla="*/ 140 h 322"/>
                <a:gd name="T42" fmla="*/ 82 w 312"/>
                <a:gd name="T43" fmla="*/ 204 h 322"/>
                <a:gd name="T44" fmla="*/ 38 w 312"/>
                <a:gd name="T45" fmla="*/ 306 h 322"/>
                <a:gd name="T46" fmla="*/ 37 w 312"/>
                <a:gd name="T47" fmla="*/ 309 h 322"/>
                <a:gd name="T48" fmla="*/ 37 w 312"/>
                <a:gd name="T49" fmla="*/ 314 h 322"/>
                <a:gd name="T50" fmla="*/ 38 w 312"/>
                <a:gd name="T51" fmla="*/ 317 h 322"/>
                <a:gd name="T52" fmla="*/ 41 w 312"/>
                <a:gd name="T53" fmla="*/ 320 h 322"/>
                <a:gd name="T54" fmla="*/ 44 w 312"/>
                <a:gd name="T55" fmla="*/ 322 h 322"/>
                <a:gd name="T56" fmla="*/ 48 w 312"/>
                <a:gd name="T57" fmla="*/ 322 h 322"/>
                <a:gd name="T58" fmla="*/ 52 w 312"/>
                <a:gd name="T59" fmla="*/ 322 h 322"/>
                <a:gd name="T60" fmla="*/ 55 w 312"/>
                <a:gd name="T61" fmla="*/ 321 h 322"/>
                <a:gd name="T62" fmla="*/ 156 w 312"/>
                <a:gd name="T63" fmla="*/ 253 h 322"/>
                <a:gd name="T64" fmla="*/ 257 w 312"/>
                <a:gd name="T65" fmla="*/ 321 h 322"/>
                <a:gd name="T66" fmla="*/ 261 w 312"/>
                <a:gd name="T67" fmla="*/ 322 h 322"/>
                <a:gd name="T68" fmla="*/ 264 w 312"/>
                <a:gd name="T69" fmla="*/ 322 h 322"/>
                <a:gd name="T70" fmla="*/ 268 w 312"/>
                <a:gd name="T71" fmla="*/ 322 h 322"/>
                <a:gd name="T72" fmla="*/ 272 w 312"/>
                <a:gd name="T73" fmla="*/ 320 h 322"/>
                <a:gd name="T74" fmla="*/ 275 w 312"/>
                <a:gd name="T75" fmla="*/ 317 h 322"/>
                <a:gd name="T76" fmla="*/ 276 w 312"/>
                <a:gd name="T77" fmla="*/ 314 h 322"/>
                <a:gd name="T78" fmla="*/ 276 w 312"/>
                <a:gd name="T79" fmla="*/ 310 h 322"/>
                <a:gd name="T80" fmla="*/ 275 w 312"/>
                <a:gd name="T81" fmla="*/ 306 h 322"/>
                <a:gd name="T82" fmla="*/ 231 w 312"/>
                <a:gd name="T83" fmla="*/ 207 h 322"/>
                <a:gd name="T84" fmla="*/ 308 w 312"/>
                <a:gd name="T85" fmla="*/ 140 h 322"/>
                <a:gd name="T86" fmla="*/ 311 w 312"/>
                <a:gd name="T87" fmla="*/ 138 h 322"/>
                <a:gd name="T88" fmla="*/ 312 w 312"/>
                <a:gd name="T89" fmla="*/ 134 h 322"/>
                <a:gd name="T90" fmla="*/ 312 w 312"/>
                <a:gd name="T91" fmla="*/ 131 h 322"/>
                <a:gd name="T92" fmla="*/ 312 w 312"/>
                <a:gd name="T93" fmla="*/ 127 h 322"/>
                <a:gd name="T94" fmla="*/ 310 w 312"/>
                <a:gd name="T95" fmla="*/ 124 h 322"/>
                <a:gd name="T96" fmla="*/ 307 w 312"/>
                <a:gd name="T97" fmla="*/ 121 h 322"/>
                <a:gd name="T98" fmla="*/ 304 w 312"/>
                <a:gd name="T99" fmla="*/ 120 h 322"/>
                <a:gd name="T100" fmla="*/ 300 w 312"/>
                <a:gd name="T101" fmla="*/ 11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00" y="119"/>
                  </a:moveTo>
                  <a:lnTo>
                    <a:pt x="201" y="119"/>
                  </a:lnTo>
                  <a:lnTo>
                    <a:pt x="168" y="8"/>
                  </a:lnTo>
                  <a:lnTo>
                    <a:pt x="167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7" y="5"/>
                  </a:lnTo>
                  <a:lnTo>
                    <a:pt x="146" y="8"/>
                  </a:lnTo>
                  <a:lnTo>
                    <a:pt x="112" y="119"/>
                  </a:lnTo>
                  <a:lnTo>
                    <a:pt x="13" y="119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4"/>
                  </a:lnTo>
                  <a:lnTo>
                    <a:pt x="2" y="127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3" y="138"/>
                  </a:lnTo>
                  <a:lnTo>
                    <a:pt x="5" y="140"/>
                  </a:lnTo>
                  <a:lnTo>
                    <a:pt x="82" y="204"/>
                  </a:lnTo>
                  <a:lnTo>
                    <a:pt x="38" y="306"/>
                  </a:lnTo>
                  <a:lnTo>
                    <a:pt x="37" y="309"/>
                  </a:lnTo>
                  <a:lnTo>
                    <a:pt x="37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4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1" y="322"/>
                  </a:lnTo>
                  <a:lnTo>
                    <a:pt x="264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5" y="317"/>
                  </a:lnTo>
                  <a:lnTo>
                    <a:pt x="276" y="314"/>
                  </a:lnTo>
                  <a:lnTo>
                    <a:pt x="276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8" y="140"/>
                  </a:lnTo>
                  <a:lnTo>
                    <a:pt x="311" y="138"/>
                  </a:lnTo>
                  <a:lnTo>
                    <a:pt x="312" y="134"/>
                  </a:lnTo>
                  <a:lnTo>
                    <a:pt x="312" y="131"/>
                  </a:lnTo>
                  <a:lnTo>
                    <a:pt x="312" y="127"/>
                  </a:lnTo>
                  <a:lnTo>
                    <a:pt x="310" y="124"/>
                  </a:lnTo>
                  <a:lnTo>
                    <a:pt x="307" y="121"/>
                  </a:lnTo>
                  <a:lnTo>
                    <a:pt x="304" y="120"/>
                  </a:lnTo>
                  <a:lnTo>
                    <a:pt x="30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265083" y="5382609"/>
            <a:ext cx="287338" cy="220663"/>
            <a:chOff x="1450975" y="2559050"/>
            <a:chExt cx="287338" cy="220663"/>
          </a:xfrm>
          <a:solidFill>
            <a:schemeClr val="bg1"/>
          </a:solidFill>
          <a:effectLst/>
        </p:grpSpPr>
        <p:sp>
          <p:nvSpPr>
            <p:cNvPr id="54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Freeform 3391"/>
          <p:cNvSpPr>
            <a:spLocks noEditPoints="1"/>
          </p:cNvSpPr>
          <p:nvPr/>
        </p:nvSpPr>
        <p:spPr bwMode="auto">
          <a:xfrm>
            <a:off x="5265877" y="3332429"/>
            <a:ext cx="285750" cy="285750"/>
          </a:xfrm>
          <a:custGeom>
            <a:avLst/>
            <a:gdLst>
              <a:gd name="T0" fmla="*/ 400 w 721"/>
              <a:gd name="T1" fmla="*/ 502 h 721"/>
              <a:gd name="T2" fmla="*/ 441 w 721"/>
              <a:gd name="T3" fmla="*/ 487 h 721"/>
              <a:gd name="T4" fmla="*/ 456 w 721"/>
              <a:gd name="T5" fmla="*/ 469 h 721"/>
              <a:gd name="T6" fmla="*/ 477 w 721"/>
              <a:gd name="T7" fmla="*/ 475 h 721"/>
              <a:gd name="T8" fmla="*/ 498 w 721"/>
              <a:gd name="T9" fmla="*/ 505 h 721"/>
              <a:gd name="T10" fmla="*/ 361 w 721"/>
              <a:gd name="T11" fmla="*/ 709 h 721"/>
              <a:gd name="T12" fmla="*/ 315 w 721"/>
              <a:gd name="T13" fmla="*/ 654 h 721"/>
              <a:gd name="T14" fmla="*/ 347 w 721"/>
              <a:gd name="T15" fmla="*/ 606 h 721"/>
              <a:gd name="T16" fmla="*/ 365 w 721"/>
              <a:gd name="T17" fmla="*/ 601 h 721"/>
              <a:gd name="T18" fmla="*/ 387 w 721"/>
              <a:gd name="T19" fmla="*/ 623 h 721"/>
              <a:gd name="T20" fmla="*/ 415 w 721"/>
              <a:gd name="T21" fmla="*/ 691 h 721"/>
              <a:gd name="T22" fmla="*/ 225 w 721"/>
              <a:gd name="T23" fmla="*/ 505 h 721"/>
              <a:gd name="T24" fmla="*/ 245 w 721"/>
              <a:gd name="T25" fmla="*/ 477 h 721"/>
              <a:gd name="T26" fmla="*/ 265 w 721"/>
              <a:gd name="T27" fmla="*/ 469 h 721"/>
              <a:gd name="T28" fmla="*/ 280 w 721"/>
              <a:gd name="T29" fmla="*/ 487 h 721"/>
              <a:gd name="T30" fmla="*/ 321 w 721"/>
              <a:gd name="T31" fmla="*/ 502 h 721"/>
              <a:gd name="T32" fmla="*/ 222 w 721"/>
              <a:gd name="T33" fmla="*/ 511 h 721"/>
              <a:gd name="T34" fmla="*/ 397 w 721"/>
              <a:gd name="T35" fmla="*/ 541 h 721"/>
              <a:gd name="T36" fmla="*/ 385 w 721"/>
              <a:gd name="T37" fmla="*/ 565 h 721"/>
              <a:gd name="T38" fmla="*/ 361 w 721"/>
              <a:gd name="T39" fmla="*/ 577 h 721"/>
              <a:gd name="T40" fmla="*/ 335 w 721"/>
              <a:gd name="T41" fmla="*/ 565 h 721"/>
              <a:gd name="T42" fmla="*/ 325 w 721"/>
              <a:gd name="T43" fmla="*/ 541 h 721"/>
              <a:gd name="T44" fmla="*/ 681 w 721"/>
              <a:gd name="T45" fmla="*/ 552 h 721"/>
              <a:gd name="T46" fmla="*/ 633 w 721"/>
              <a:gd name="T47" fmla="*/ 522 h 721"/>
              <a:gd name="T48" fmla="*/ 524 w 721"/>
              <a:gd name="T49" fmla="*/ 477 h 721"/>
              <a:gd name="T50" fmla="*/ 484 w 721"/>
              <a:gd name="T51" fmla="*/ 448 h 721"/>
              <a:gd name="T52" fmla="*/ 457 w 721"/>
              <a:gd name="T53" fmla="*/ 433 h 721"/>
              <a:gd name="T54" fmla="*/ 466 w 721"/>
              <a:gd name="T55" fmla="*/ 366 h 721"/>
              <a:gd name="T56" fmla="*/ 489 w 721"/>
              <a:gd name="T57" fmla="*/ 322 h 721"/>
              <a:gd name="T58" fmla="*/ 504 w 721"/>
              <a:gd name="T59" fmla="*/ 279 h 721"/>
              <a:gd name="T60" fmla="*/ 513 w 721"/>
              <a:gd name="T61" fmla="*/ 247 h 721"/>
              <a:gd name="T62" fmla="*/ 506 w 721"/>
              <a:gd name="T63" fmla="*/ 215 h 721"/>
              <a:gd name="T64" fmla="*/ 501 w 721"/>
              <a:gd name="T65" fmla="*/ 193 h 721"/>
              <a:gd name="T66" fmla="*/ 527 w 721"/>
              <a:gd name="T67" fmla="*/ 102 h 721"/>
              <a:gd name="T68" fmla="*/ 519 w 721"/>
              <a:gd name="T69" fmla="*/ 51 h 721"/>
              <a:gd name="T70" fmla="*/ 493 w 721"/>
              <a:gd name="T71" fmla="*/ 26 h 721"/>
              <a:gd name="T72" fmla="*/ 453 w 721"/>
              <a:gd name="T73" fmla="*/ 9 h 721"/>
              <a:gd name="T74" fmla="*/ 383 w 721"/>
              <a:gd name="T75" fmla="*/ 0 h 721"/>
              <a:gd name="T76" fmla="*/ 311 w 721"/>
              <a:gd name="T77" fmla="*/ 9 h 721"/>
              <a:gd name="T78" fmla="*/ 271 w 721"/>
              <a:gd name="T79" fmla="*/ 32 h 721"/>
              <a:gd name="T80" fmla="*/ 239 w 721"/>
              <a:gd name="T81" fmla="*/ 50 h 721"/>
              <a:gd name="T82" fmla="*/ 222 w 721"/>
              <a:gd name="T83" fmla="*/ 66 h 721"/>
              <a:gd name="T84" fmla="*/ 211 w 721"/>
              <a:gd name="T85" fmla="*/ 95 h 721"/>
              <a:gd name="T86" fmla="*/ 217 w 721"/>
              <a:gd name="T87" fmla="*/ 164 h 721"/>
              <a:gd name="T88" fmla="*/ 227 w 721"/>
              <a:gd name="T89" fmla="*/ 202 h 721"/>
              <a:gd name="T90" fmla="*/ 212 w 721"/>
              <a:gd name="T91" fmla="*/ 230 h 721"/>
              <a:gd name="T92" fmla="*/ 213 w 721"/>
              <a:gd name="T93" fmla="*/ 263 h 721"/>
              <a:gd name="T94" fmla="*/ 229 w 721"/>
              <a:gd name="T95" fmla="*/ 290 h 721"/>
              <a:gd name="T96" fmla="*/ 243 w 721"/>
              <a:gd name="T97" fmla="*/ 348 h 721"/>
              <a:gd name="T98" fmla="*/ 265 w 721"/>
              <a:gd name="T99" fmla="*/ 378 h 721"/>
              <a:gd name="T100" fmla="*/ 249 w 721"/>
              <a:gd name="T101" fmla="*/ 441 h 721"/>
              <a:gd name="T102" fmla="*/ 209 w 721"/>
              <a:gd name="T103" fmla="*/ 473 h 721"/>
              <a:gd name="T104" fmla="*/ 134 w 721"/>
              <a:gd name="T105" fmla="*/ 502 h 721"/>
              <a:gd name="T106" fmla="*/ 50 w 721"/>
              <a:gd name="T107" fmla="*/ 547 h 721"/>
              <a:gd name="T108" fmla="*/ 28 w 721"/>
              <a:gd name="T109" fmla="*/ 573 h 721"/>
              <a:gd name="T110" fmla="*/ 9 w 721"/>
              <a:gd name="T111" fmla="*/ 629 h 721"/>
              <a:gd name="T112" fmla="*/ 0 w 721"/>
              <a:gd name="T113" fmla="*/ 713 h 721"/>
              <a:gd name="T114" fmla="*/ 709 w 721"/>
              <a:gd name="T115" fmla="*/ 721 h 721"/>
              <a:gd name="T116" fmla="*/ 721 w 721"/>
              <a:gd name="T117" fmla="*/ 709 h 721"/>
              <a:gd name="T118" fmla="*/ 709 w 721"/>
              <a:gd name="T119" fmla="*/ 606 h 721"/>
              <a:gd name="T120" fmla="*/ 691 w 721"/>
              <a:gd name="T121" fmla="*/ 564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1" h="721">
                <a:moveTo>
                  <a:pt x="415" y="510"/>
                </a:moveTo>
                <a:lnTo>
                  <a:pt x="415" y="510"/>
                </a:lnTo>
                <a:lnTo>
                  <a:pt x="415" y="510"/>
                </a:lnTo>
                <a:lnTo>
                  <a:pt x="400" y="502"/>
                </a:lnTo>
                <a:lnTo>
                  <a:pt x="414" y="498"/>
                </a:lnTo>
                <a:lnTo>
                  <a:pt x="428" y="493"/>
                </a:lnTo>
                <a:lnTo>
                  <a:pt x="434" y="491"/>
                </a:lnTo>
                <a:lnTo>
                  <a:pt x="441" y="487"/>
                </a:lnTo>
                <a:lnTo>
                  <a:pt x="447" y="482"/>
                </a:lnTo>
                <a:lnTo>
                  <a:pt x="453" y="477"/>
                </a:lnTo>
                <a:lnTo>
                  <a:pt x="456" y="473"/>
                </a:lnTo>
                <a:lnTo>
                  <a:pt x="456" y="469"/>
                </a:lnTo>
                <a:lnTo>
                  <a:pt x="456" y="459"/>
                </a:lnTo>
                <a:lnTo>
                  <a:pt x="464" y="462"/>
                </a:lnTo>
                <a:lnTo>
                  <a:pt x="470" y="469"/>
                </a:lnTo>
                <a:lnTo>
                  <a:pt x="477" y="475"/>
                </a:lnTo>
                <a:lnTo>
                  <a:pt x="483" y="482"/>
                </a:lnTo>
                <a:lnTo>
                  <a:pt x="489" y="489"/>
                </a:lnTo>
                <a:lnTo>
                  <a:pt x="495" y="497"/>
                </a:lnTo>
                <a:lnTo>
                  <a:pt x="498" y="505"/>
                </a:lnTo>
                <a:lnTo>
                  <a:pt x="501" y="511"/>
                </a:lnTo>
                <a:lnTo>
                  <a:pt x="522" y="574"/>
                </a:lnTo>
                <a:lnTo>
                  <a:pt x="415" y="510"/>
                </a:lnTo>
                <a:close/>
                <a:moveTo>
                  <a:pt x="361" y="709"/>
                </a:moveTo>
                <a:lnTo>
                  <a:pt x="293" y="709"/>
                </a:lnTo>
                <a:lnTo>
                  <a:pt x="299" y="691"/>
                </a:lnTo>
                <a:lnTo>
                  <a:pt x="306" y="672"/>
                </a:lnTo>
                <a:lnTo>
                  <a:pt x="315" y="654"/>
                </a:lnTo>
                <a:lnTo>
                  <a:pt x="322" y="637"/>
                </a:lnTo>
                <a:lnTo>
                  <a:pt x="333" y="623"/>
                </a:lnTo>
                <a:lnTo>
                  <a:pt x="342" y="611"/>
                </a:lnTo>
                <a:lnTo>
                  <a:pt x="347" y="606"/>
                </a:lnTo>
                <a:lnTo>
                  <a:pt x="351" y="604"/>
                </a:lnTo>
                <a:lnTo>
                  <a:pt x="356" y="601"/>
                </a:lnTo>
                <a:lnTo>
                  <a:pt x="361" y="601"/>
                </a:lnTo>
                <a:lnTo>
                  <a:pt x="365" y="601"/>
                </a:lnTo>
                <a:lnTo>
                  <a:pt x="370" y="604"/>
                </a:lnTo>
                <a:lnTo>
                  <a:pt x="374" y="606"/>
                </a:lnTo>
                <a:lnTo>
                  <a:pt x="379" y="611"/>
                </a:lnTo>
                <a:lnTo>
                  <a:pt x="387" y="623"/>
                </a:lnTo>
                <a:lnTo>
                  <a:pt x="396" y="637"/>
                </a:lnTo>
                <a:lnTo>
                  <a:pt x="403" y="654"/>
                </a:lnTo>
                <a:lnTo>
                  <a:pt x="410" y="673"/>
                </a:lnTo>
                <a:lnTo>
                  <a:pt x="415" y="691"/>
                </a:lnTo>
                <a:lnTo>
                  <a:pt x="420" y="709"/>
                </a:lnTo>
                <a:lnTo>
                  <a:pt x="361" y="709"/>
                </a:lnTo>
                <a:close/>
                <a:moveTo>
                  <a:pt x="222" y="511"/>
                </a:moveTo>
                <a:lnTo>
                  <a:pt x="225" y="505"/>
                </a:lnTo>
                <a:lnTo>
                  <a:pt x="229" y="497"/>
                </a:lnTo>
                <a:lnTo>
                  <a:pt x="234" y="489"/>
                </a:lnTo>
                <a:lnTo>
                  <a:pt x="239" y="483"/>
                </a:lnTo>
                <a:lnTo>
                  <a:pt x="245" y="477"/>
                </a:lnTo>
                <a:lnTo>
                  <a:pt x="252" y="470"/>
                </a:lnTo>
                <a:lnTo>
                  <a:pt x="258" y="464"/>
                </a:lnTo>
                <a:lnTo>
                  <a:pt x="265" y="460"/>
                </a:lnTo>
                <a:lnTo>
                  <a:pt x="265" y="469"/>
                </a:lnTo>
                <a:lnTo>
                  <a:pt x="265" y="473"/>
                </a:lnTo>
                <a:lnTo>
                  <a:pt x="267" y="477"/>
                </a:lnTo>
                <a:lnTo>
                  <a:pt x="274" y="482"/>
                </a:lnTo>
                <a:lnTo>
                  <a:pt x="280" y="487"/>
                </a:lnTo>
                <a:lnTo>
                  <a:pt x="286" y="491"/>
                </a:lnTo>
                <a:lnTo>
                  <a:pt x="293" y="493"/>
                </a:lnTo>
                <a:lnTo>
                  <a:pt x="307" y="498"/>
                </a:lnTo>
                <a:lnTo>
                  <a:pt x="321" y="502"/>
                </a:lnTo>
                <a:lnTo>
                  <a:pt x="306" y="511"/>
                </a:lnTo>
                <a:lnTo>
                  <a:pt x="306" y="511"/>
                </a:lnTo>
                <a:lnTo>
                  <a:pt x="202" y="574"/>
                </a:lnTo>
                <a:lnTo>
                  <a:pt x="222" y="511"/>
                </a:lnTo>
                <a:close/>
                <a:moveTo>
                  <a:pt x="325" y="528"/>
                </a:moveTo>
                <a:lnTo>
                  <a:pt x="361" y="506"/>
                </a:lnTo>
                <a:lnTo>
                  <a:pt x="397" y="528"/>
                </a:lnTo>
                <a:lnTo>
                  <a:pt x="397" y="541"/>
                </a:lnTo>
                <a:lnTo>
                  <a:pt x="396" y="547"/>
                </a:lnTo>
                <a:lnTo>
                  <a:pt x="393" y="554"/>
                </a:lnTo>
                <a:lnTo>
                  <a:pt x="391" y="560"/>
                </a:lnTo>
                <a:lnTo>
                  <a:pt x="385" y="565"/>
                </a:lnTo>
                <a:lnTo>
                  <a:pt x="380" y="570"/>
                </a:lnTo>
                <a:lnTo>
                  <a:pt x="374" y="573"/>
                </a:lnTo>
                <a:lnTo>
                  <a:pt x="367" y="575"/>
                </a:lnTo>
                <a:lnTo>
                  <a:pt x="361" y="577"/>
                </a:lnTo>
                <a:lnTo>
                  <a:pt x="353" y="575"/>
                </a:lnTo>
                <a:lnTo>
                  <a:pt x="347" y="573"/>
                </a:lnTo>
                <a:lnTo>
                  <a:pt x="340" y="570"/>
                </a:lnTo>
                <a:lnTo>
                  <a:pt x="335" y="565"/>
                </a:lnTo>
                <a:lnTo>
                  <a:pt x="331" y="560"/>
                </a:lnTo>
                <a:lnTo>
                  <a:pt x="328" y="554"/>
                </a:lnTo>
                <a:lnTo>
                  <a:pt x="325" y="547"/>
                </a:lnTo>
                <a:lnTo>
                  <a:pt x="325" y="541"/>
                </a:lnTo>
                <a:lnTo>
                  <a:pt x="325" y="528"/>
                </a:lnTo>
                <a:close/>
                <a:moveTo>
                  <a:pt x="691" y="564"/>
                </a:moveTo>
                <a:lnTo>
                  <a:pt x="686" y="557"/>
                </a:lnTo>
                <a:lnTo>
                  <a:pt x="681" y="552"/>
                </a:lnTo>
                <a:lnTo>
                  <a:pt x="674" y="547"/>
                </a:lnTo>
                <a:lnTo>
                  <a:pt x="668" y="541"/>
                </a:lnTo>
                <a:lnTo>
                  <a:pt x="651" y="531"/>
                </a:lnTo>
                <a:lnTo>
                  <a:pt x="633" y="522"/>
                </a:lnTo>
                <a:lnTo>
                  <a:pt x="591" y="502"/>
                </a:lnTo>
                <a:lnTo>
                  <a:pt x="545" y="484"/>
                </a:lnTo>
                <a:lnTo>
                  <a:pt x="534" y="480"/>
                </a:lnTo>
                <a:lnTo>
                  <a:pt x="524" y="477"/>
                </a:lnTo>
                <a:lnTo>
                  <a:pt x="514" y="473"/>
                </a:lnTo>
                <a:lnTo>
                  <a:pt x="504" y="469"/>
                </a:lnTo>
                <a:lnTo>
                  <a:pt x="495" y="457"/>
                </a:lnTo>
                <a:lnTo>
                  <a:pt x="484" y="448"/>
                </a:lnTo>
                <a:lnTo>
                  <a:pt x="473" y="441"/>
                </a:lnTo>
                <a:lnTo>
                  <a:pt x="462" y="434"/>
                </a:lnTo>
                <a:lnTo>
                  <a:pt x="460" y="433"/>
                </a:lnTo>
                <a:lnTo>
                  <a:pt x="457" y="433"/>
                </a:lnTo>
                <a:lnTo>
                  <a:pt x="456" y="433"/>
                </a:lnTo>
                <a:lnTo>
                  <a:pt x="456" y="378"/>
                </a:lnTo>
                <a:lnTo>
                  <a:pt x="461" y="373"/>
                </a:lnTo>
                <a:lnTo>
                  <a:pt x="466" y="366"/>
                </a:lnTo>
                <a:lnTo>
                  <a:pt x="473" y="358"/>
                </a:lnTo>
                <a:lnTo>
                  <a:pt x="479" y="348"/>
                </a:lnTo>
                <a:lnTo>
                  <a:pt x="484" y="337"/>
                </a:lnTo>
                <a:lnTo>
                  <a:pt x="489" y="322"/>
                </a:lnTo>
                <a:lnTo>
                  <a:pt x="492" y="308"/>
                </a:lnTo>
                <a:lnTo>
                  <a:pt x="495" y="290"/>
                </a:lnTo>
                <a:lnTo>
                  <a:pt x="500" y="285"/>
                </a:lnTo>
                <a:lnTo>
                  <a:pt x="504" y="279"/>
                </a:lnTo>
                <a:lnTo>
                  <a:pt x="507" y="271"/>
                </a:lnTo>
                <a:lnTo>
                  <a:pt x="510" y="262"/>
                </a:lnTo>
                <a:lnTo>
                  <a:pt x="511" y="254"/>
                </a:lnTo>
                <a:lnTo>
                  <a:pt x="513" y="247"/>
                </a:lnTo>
                <a:lnTo>
                  <a:pt x="513" y="238"/>
                </a:lnTo>
                <a:lnTo>
                  <a:pt x="511" y="230"/>
                </a:lnTo>
                <a:lnTo>
                  <a:pt x="510" y="222"/>
                </a:lnTo>
                <a:lnTo>
                  <a:pt x="506" y="215"/>
                </a:lnTo>
                <a:lnTo>
                  <a:pt x="502" y="208"/>
                </a:lnTo>
                <a:lnTo>
                  <a:pt x="497" y="202"/>
                </a:lnTo>
                <a:lnTo>
                  <a:pt x="498" y="198"/>
                </a:lnTo>
                <a:lnTo>
                  <a:pt x="501" y="193"/>
                </a:lnTo>
                <a:lnTo>
                  <a:pt x="510" y="167"/>
                </a:lnTo>
                <a:lnTo>
                  <a:pt x="520" y="135"/>
                </a:lnTo>
                <a:lnTo>
                  <a:pt x="524" y="118"/>
                </a:lnTo>
                <a:lnTo>
                  <a:pt x="527" y="102"/>
                </a:lnTo>
                <a:lnTo>
                  <a:pt x="527" y="85"/>
                </a:lnTo>
                <a:lnTo>
                  <a:pt x="525" y="68"/>
                </a:lnTo>
                <a:lnTo>
                  <a:pt x="523" y="59"/>
                </a:lnTo>
                <a:lnTo>
                  <a:pt x="519" y="51"/>
                </a:lnTo>
                <a:lnTo>
                  <a:pt x="514" y="44"/>
                </a:lnTo>
                <a:lnTo>
                  <a:pt x="509" y="37"/>
                </a:lnTo>
                <a:lnTo>
                  <a:pt x="501" y="31"/>
                </a:lnTo>
                <a:lnTo>
                  <a:pt x="493" y="26"/>
                </a:lnTo>
                <a:lnTo>
                  <a:pt x="484" y="21"/>
                </a:lnTo>
                <a:lnTo>
                  <a:pt x="475" y="16"/>
                </a:lnTo>
                <a:lnTo>
                  <a:pt x="465" y="12"/>
                </a:lnTo>
                <a:lnTo>
                  <a:pt x="453" y="9"/>
                </a:lnTo>
                <a:lnTo>
                  <a:pt x="442" y="7"/>
                </a:lnTo>
                <a:lnTo>
                  <a:pt x="430" y="4"/>
                </a:lnTo>
                <a:lnTo>
                  <a:pt x="407" y="0"/>
                </a:lnTo>
                <a:lnTo>
                  <a:pt x="383" y="0"/>
                </a:lnTo>
                <a:lnTo>
                  <a:pt x="365" y="0"/>
                </a:lnTo>
                <a:lnTo>
                  <a:pt x="347" y="1"/>
                </a:lnTo>
                <a:lnTo>
                  <a:pt x="329" y="5"/>
                </a:lnTo>
                <a:lnTo>
                  <a:pt x="311" y="9"/>
                </a:lnTo>
                <a:lnTo>
                  <a:pt x="295" y="16"/>
                </a:lnTo>
                <a:lnTo>
                  <a:pt x="281" y="23"/>
                </a:lnTo>
                <a:lnTo>
                  <a:pt x="276" y="27"/>
                </a:lnTo>
                <a:lnTo>
                  <a:pt x="271" y="32"/>
                </a:lnTo>
                <a:lnTo>
                  <a:pt x="266" y="37"/>
                </a:lnTo>
                <a:lnTo>
                  <a:pt x="263" y="44"/>
                </a:lnTo>
                <a:lnTo>
                  <a:pt x="251" y="46"/>
                </a:lnTo>
                <a:lnTo>
                  <a:pt x="239" y="50"/>
                </a:lnTo>
                <a:lnTo>
                  <a:pt x="234" y="53"/>
                </a:lnTo>
                <a:lnTo>
                  <a:pt x="230" y="57"/>
                </a:lnTo>
                <a:lnTo>
                  <a:pt x="225" y="60"/>
                </a:lnTo>
                <a:lnTo>
                  <a:pt x="222" y="66"/>
                </a:lnTo>
                <a:lnTo>
                  <a:pt x="217" y="72"/>
                </a:lnTo>
                <a:lnTo>
                  <a:pt x="215" y="78"/>
                </a:lnTo>
                <a:lnTo>
                  <a:pt x="212" y="87"/>
                </a:lnTo>
                <a:lnTo>
                  <a:pt x="211" y="95"/>
                </a:lnTo>
                <a:lnTo>
                  <a:pt x="209" y="112"/>
                </a:lnTo>
                <a:lnTo>
                  <a:pt x="211" y="130"/>
                </a:lnTo>
                <a:lnTo>
                  <a:pt x="213" y="148"/>
                </a:lnTo>
                <a:lnTo>
                  <a:pt x="217" y="164"/>
                </a:lnTo>
                <a:lnTo>
                  <a:pt x="221" y="181"/>
                </a:lnTo>
                <a:lnTo>
                  <a:pt x="225" y="194"/>
                </a:lnTo>
                <a:lnTo>
                  <a:pt x="226" y="198"/>
                </a:lnTo>
                <a:lnTo>
                  <a:pt x="227" y="202"/>
                </a:lnTo>
                <a:lnTo>
                  <a:pt x="222" y="207"/>
                </a:lnTo>
                <a:lnTo>
                  <a:pt x="217" y="215"/>
                </a:lnTo>
                <a:lnTo>
                  <a:pt x="215" y="221"/>
                </a:lnTo>
                <a:lnTo>
                  <a:pt x="212" y="230"/>
                </a:lnTo>
                <a:lnTo>
                  <a:pt x="211" y="238"/>
                </a:lnTo>
                <a:lnTo>
                  <a:pt x="211" y="247"/>
                </a:lnTo>
                <a:lnTo>
                  <a:pt x="212" y="254"/>
                </a:lnTo>
                <a:lnTo>
                  <a:pt x="213" y="263"/>
                </a:lnTo>
                <a:lnTo>
                  <a:pt x="216" y="272"/>
                </a:lnTo>
                <a:lnTo>
                  <a:pt x="220" y="280"/>
                </a:lnTo>
                <a:lnTo>
                  <a:pt x="224" y="285"/>
                </a:lnTo>
                <a:lnTo>
                  <a:pt x="229" y="290"/>
                </a:lnTo>
                <a:lnTo>
                  <a:pt x="230" y="307"/>
                </a:lnTo>
                <a:lnTo>
                  <a:pt x="234" y="322"/>
                </a:lnTo>
                <a:lnTo>
                  <a:pt x="238" y="337"/>
                </a:lnTo>
                <a:lnTo>
                  <a:pt x="243" y="348"/>
                </a:lnTo>
                <a:lnTo>
                  <a:pt x="249" y="358"/>
                </a:lnTo>
                <a:lnTo>
                  <a:pt x="254" y="366"/>
                </a:lnTo>
                <a:lnTo>
                  <a:pt x="260" y="373"/>
                </a:lnTo>
                <a:lnTo>
                  <a:pt x="265" y="378"/>
                </a:lnTo>
                <a:lnTo>
                  <a:pt x="265" y="433"/>
                </a:lnTo>
                <a:lnTo>
                  <a:pt x="262" y="433"/>
                </a:lnTo>
                <a:lnTo>
                  <a:pt x="261" y="434"/>
                </a:lnTo>
                <a:lnTo>
                  <a:pt x="249" y="441"/>
                </a:lnTo>
                <a:lnTo>
                  <a:pt x="239" y="448"/>
                </a:lnTo>
                <a:lnTo>
                  <a:pt x="229" y="457"/>
                </a:lnTo>
                <a:lnTo>
                  <a:pt x="220" y="469"/>
                </a:lnTo>
                <a:lnTo>
                  <a:pt x="209" y="473"/>
                </a:lnTo>
                <a:lnTo>
                  <a:pt x="200" y="477"/>
                </a:lnTo>
                <a:lnTo>
                  <a:pt x="190" y="480"/>
                </a:lnTo>
                <a:lnTo>
                  <a:pt x="181" y="484"/>
                </a:lnTo>
                <a:lnTo>
                  <a:pt x="134" y="502"/>
                </a:lnTo>
                <a:lnTo>
                  <a:pt x="91" y="522"/>
                </a:lnTo>
                <a:lnTo>
                  <a:pt x="73" y="531"/>
                </a:lnTo>
                <a:lnTo>
                  <a:pt x="57" y="541"/>
                </a:lnTo>
                <a:lnTo>
                  <a:pt x="50" y="547"/>
                </a:lnTo>
                <a:lnTo>
                  <a:pt x="44" y="552"/>
                </a:lnTo>
                <a:lnTo>
                  <a:pt x="39" y="557"/>
                </a:lnTo>
                <a:lnTo>
                  <a:pt x="34" y="564"/>
                </a:lnTo>
                <a:lnTo>
                  <a:pt x="28" y="573"/>
                </a:lnTo>
                <a:lnTo>
                  <a:pt x="23" y="583"/>
                </a:lnTo>
                <a:lnTo>
                  <a:pt x="19" y="595"/>
                </a:lnTo>
                <a:lnTo>
                  <a:pt x="16" y="606"/>
                </a:lnTo>
                <a:lnTo>
                  <a:pt x="9" y="629"/>
                </a:lnTo>
                <a:lnTo>
                  <a:pt x="5" y="653"/>
                </a:lnTo>
                <a:lnTo>
                  <a:pt x="1" y="691"/>
                </a:lnTo>
                <a:lnTo>
                  <a:pt x="0" y="709"/>
                </a:lnTo>
                <a:lnTo>
                  <a:pt x="0" y="713"/>
                </a:lnTo>
                <a:lnTo>
                  <a:pt x="4" y="717"/>
                </a:lnTo>
                <a:lnTo>
                  <a:pt x="8" y="719"/>
                </a:lnTo>
                <a:lnTo>
                  <a:pt x="12" y="721"/>
                </a:lnTo>
                <a:lnTo>
                  <a:pt x="709" y="721"/>
                </a:lnTo>
                <a:lnTo>
                  <a:pt x="714" y="719"/>
                </a:lnTo>
                <a:lnTo>
                  <a:pt x="718" y="717"/>
                </a:lnTo>
                <a:lnTo>
                  <a:pt x="721" y="713"/>
                </a:lnTo>
                <a:lnTo>
                  <a:pt x="721" y="709"/>
                </a:lnTo>
                <a:lnTo>
                  <a:pt x="721" y="691"/>
                </a:lnTo>
                <a:lnTo>
                  <a:pt x="718" y="653"/>
                </a:lnTo>
                <a:lnTo>
                  <a:pt x="714" y="629"/>
                </a:lnTo>
                <a:lnTo>
                  <a:pt x="709" y="606"/>
                </a:lnTo>
                <a:lnTo>
                  <a:pt x="705" y="595"/>
                </a:lnTo>
                <a:lnTo>
                  <a:pt x="701" y="583"/>
                </a:lnTo>
                <a:lnTo>
                  <a:pt x="696" y="573"/>
                </a:lnTo>
                <a:lnTo>
                  <a:pt x="691" y="5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4344"/>
          <p:cNvSpPr>
            <a:spLocks/>
          </p:cNvSpPr>
          <p:nvPr/>
        </p:nvSpPr>
        <p:spPr bwMode="auto">
          <a:xfrm>
            <a:off x="5268258" y="4316557"/>
            <a:ext cx="280988" cy="280988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FEA34F"/>
              </a:solidFill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826809" y="2363070"/>
            <a:ext cx="3427830" cy="2755752"/>
            <a:chOff x="826809" y="2258219"/>
            <a:chExt cx="3427830" cy="2755752"/>
          </a:xfrm>
        </p:grpSpPr>
        <p:sp>
          <p:nvSpPr>
            <p:cNvPr id="61" name="TextBox 60"/>
            <p:cNvSpPr txBox="1"/>
            <p:nvPr/>
          </p:nvSpPr>
          <p:spPr>
            <a:xfrm>
              <a:off x="826809" y="2258219"/>
              <a:ext cx="1200650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4800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80%</a:t>
              </a:r>
              <a:endParaRPr lang="en-US" sz="4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826809" y="3065193"/>
              <a:ext cx="3427830" cy="10900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826809" y="4574178"/>
              <a:ext cx="208241" cy="416482"/>
              <a:chOff x="7085013" y="5922963"/>
              <a:chExt cx="142875" cy="285750"/>
            </a:xfrm>
            <a:solidFill>
              <a:srgbClr val="B0F7F4"/>
            </a:solidFill>
            <a:effectLst/>
          </p:grpSpPr>
          <p:sp>
            <p:nvSpPr>
              <p:cNvPr id="64" name="Freeform 3394"/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395"/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2525065" y="4574178"/>
              <a:ext cx="208241" cy="416482"/>
              <a:chOff x="6530975" y="5922963"/>
              <a:chExt cx="142875" cy="285750"/>
            </a:xfrm>
            <a:solidFill>
              <a:srgbClr val="B0F7F4"/>
            </a:solidFill>
          </p:grpSpPr>
          <p:sp>
            <p:nvSpPr>
              <p:cNvPr id="70" name="Freeform 3402"/>
              <p:cNvSpPr>
                <a:spLocks/>
              </p:cNvSpPr>
              <p:nvPr/>
            </p:nvSpPr>
            <p:spPr bwMode="auto">
              <a:xfrm>
                <a:off x="6554788" y="5922963"/>
                <a:ext cx="93662" cy="93663"/>
              </a:xfrm>
              <a:custGeom>
                <a:avLst/>
                <a:gdLst>
                  <a:gd name="T0" fmla="*/ 131 w 237"/>
                  <a:gd name="T1" fmla="*/ 235 h 236"/>
                  <a:gd name="T2" fmla="*/ 154 w 237"/>
                  <a:gd name="T3" fmla="*/ 230 h 236"/>
                  <a:gd name="T4" fmla="*/ 175 w 237"/>
                  <a:gd name="T5" fmla="*/ 221 h 236"/>
                  <a:gd name="T6" fmla="*/ 194 w 237"/>
                  <a:gd name="T7" fmla="*/ 209 h 236"/>
                  <a:gd name="T8" fmla="*/ 210 w 237"/>
                  <a:gd name="T9" fmla="*/ 192 h 236"/>
                  <a:gd name="T10" fmla="*/ 222 w 237"/>
                  <a:gd name="T11" fmla="*/ 173 h 236"/>
                  <a:gd name="T12" fmla="*/ 231 w 237"/>
                  <a:gd name="T13" fmla="*/ 153 h 236"/>
                  <a:gd name="T14" fmla="*/ 237 w 237"/>
                  <a:gd name="T15" fmla="*/ 129 h 236"/>
                  <a:gd name="T16" fmla="*/ 237 w 237"/>
                  <a:gd name="T17" fmla="*/ 105 h 236"/>
                  <a:gd name="T18" fmla="*/ 231 w 237"/>
                  <a:gd name="T19" fmla="*/ 82 h 236"/>
                  <a:gd name="T20" fmla="*/ 222 w 237"/>
                  <a:gd name="T21" fmla="*/ 61 h 236"/>
                  <a:gd name="T22" fmla="*/ 210 w 237"/>
                  <a:gd name="T23" fmla="*/ 42 h 236"/>
                  <a:gd name="T24" fmla="*/ 194 w 237"/>
                  <a:gd name="T25" fmla="*/ 27 h 236"/>
                  <a:gd name="T26" fmla="*/ 175 w 237"/>
                  <a:gd name="T27" fmla="*/ 14 h 236"/>
                  <a:gd name="T28" fmla="*/ 153 w 237"/>
                  <a:gd name="T29" fmla="*/ 5 h 236"/>
                  <a:gd name="T30" fmla="*/ 131 w 237"/>
                  <a:gd name="T31" fmla="*/ 0 h 236"/>
                  <a:gd name="T32" fmla="*/ 107 w 237"/>
                  <a:gd name="T33" fmla="*/ 0 h 236"/>
                  <a:gd name="T34" fmla="*/ 84 w 237"/>
                  <a:gd name="T35" fmla="*/ 5 h 236"/>
                  <a:gd name="T36" fmla="*/ 62 w 237"/>
                  <a:gd name="T37" fmla="*/ 14 h 236"/>
                  <a:gd name="T38" fmla="*/ 44 w 237"/>
                  <a:gd name="T39" fmla="*/ 27 h 236"/>
                  <a:gd name="T40" fmla="*/ 27 w 237"/>
                  <a:gd name="T41" fmla="*/ 42 h 236"/>
                  <a:gd name="T42" fmla="*/ 14 w 237"/>
                  <a:gd name="T43" fmla="*/ 61 h 236"/>
                  <a:gd name="T44" fmla="*/ 5 w 237"/>
                  <a:gd name="T45" fmla="*/ 82 h 236"/>
                  <a:gd name="T46" fmla="*/ 2 w 237"/>
                  <a:gd name="T47" fmla="*/ 105 h 236"/>
                  <a:gd name="T48" fmla="*/ 2 w 237"/>
                  <a:gd name="T49" fmla="*/ 129 h 236"/>
                  <a:gd name="T50" fmla="*/ 5 w 237"/>
                  <a:gd name="T51" fmla="*/ 153 h 236"/>
                  <a:gd name="T52" fmla="*/ 14 w 237"/>
                  <a:gd name="T53" fmla="*/ 173 h 236"/>
                  <a:gd name="T54" fmla="*/ 27 w 237"/>
                  <a:gd name="T55" fmla="*/ 192 h 236"/>
                  <a:gd name="T56" fmla="*/ 44 w 237"/>
                  <a:gd name="T57" fmla="*/ 209 h 236"/>
                  <a:gd name="T58" fmla="*/ 62 w 237"/>
                  <a:gd name="T59" fmla="*/ 221 h 236"/>
                  <a:gd name="T60" fmla="*/ 84 w 237"/>
                  <a:gd name="T61" fmla="*/ 230 h 236"/>
                  <a:gd name="T62" fmla="*/ 107 w 237"/>
                  <a:gd name="T63" fmla="*/ 235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7" h="236">
                    <a:moveTo>
                      <a:pt x="118" y="236"/>
                    </a:moveTo>
                    <a:lnTo>
                      <a:pt x="131" y="235"/>
                    </a:lnTo>
                    <a:lnTo>
                      <a:pt x="143" y="233"/>
                    </a:lnTo>
                    <a:lnTo>
                      <a:pt x="154" y="230"/>
                    </a:lnTo>
                    <a:lnTo>
                      <a:pt x="165" y="226"/>
                    </a:lnTo>
                    <a:lnTo>
                      <a:pt x="175" y="221"/>
                    </a:lnTo>
                    <a:lnTo>
                      <a:pt x="185" y="215"/>
                    </a:lnTo>
                    <a:lnTo>
                      <a:pt x="194" y="209"/>
                    </a:lnTo>
                    <a:lnTo>
                      <a:pt x="202" y="201"/>
                    </a:lnTo>
                    <a:lnTo>
                      <a:pt x="210" y="192"/>
                    </a:lnTo>
                    <a:lnTo>
                      <a:pt x="216" y="183"/>
                    </a:lnTo>
                    <a:lnTo>
                      <a:pt x="222" y="173"/>
                    </a:lnTo>
                    <a:lnTo>
                      <a:pt x="228" y="163"/>
                    </a:lnTo>
                    <a:lnTo>
                      <a:pt x="231" y="153"/>
                    </a:lnTo>
                    <a:lnTo>
                      <a:pt x="234" y="141"/>
                    </a:lnTo>
                    <a:lnTo>
                      <a:pt x="237" y="129"/>
                    </a:lnTo>
                    <a:lnTo>
                      <a:pt x="237" y="118"/>
                    </a:lnTo>
                    <a:lnTo>
                      <a:pt x="237" y="105"/>
                    </a:lnTo>
                    <a:lnTo>
                      <a:pt x="234" y="93"/>
                    </a:lnTo>
                    <a:lnTo>
                      <a:pt x="231" y="82"/>
                    </a:lnTo>
                    <a:lnTo>
                      <a:pt x="228" y="72"/>
                    </a:lnTo>
                    <a:lnTo>
                      <a:pt x="222" y="61"/>
                    </a:lnTo>
                    <a:lnTo>
                      <a:pt x="216" y="51"/>
                    </a:lnTo>
                    <a:lnTo>
                      <a:pt x="210" y="42"/>
                    </a:lnTo>
                    <a:lnTo>
                      <a:pt x="202" y="34"/>
                    </a:lnTo>
                    <a:lnTo>
                      <a:pt x="194" y="27"/>
                    </a:lnTo>
                    <a:lnTo>
                      <a:pt x="185" y="19"/>
                    </a:lnTo>
                    <a:lnTo>
                      <a:pt x="175" y="14"/>
                    </a:lnTo>
                    <a:lnTo>
                      <a:pt x="165" y="9"/>
                    </a:lnTo>
                    <a:lnTo>
                      <a:pt x="153" y="5"/>
                    </a:lnTo>
                    <a:lnTo>
                      <a:pt x="143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07" y="0"/>
                    </a:lnTo>
                    <a:lnTo>
                      <a:pt x="95" y="2"/>
                    </a:lnTo>
                    <a:lnTo>
                      <a:pt x="84" y="5"/>
                    </a:lnTo>
                    <a:lnTo>
                      <a:pt x="72" y="9"/>
                    </a:lnTo>
                    <a:lnTo>
                      <a:pt x="62" y="14"/>
                    </a:lnTo>
                    <a:lnTo>
                      <a:pt x="53" y="19"/>
                    </a:lnTo>
                    <a:lnTo>
                      <a:pt x="44" y="27"/>
                    </a:lnTo>
                    <a:lnTo>
                      <a:pt x="35" y="34"/>
                    </a:lnTo>
                    <a:lnTo>
                      <a:pt x="27" y="42"/>
                    </a:lnTo>
                    <a:lnTo>
                      <a:pt x="21" y="51"/>
                    </a:lnTo>
                    <a:lnTo>
                      <a:pt x="14" y="61"/>
                    </a:lnTo>
                    <a:lnTo>
                      <a:pt x="9" y="72"/>
                    </a:lnTo>
                    <a:lnTo>
                      <a:pt x="5" y="82"/>
                    </a:lnTo>
                    <a:lnTo>
                      <a:pt x="3" y="93"/>
                    </a:lnTo>
                    <a:lnTo>
                      <a:pt x="2" y="105"/>
                    </a:lnTo>
                    <a:lnTo>
                      <a:pt x="0" y="118"/>
                    </a:lnTo>
                    <a:lnTo>
                      <a:pt x="2" y="129"/>
                    </a:lnTo>
                    <a:lnTo>
                      <a:pt x="3" y="141"/>
                    </a:lnTo>
                    <a:lnTo>
                      <a:pt x="5" y="153"/>
                    </a:lnTo>
                    <a:lnTo>
                      <a:pt x="9" y="163"/>
                    </a:lnTo>
                    <a:lnTo>
                      <a:pt x="14" y="173"/>
                    </a:lnTo>
                    <a:lnTo>
                      <a:pt x="21" y="183"/>
                    </a:lnTo>
                    <a:lnTo>
                      <a:pt x="27" y="192"/>
                    </a:lnTo>
                    <a:lnTo>
                      <a:pt x="35" y="201"/>
                    </a:lnTo>
                    <a:lnTo>
                      <a:pt x="44" y="209"/>
                    </a:lnTo>
                    <a:lnTo>
                      <a:pt x="53" y="215"/>
                    </a:lnTo>
                    <a:lnTo>
                      <a:pt x="62" y="221"/>
                    </a:lnTo>
                    <a:lnTo>
                      <a:pt x="72" y="226"/>
                    </a:lnTo>
                    <a:lnTo>
                      <a:pt x="84" y="230"/>
                    </a:lnTo>
                    <a:lnTo>
                      <a:pt x="95" y="233"/>
                    </a:lnTo>
                    <a:lnTo>
                      <a:pt x="107" y="235"/>
                    </a:lnTo>
                    <a:lnTo>
                      <a:pt x="118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403"/>
              <p:cNvSpPr>
                <a:spLocks/>
              </p:cNvSpPr>
              <p:nvPr/>
            </p:nvSpPr>
            <p:spPr bwMode="auto">
              <a:xfrm>
                <a:off x="6530975" y="6030913"/>
                <a:ext cx="142875" cy="177800"/>
              </a:xfrm>
              <a:custGeom>
                <a:avLst/>
                <a:gdLst>
                  <a:gd name="T0" fmla="*/ 178 w 361"/>
                  <a:gd name="T1" fmla="*/ 0 h 448"/>
                  <a:gd name="T2" fmla="*/ 169 w 361"/>
                  <a:gd name="T3" fmla="*/ 0 h 448"/>
                  <a:gd name="T4" fmla="*/ 160 w 361"/>
                  <a:gd name="T5" fmla="*/ 1 h 448"/>
                  <a:gd name="T6" fmla="*/ 150 w 361"/>
                  <a:gd name="T7" fmla="*/ 4 h 448"/>
                  <a:gd name="T8" fmla="*/ 141 w 361"/>
                  <a:gd name="T9" fmla="*/ 5 h 448"/>
                  <a:gd name="T10" fmla="*/ 133 w 361"/>
                  <a:gd name="T11" fmla="*/ 9 h 448"/>
                  <a:gd name="T12" fmla="*/ 124 w 361"/>
                  <a:gd name="T13" fmla="*/ 13 h 448"/>
                  <a:gd name="T14" fmla="*/ 115 w 361"/>
                  <a:gd name="T15" fmla="*/ 17 h 448"/>
                  <a:gd name="T16" fmla="*/ 108 w 361"/>
                  <a:gd name="T17" fmla="*/ 22 h 448"/>
                  <a:gd name="T18" fmla="*/ 92 w 361"/>
                  <a:gd name="T19" fmla="*/ 35 h 448"/>
                  <a:gd name="T20" fmla="*/ 77 w 361"/>
                  <a:gd name="T21" fmla="*/ 49 h 448"/>
                  <a:gd name="T22" fmla="*/ 64 w 361"/>
                  <a:gd name="T23" fmla="*/ 65 h 448"/>
                  <a:gd name="T24" fmla="*/ 51 w 361"/>
                  <a:gd name="T25" fmla="*/ 83 h 448"/>
                  <a:gd name="T26" fmla="*/ 40 w 361"/>
                  <a:gd name="T27" fmla="*/ 104 h 448"/>
                  <a:gd name="T28" fmla="*/ 29 w 361"/>
                  <a:gd name="T29" fmla="*/ 127 h 448"/>
                  <a:gd name="T30" fmla="*/ 20 w 361"/>
                  <a:gd name="T31" fmla="*/ 150 h 448"/>
                  <a:gd name="T32" fmla="*/ 14 w 361"/>
                  <a:gd name="T33" fmla="*/ 176 h 448"/>
                  <a:gd name="T34" fmla="*/ 8 w 361"/>
                  <a:gd name="T35" fmla="*/ 203 h 448"/>
                  <a:gd name="T36" fmla="*/ 4 w 361"/>
                  <a:gd name="T37" fmla="*/ 231 h 448"/>
                  <a:gd name="T38" fmla="*/ 1 w 361"/>
                  <a:gd name="T39" fmla="*/ 262 h 448"/>
                  <a:gd name="T40" fmla="*/ 0 w 361"/>
                  <a:gd name="T41" fmla="*/ 293 h 448"/>
                  <a:gd name="T42" fmla="*/ 0 w 361"/>
                  <a:gd name="T43" fmla="*/ 304 h 448"/>
                  <a:gd name="T44" fmla="*/ 108 w 361"/>
                  <a:gd name="T45" fmla="*/ 304 h 448"/>
                  <a:gd name="T46" fmla="*/ 108 w 361"/>
                  <a:gd name="T47" fmla="*/ 448 h 448"/>
                  <a:gd name="T48" fmla="*/ 253 w 361"/>
                  <a:gd name="T49" fmla="*/ 448 h 448"/>
                  <a:gd name="T50" fmla="*/ 253 w 361"/>
                  <a:gd name="T51" fmla="*/ 304 h 448"/>
                  <a:gd name="T52" fmla="*/ 361 w 361"/>
                  <a:gd name="T53" fmla="*/ 304 h 448"/>
                  <a:gd name="T54" fmla="*/ 361 w 361"/>
                  <a:gd name="T55" fmla="*/ 291 h 448"/>
                  <a:gd name="T56" fmla="*/ 359 w 361"/>
                  <a:gd name="T57" fmla="*/ 262 h 448"/>
                  <a:gd name="T58" fmla="*/ 357 w 361"/>
                  <a:gd name="T59" fmla="*/ 231 h 448"/>
                  <a:gd name="T60" fmla="*/ 353 w 361"/>
                  <a:gd name="T61" fmla="*/ 203 h 448"/>
                  <a:gd name="T62" fmla="*/ 347 w 361"/>
                  <a:gd name="T63" fmla="*/ 176 h 448"/>
                  <a:gd name="T64" fmla="*/ 339 w 361"/>
                  <a:gd name="T65" fmla="*/ 150 h 448"/>
                  <a:gd name="T66" fmla="*/ 330 w 361"/>
                  <a:gd name="T67" fmla="*/ 127 h 448"/>
                  <a:gd name="T68" fmla="*/ 320 w 361"/>
                  <a:gd name="T69" fmla="*/ 104 h 448"/>
                  <a:gd name="T70" fmla="*/ 308 w 361"/>
                  <a:gd name="T71" fmla="*/ 83 h 448"/>
                  <a:gd name="T72" fmla="*/ 295 w 361"/>
                  <a:gd name="T73" fmla="*/ 65 h 448"/>
                  <a:gd name="T74" fmla="*/ 281 w 361"/>
                  <a:gd name="T75" fmla="*/ 49 h 448"/>
                  <a:gd name="T76" fmla="*/ 267 w 361"/>
                  <a:gd name="T77" fmla="*/ 35 h 448"/>
                  <a:gd name="T78" fmla="*/ 250 w 361"/>
                  <a:gd name="T79" fmla="*/ 22 h 448"/>
                  <a:gd name="T80" fmla="*/ 243 w 361"/>
                  <a:gd name="T81" fmla="*/ 17 h 448"/>
                  <a:gd name="T82" fmla="*/ 234 w 361"/>
                  <a:gd name="T83" fmla="*/ 13 h 448"/>
                  <a:gd name="T84" fmla="*/ 225 w 361"/>
                  <a:gd name="T85" fmla="*/ 9 h 448"/>
                  <a:gd name="T86" fmla="*/ 216 w 361"/>
                  <a:gd name="T87" fmla="*/ 5 h 448"/>
                  <a:gd name="T88" fmla="*/ 207 w 361"/>
                  <a:gd name="T89" fmla="*/ 4 h 448"/>
                  <a:gd name="T90" fmla="*/ 198 w 361"/>
                  <a:gd name="T91" fmla="*/ 1 h 448"/>
                  <a:gd name="T92" fmla="*/ 189 w 361"/>
                  <a:gd name="T93" fmla="*/ 0 h 448"/>
                  <a:gd name="T94" fmla="*/ 178 w 361"/>
                  <a:gd name="T95" fmla="*/ 0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1" h="448">
                    <a:moveTo>
                      <a:pt x="178" y="0"/>
                    </a:moveTo>
                    <a:lnTo>
                      <a:pt x="169" y="0"/>
                    </a:lnTo>
                    <a:lnTo>
                      <a:pt x="160" y="1"/>
                    </a:lnTo>
                    <a:lnTo>
                      <a:pt x="150" y="4"/>
                    </a:lnTo>
                    <a:lnTo>
                      <a:pt x="141" y="5"/>
                    </a:lnTo>
                    <a:lnTo>
                      <a:pt x="133" y="9"/>
                    </a:lnTo>
                    <a:lnTo>
                      <a:pt x="124" y="13"/>
                    </a:lnTo>
                    <a:lnTo>
                      <a:pt x="115" y="17"/>
                    </a:lnTo>
                    <a:lnTo>
                      <a:pt x="108" y="22"/>
                    </a:lnTo>
                    <a:lnTo>
                      <a:pt x="92" y="35"/>
                    </a:lnTo>
                    <a:lnTo>
                      <a:pt x="77" y="49"/>
                    </a:lnTo>
                    <a:lnTo>
                      <a:pt x="64" y="65"/>
                    </a:lnTo>
                    <a:lnTo>
                      <a:pt x="51" y="83"/>
                    </a:lnTo>
                    <a:lnTo>
                      <a:pt x="40" y="104"/>
                    </a:lnTo>
                    <a:lnTo>
                      <a:pt x="29" y="127"/>
                    </a:lnTo>
                    <a:lnTo>
                      <a:pt x="20" y="150"/>
                    </a:lnTo>
                    <a:lnTo>
                      <a:pt x="14" y="176"/>
                    </a:lnTo>
                    <a:lnTo>
                      <a:pt x="8" y="203"/>
                    </a:lnTo>
                    <a:lnTo>
                      <a:pt x="4" y="231"/>
                    </a:lnTo>
                    <a:lnTo>
                      <a:pt x="1" y="262"/>
                    </a:lnTo>
                    <a:lnTo>
                      <a:pt x="0" y="293"/>
                    </a:lnTo>
                    <a:lnTo>
                      <a:pt x="0" y="304"/>
                    </a:lnTo>
                    <a:lnTo>
                      <a:pt x="108" y="304"/>
                    </a:lnTo>
                    <a:lnTo>
                      <a:pt x="108" y="448"/>
                    </a:lnTo>
                    <a:lnTo>
                      <a:pt x="253" y="448"/>
                    </a:lnTo>
                    <a:lnTo>
                      <a:pt x="253" y="304"/>
                    </a:lnTo>
                    <a:lnTo>
                      <a:pt x="361" y="304"/>
                    </a:lnTo>
                    <a:lnTo>
                      <a:pt x="361" y="291"/>
                    </a:lnTo>
                    <a:lnTo>
                      <a:pt x="359" y="262"/>
                    </a:lnTo>
                    <a:lnTo>
                      <a:pt x="357" y="231"/>
                    </a:lnTo>
                    <a:lnTo>
                      <a:pt x="353" y="203"/>
                    </a:lnTo>
                    <a:lnTo>
                      <a:pt x="347" y="176"/>
                    </a:lnTo>
                    <a:lnTo>
                      <a:pt x="339" y="150"/>
                    </a:lnTo>
                    <a:lnTo>
                      <a:pt x="330" y="127"/>
                    </a:lnTo>
                    <a:lnTo>
                      <a:pt x="320" y="104"/>
                    </a:lnTo>
                    <a:lnTo>
                      <a:pt x="308" y="83"/>
                    </a:lnTo>
                    <a:lnTo>
                      <a:pt x="295" y="65"/>
                    </a:lnTo>
                    <a:lnTo>
                      <a:pt x="281" y="49"/>
                    </a:lnTo>
                    <a:lnTo>
                      <a:pt x="267" y="35"/>
                    </a:lnTo>
                    <a:lnTo>
                      <a:pt x="250" y="22"/>
                    </a:lnTo>
                    <a:lnTo>
                      <a:pt x="243" y="17"/>
                    </a:lnTo>
                    <a:lnTo>
                      <a:pt x="234" y="13"/>
                    </a:lnTo>
                    <a:lnTo>
                      <a:pt x="225" y="9"/>
                    </a:lnTo>
                    <a:lnTo>
                      <a:pt x="216" y="5"/>
                    </a:lnTo>
                    <a:lnTo>
                      <a:pt x="207" y="4"/>
                    </a:lnTo>
                    <a:lnTo>
                      <a:pt x="198" y="1"/>
                    </a:lnTo>
                    <a:lnTo>
                      <a:pt x="189" y="0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72" name="Straight Connector 71"/>
            <p:cNvCxnSpPr/>
            <p:nvPr/>
          </p:nvCxnSpPr>
          <p:spPr>
            <a:xfrm>
              <a:off x="826809" y="4347842"/>
              <a:ext cx="3332441" cy="0"/>
            </a:xfrm>
            <a:prstGeom prst="line">
              <a:avLst/>
            </a:prstGeom>
            <a:ln>
              <a:solidFill>
                <a:srgbClr val="B0F7F4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 Placeholder 2"/>
            <p:cNvSpPr txBox="1">
              <a:spLocks/>
            </p:cNvSpPr>
            <p:nvPr/>
          </p:nvSpPr>
          <p:spPr>
            <a:xfrm>
              <a:off x="1218991" y="4860083"/>
              <a:ext cx="90205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75" name="Text Placeholder 2"/>
            <p:cNvSpPr txBox="1">
              <a:spLocks/>
            </p:cNvSpPr>
            <p:nvPr/>
          </p:nvSpPr>
          <p:spPr>
            <a:xfrm>
              <a:off x="2882619" y="4860083"/>
              <a:ext cx="90205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1218991" y="4540102"/>
              <a:ext cx="45044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0%</a:t>
              </a:r>
              <a:endParaRPr lang="en-US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894335" y="4540102"/>
              <a:ext cx="45044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60%</a:t>
              </a:r>
              <a:endParaRPr lang="en-US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82" name="Rectangle 48"/>
          <p:cNvSpPr>
            <a:spLocks noChangeArrowheads="1"/>
          </p:cNvSpPr>
          <p:nvPr/>
        </p:nvSpPr>
        <p:spPr bwMode="auto">
          <a:xfrm>
            <a:off x="3110" y="6490546"/>
            <a:ext cx="12188890" cy="367454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415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564366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 flipH="1">
            <a:off x="550419" y="3396773"/>
            <a:ext cx="11367625" cy="2054313"/>
            <a:chOff x="550419" y="3396773"/>
            <a:chExt cx="11367625" cy="2054313"/>
          </a:xfrm>
        </p:grpSpPr>
        <p:sp>
          <p:nvSpPr>
            <p:cNvPr id="23" name="Oval 58"/>
            <p:cNvSpPr>
              <a:spLocks noChangeArrowheads="1"/>
            </p:cNvSpPr>
            <p:nvPr/>
          </p:nvSpPr>
          <p:spPr bwMode="auto">
            <a:xfrm>
              <a:off x="3392376" y="5184522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59"/>
            <p:cNvSpPr>
              <a:spLocks noChangeArrowheads="1"/>
            </p:cNvSpPr>
            <p:nvPr/>
          </p:nvSpPr>
          <p:spPr bwMode="auto">
            <a:xfrm>
              <a:off x="5251528" y="527537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auto">
            <a:xfrm>
              <a:off x="4745126" y="3741159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auto">
            <a:xfrm>
              <a:off x="550419" y="4656884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7"/>
            <p:cNvSpPr>
              <a:spLocks noChangeArrowheads="1"/>
            </p:cNvSpPr>
            <p:nvPr/>
          </p:nvSpPr>
          <p:spPr bwMode="auto">
            <a:xfrm>
              <a:off x="1206347" y="502484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auto">
            <a:xfrm>
              <a:off x="4525570" y="506696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auto">
            <a:xfrm>
              <a:off x="6475176" y="5044751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auto">
            <a:xfrm>
              <a:off x="2630625" y="5069082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4"/>
            <p:cNvSpPr>
              <a:spLocks noChangeArrowheads="1"/>
            </p:cNvSpPr>
            <p:nvPr/>
          </p:nvSpPr>
          <p:spPr bwMode="auto">
            <a:xfrm>
              <a:off x="2936214" y="4258356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5"/>
            <p:cNvSpPr>
              <a:spLocks noChangeArrowheads="1"/>
            </p:cNvSpPr>
            <p:nvPr/>
          </p:nvSpPr>
          <p:spPr bwMode="auto">
            <a:xfrm>
              <a:off x="1948349" y="5378442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9"/>
            <p:cNvSpPr>
              <a:spLocks noChangeArrowheads="1"/>
            </p:cNvSpPr>
            <p:nvPr/>
          </p:nvSpPr>
          <p:spPr bwMode="auto">
            <a:xfrm>
              <a:off x="7717986" y="4134900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3110" y="5643660"/>
            <a:ext cx="12188890" cy="1214340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0" name="Group 109"/>
          <p:cNvGrpSpPr/>
          <p:nvPr/>
        </p:nvGrpSpPr>
        <p:grpSpPr>
          <a:xfrm>
            <a:off x="-1328128" y="4154461"/>
            <a:ext cx="7405903" cy="2764502"/>
            <a:chOff x="-3347622" y="4154461"/>
            <a:chExt cx="7405903" cy="2764502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-1530125" y="4869259"/>
              <a:ext cx="1559618" cy="774401"/>
            </a:xfrm>
            <a:custGeom>
              <a:avLst/>
              <a:gdLst>
                <a:gd name="T0" fmla="*/ 0 w 1442"/>
                <a:gd name="T1" fmla="*/ 716 h 716"/>
                <a:gd name="T2" fmla="*/ 1442 w 1442"/>
                <a:gd name="T3" fmla="*/ 716 h 716"/>
                <a:gd name="T4" fmla="*/ 725 w 1442"/>
                <a:gd name="T5" fmla="*/ 0 h 716"/>
                <a:gd name="T6" fmla="*/ 0 w 1442"/>
                <a:gd name="T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2" h="716">
                  <a:moveTo>
                    <a:pt x="0" y="716"/>
                  </a:moveTo>
                  <a:lnTo>
                    <a:pt x="1442" y="716"/>
                  </a:lnTo>
                  <a:lnTo>
                    <a:pt x="725" y="0"/>
                  </a:lnTo>
                  <a:lnTo>
                    <a:pt x="0" y="716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-3347622" y="4154461"/>
              <a:ext cx="2995886" cy="1489199"/>
            </a:xfrm>
            <a:custGeom>
              <a:avLst/>
              <a:gdLst>
                <a:gd name="T0" fmla="*/ 0 w 2227"/>
                <a:gd name="T1" fmla="*/ 1107 h 1107"/>
                <a:gd name="T2" fmla="*/ 2227 w 2227"/>
                <a:gd name="T3" fmla="*/ 1107 h 1107"/>
                <a:gd name="T4" fmla="*/ 1121 w 2227"/>
                <a:gd name="T5" fmla="*/ 0 h 1107"/>
                <a:gd name="T6" fmla="*/ 0 w 2227"/>
                <a:gd name="T7" fmla="*/ 1107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27" h="1107">
                  <a:moveTo>
                    <a:pt x="0" y="1107"/>
                  </a:moveTo>
                  <a:lnTo>
                    <a:pt x="2227" y="1107"/>
                  </a:lnTo>
                  <a:lnTo>
                    <a:pt x="1121" y="0"/>
                  </a:lnTo>
                  <a:lnTo>
                    <a:pt x="0" y="1107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2346882" y="5061164"/>
              <a:ext cx="1173064" cy="582496"/>
            </a:xfrm>
            <a:custGeom>
              <a:avLst/>
              <a:gdLst>
                <a:gd name="T0" fmla="*/ 0 w 872"/>
                <a:gd name="T1" fmla="*/ 433 h 433"/>
                <a:gd name="T2" fmla="*/ 872 w 872"/>
                <a:gd name="T3" fmla="*/ 433 h 433"/>
                <a:gd name="T4" fmla="*/ 440 w 872"/>
                <a:gd name="T5" fmla="*/ 0 h 433"/>
                <a:gd name="T6" fmla="*/ 0 w 872"/>
                <a:gd name="T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2" h="433">
                  <a:moveTo>
                    <a:pt x="0" y="433"/>
                  </a:moveTo>
                  <a:lnTo>
                    <a:pt x="872" y="433"/>
                  </a:lnTo>
                  <a:lnTo>
                    <a:pt x="440" y="0"/>
                  </a:lnTo>
                  <a:lnTo>
                    <a:pt x="0" y="433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194531" y="5389407"/>
              <a:ext cx="511197" cy="254253"/>
            </a:xfrm>
            <a:custGeom>
              <a:avLst/>
              <a:gdLst>
                <a:gd name="T0" fmla="*/ 0 w 380"/>
                <a:gd name="T1" fmla="*/ 189 h 189"/>
                <a:gd name="T2" fmla="*/ 380 w 380"/>
                <a:gd name="T3" fmla="*/ 189 h 189"/>
                <a:gd name="T4" fmla="*/ 191 w 380"/>
                <a:gd name="T5" fmla="*/ 0 h 189"/>
                <a:gd name="T6" fmla="*/ 0 w 380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0" h="189">
                  <a:moveTo>
                    <a:pt x="0" y="189"/>
                  </a:moveTo>
                  <a:lnTo>
                    <a:pt x="380" y="189"/>
                  </a:lnTo>
                  <a:lnTo>
                    <a:pt x="191" y="0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3243493" y="5240024"/>
              <a:ext cx="814788" cy="403636"/>
            </a:xfrm>
            <a:custGeom>
              <a:avLst/>
              <a:gdLst>
                <a:gd name="T0" fmla="*/ 0 w 759"/>
                <a:gd name="T1" fmla="*/ 376 h 376"/>
                <a:gd name="T2" fmla="*/ 759 w 759"/>
                <a:gd name="T3" fmla="*/ 376 h 376"/>
                <a:gd name="T4" fmla="*/ 381 w 759"/>
                <a:gd name="T5" fmla="*/ 0 h 376"/>
                <a:gd name="T6" fmla="*/ 0 w 759"/>
                <a:gd name="T7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9" h="376">
                  <a:moveTo>
                    <a:pt x="0" y="376"/>
                  </a:moveTo>
                  <a:lnTo>
                    <a:pt x="759" y="376"/>
                  </a:lnTo>
                  <a:lnTo>
                    <a:pt x="381" y="0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9"/>
            <p:cNvSpPr>
              <a:spLocks/>
            </p:cNvSpPr>
            <p:nvPr/>
          </p:nvSpPr>
          <p:spPr bwMode="auto">
            <a:xfrm>
              <a:off x="-1530125" y="5643661"/>
              <a:ext cx="1672437" cy="832160"/>
            </a:xfrm>
            <a:custGeom>
              <a:avLst/>
              <a:gdLst>
                <a:gd name="T0" fmla="*/ 0 w 1236"/>
                <a:gd name="T1" fmla="*/ 0 h 615"/>
                <a:gd name="T2" fmla="*/ 1236 w 1236"/>
                <a:gd name="T3" fmla="*/ 0 h 615"/>
                <a:gd name="T4" fmla="*/ 621 w 1236"/>
                <a:gd name="T5" fmla="*/ 615 h 615"/>
                <a:gd name="T6" fmla="*/ 0 w 1236"/>
                <a:gd name="T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6" h="615">
                  <a:moveTo>
                    <a:pt x="0" y="0"/>
                  </a:moveTo>
                  <a:lnTo>
                    <a:pt x="1236" y="0"/>
                  </a:lnTo>
                  <a:lnTo>
                    <a:pt x="621" y="6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10000"/>
                  </a:srgbClr>
                </a:gs>
                <a:gs pos="21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-3233814" y="5643660"/>
              <a:ext cx="2565404" cy="1275303"/>
            </a:xfrm>
            <a:custGeom>
              <a:avLst/>
              <a:gdLst>
                <a:gd name="T0" fmla="*/ 0 w 1907"/>
                <a:gd name="T1" fmla="*/ 0 h 948"/>
                <a:gd name="T2" fmla="*/ 1907 w 1907"/>
                <a:gd name="T3" fmla="*/ 0 h 948"/>
                <a:gd name="T4" fmla="*/ 962 w 1907"/>
                <a:gd name="T5" fmla="*/ 948 h 948"/>
                <a:gd name="T6" fmla="*/ 0 w 1907"/>
                <a:gd name="T7" fmla="*/ 0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7" h="948">
                  <a:moveTo>
                    <a:pt x="0" y="0"/>
                  </a:moveTo>
                  <a:lnTo>
                    <a:pt x="1907" y="0"/>
                  </a:lnTo>
                  <a:lnTo>
                    <a:pt x="962" y="948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1"/>
            <p:cNvSpPr>
              <a:spLocks/>
            </p:cNvSpPr>
            <p:nvPr/>
          </p:nvSpPr>
          <p:spPr bwMode="auto">
            <a:xfrm>
              <a:off x="2360669" y="5643660"/>
              <a:ext cx="1004907" cy="499090"/>
            </a:xfrm>
            <a:custGeom>
              <a:avLst/>
              <a:gdLst>
                <a:gd name="T0" fmla="*/ 0 w 747"/>
                <a:gd name="T1" fmla="*/ 0 h 371"/>
                <a:gd name="T2" fmla="*/ 747 w 747"/>
                <a:gd name="T3" fmla="*/ 0 h 371"/>
                <a:gd name="T4" fmla="*/ 376 w 747"/>
                <a:gd name="T5" fmla="*/ 371 h 371"/>
                <a:gd name="T6" fmla="*/ 0 w 747"/>
                <a:gd name="T7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7" h="371">
                  <a:moveTo>
                    <a:pt x="0" y="0"/>
                  </a:moveTo>
                  <a:lnTo>
                    <a:pt x="747" y="0"/>
                  </a:lnTo>
                  <a:lnTo>
                    <a:pt x="376" y="371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6"/>
            <p:cNvSpPr>
              <a:spLocks/>
            </p:cNvSpPr>
            <p:nvPr/>
          </p:nvSpPr>
          <p:spPr bwMode="auto">
            <a:xfrm>
              <a:off x="3346538" y="5643661"/>
              <a:ext cx="588915" cy="292570"/>
            </a:xfrm>
            <a:custGeom>
              <a:avLst/>
              <a:gdLst>
                <a:gd name="T0" fmla="*/ 0 w 624"/>
                <a:gd name="T1" fmla="*/ 0 h 310"/>
                <a:gd name="T2" fmla="*/ 624 w 624"/>
                <a:gd name="T3" fmla="*/ 0 h 310"/>
                <a:gd name="T4" fmla="*/ 315 w 624"/>
                <a:gd name="T5" fmla="*/ 310 h 310"/>
                <a:gd name="T6" fmla="*/ 0 w 624"/>
                <a:gd name="T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4" h="310">
                  <a:moveTo>
                    <a:pt x="0" y="0"/>
                  </a:moveTo>
                  <a:lnTo>
                    <a:pt x="624" y="0"/>
                  </a:lnTo>
                  <a:lnTo>
                    <a:pt x="315" y="31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006195" y="5478193"/>
              <a:ext cx="333624" cy="165467"/>
            </a:xfrm>
            <a:custGeom>
              <a:avLst/>
              <a:gdLst>
                <a:gd name="T0" fmla="*/ 0 w 248"/>
                <a:gd name="T1" fmla="*/ 123 h 123"/>
                <a:gd name="T2" fmla="*/ 248 w 248"/>
                <a:gd name="T3" fmla="*/ 123 h 123"/>
                <a:gd name="T4" fmla="*/ 125 w 248"/>
                <a:gd name="T5" fmla="*/ 0 h 123"/>
                <a:gd name="T6" fmla="*/ 0 w 248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123">
                  <a:moveTo>
                    <a:pt x="0" y="123"/>
                  </a:moveTo>
                  <a:lnTo>
                    <a:pt x="248" y="123"/>
                  </a:lnTo>
                  <a:lnTo>
                    <a:pt x="12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4928948" y="589490"/>
            <a:ext cx="1925014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ROFILE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1" name="Group 4"/>
          <p:cNvGrpSpPr>
            <a:grpSpLocks noChangeAspect="1"/>
          </p:cNvGrpSpPr>
          <p:nvPr/>
        </p:nvGrpSpPr>
        <p:grpSpPr bwMode="auto">
          <a:xfrm flipH="1">
            <a:off x="1414065" y="704151"/>
            <a:ext cx="2921862" cy="5521180"/>
            <a:chOff x="3532" y="1579"/>
            <a:chExt cx="616" cy="1164"/>
          </a:xfrm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6"/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Oval 7"/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0" name="Freeform 12"/>
          <p:cNvSpPr>
            <a:spLocks/>
          </p:cNvSpPr>
          <p:nvPr/>
        </p:nvSpPr>
        <p:spPr bwMode="auto">
          <a:xfrm>
            <a:off x="1414066" y="6235492"/>
            <a:ext cx="2921862" cy="1009901"/>
          </a:xfrm>
          <a:custGeom>
            <a:avLst/>
            <a:gdLst>
              <a:gd name="T0" fmla="*/ 258 w 258"/>
              <a:gd name="T1" fmla="*/ 84 h 84"/>
              <a:gd name="T2" fmla="*/ 0 w 258"/>
              <a:gd name="T3" fmla="*/ 84 h 84"/>
              <a:gd name="T4" fmla="*/ 0 w 258"/>
              <a:gd name="T5" fmla="*/ 21 h 84"/>
              <a:gd name="T6" fmla="*/ 20 w 258"/>
              <a:gd name="T7" fmla="*/ 0 h 84"/>
              <a:gd name="T8" fmla="*/ 237 w 258"/>
              <a:gd name="T9" fmla="*/ 0 h 84"/>
              <a:gd name="T10" fmla="*/ 258 w 258"/>
              <a:gd name="T11" fmla="*/ 21 h 84"/>
              <a:gd name="T12" fmla="*/ 258 w 258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8" h="84">
                <a:moveTo>
                  <a:pt x="258" y="84"/>
                </a:moveTo>
                <a:cubicBezTo>
                  <a:pt x="0" y="84"/>
                  <a:pt x="0" y="84"/>
                  <a:pt x="0" y="84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0" y="0"/>
                </a:cubicBezTo>
                <a:cubicBezTo>
                  <a:pt x="237" y="0"/>
                  <a:pt x="237" y="0"/>
                  <a:pt x="237" y="0"/>
                </a:cubicBezTo>
                <a:cubicBezTo>
                  <a:pt x="249" y="0"/>
                  <a:pt x="258" y="9"/>
                  <a:pt x="258" y="21"/>
                </a:cubicBezTo>
                <a:lnTo>
                  <a:pt x="258" y="84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1" name="Group 110"/>
          <p:cNvGrpSpPr/>
          <p:nvPr/>
        </p:nvGrpSpPr>
        <p:grpSpPr>
          <a:xfrm>
            <a:off x="5034608" y="2995101"/>
            <a:ext cx="769339" cy="769339"/>
            <a:chOff x="1119850" y="3102137"/>
            <a:chExt cx="798223" cy="798223"/>
          </a:xfrm>
        </p:grpSpPr>
        <p:sp>
          <p:nvSpPr>
            <p:cNvPr id="112" name="Rectangle 111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5034608" y="4310852"/>
            <a:ext cx="769339" cy="769339"/>
            <a:chOff x="1119850" y="3102137"/>
            <a:chExt cx="798223" cy="798223"/>
          </a:xfrm>
        </p:grpSpPr>
        <p:sp>
          <p:nvSpPr>
            <p:cNvPr id="115" name="Rectangle 114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1849216" y="2254403"/>
            <a:ext cx="2051560" cy="2867028"/>
            <a:chOff x="1883524" y="2254403"/>
            <a:chExt cx="2051560" cy="2867028"/>
          </a:xfrm>
        </p:grpSpPr>
        <p:sp>
          <p:nvSpPr>
            <p:cNvPr id="105" name="Rectangle 104"/>
            <p:cNvSpPr/>
            <p:nvPr/>
          </p:nvSpPr>
          <p:spPr>
            <a:xfrm rot="2700000">
              <a:off x="2234763" y="2254403"/>
              <a:ext cx="1349083" cy="134908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1" name="Freeform 3391"/>
            <p:cNvSpPr>
              <a:spLocks noEditPoints="1"/>
            </p:cNvSpPr>
            <p:nvPr/>
          </p:nvSpPr>
          <p:spPr bwMode="auto">
            <a:xfrm>
              <a:off x="2633281" y="2652921"/>
              <a:ext cx="552046" cy="552046"/>
            </a:xfrm>
            <a:custGeom>
              <a:avLst/>
              <a:gdLst>
                <a:gd name="T0" fmla="*/ 400 w 721"/>
                <a:gd name="T1" fmla="*/ 502 h 721"/>
                <a:gd name="T2" fmla="*/ 441 w 721"/>
                <a:gd name="T3" fmla="*/ 487 h 721"/>
                <a:gd name="T4" fmla="*/ 456 w 721"/>
                <a:gd name="T5" fmla="*/ 469 h 721"/>
                <a:gd name="T6" fmla="*/ 477 w 721"/>
                <a:gd name="T7" fmla="*/ 475 h 721"/>
                <a:gd name="T8" fmla="*/ 498 w 721"/>
                <a:gd name="T9" fmla="*/ 505 h 721"/>
                <a:gd name="T10" fmla="*/ 361 w 721"/>
                <a:gd name="T11" fmla="*/ 709 h 721"/>
                <a:gd name="T12" fmla="*/ 315 w 721"/>
                <a:gd name="T13" fmla="*/ 654 h 721"/>
                <a:gd name="T14" fmla="*/ 347 w 721"/>
                <a:gd name="T15" fmla="*/ 606 h 721"/>
                <a:gd name="T16" fmla="*/ 365 w 721"/>
                <a:gd name="T17" fmla="*/ 601 h 721"/>
                <a:gd name="T18" fmla="*/ 387 w 721"/>
                <a:gd name="T19" fmla="*/ 623 h 721"/>
                <a:gd name="T20" fmla="*/ 415 w 721"/>
                <a:gd name="T21" fmla="*/ 691 h 721"/>
                <a:gd name="T22" fmla="*/ 225 w 721"/>
                <a:gd name="T23" fmla="*/ 505 h 721"/>
                <a:gd name="T24" fmla="*/ 245 w 721"/>
                <a:gd name="T25" fmla="*/ 477 h 721"/>
                <a:gd name="T26" fmla="*/ 265 w 721"/>
                <a:gd name="T27" fmla="*/ 469 h 721"/>
                <a:gd name="T28" fmla="*/ 280 w 721"/>
                <a:gd name="T29" fmla="*/ 487 h 721"/>
                <a:gd name="T30" fmla="*/ 321 w 721"/>
                <a:gd name="T31" fmla="*/ 502 h 721"/>
                <a:gd name="T32" fmla="*/ 222 w 721"/>
                <a:gd name="T33" fmla="*/ 511 h 721"/>
                <a:gd name="T34" fmla="*/ 397 w 721"/>
                <a:gd name="T35" fmla="*/ 541 h 721"/>
                <a:gd name="T36" fmla="*/ 385 w 721"/>
                <a:gd name="T37" fmla="*/ 565 h 721"/>
                <a:gd name="T38" fmla="*/ 361 w 721"/>
                <a:gd name="T39" fmla="*/ 577 h 721"/>
                <a:gd name="T40" fmla="*/ 335 w 721"/>
                <a:gd name="T41" fmla="*/ 565 h 721"/>
                <a:gd name="T42" fmla="*/ 325 w 721"/>
                <a:gd name="T43" fmla="*/ 541 h 721"/>
                <a:gd name="T44" fmla="*/ 681 w 721"/>
                <a:gd name="T45" fmla="*/ 552 h 721"/>
                <a:gd name="T46" fmla="*/ 633 w 721"/>
                <a:gd name="T47" fmla="*/ 522 h 721"/>
                <a:gd name="T48" fmla="*/ 524 w 721"/>
                <a:gd name="T49" fmla="*/ 477 h 721"/>
                <a:gd name="T50" fmla="*/ 484 w 721"/>
                <a:gd name="T51" fmla="*/ 448 h 721"/>
                <a:gd name="T52" fmla="*/ 457 w 721"/>
                <a:gd name="T53" fmla="*/ 433 h 721"/>
                <a:gd name="T54" fmla="*/ 466 w 721"/>
                <a:gd name="T55" fmla="*/ 366 h 721"/>
                <a:gd name="T56" fmla="*/ 489 w 721"/>
                <a:gd name="T57" fmla="*/ 322 h 721"/>
                <a:gd name="T58" fmla="*/ 504 w 721"/>
                <a:gd name="T59" fmla="*/ 279 h 721"/>
                <a:gd name="T60" fmla="*/ 513 w 721"/>
                <a:gd name="T61" fmla="*/ 247 h 721"/>
                <a:gd name="T62" fmla="*/ 506 w 721"/>
                <a:gd name="T63" fmla="*/ 215 h 721"/>
                <a:gd name="T64" fmla="*/ 501 w 721"/>
                <a:gd name="T65" fmla="*/ 193 h 721"/>
                <a:gd name="T66" fmla="*/ 527 w 721"/>
                <a:gd name="T67" fmla="*/ 102 h 721"/>
                <a:gd name="T68" fmla="*/ 519 w 721"/>
                <a:gd name="T69" fmla="*/ 51 h 721"/>
                <a:gd name="T70" fmla="*/ 493 w 721"/>
                <a:gd name="T71" fmla="*/ 26 h 721"/>
                <a:gd name="T72" fmla="*/ 453 w 721"/>
                <a:gd name="T73" fmla="*/ 9 h 721"/>
                <a:gd name="T74" fmla="*/ 383 w 721"/>
                <a:gd name="T75" fmla="*/ 0 h 721"/>
                <a:gd name="T76" fmla="*/ 311 w 721"/>
                <a:gd name="T77" fmla="*/ 9 h 721"/>
                <a:gd name="T78" fmla="*/ 271 w 721"/>
                <a:gd name="T79" fmla="*/ 32 h 721"/>
                <a:gd name="T80" fmla="*/ 239 w 721"/>
                <a:gd name="T81" fmla="*/ 50 h 721"/>
                <a:gd name="T82" fmla="*/ 222 w 721"/>
                <a:gd name="T83" fmla="*/ 66 h 721"/>
                <a:gd name="T84" fmla="*/ 211 w 721"/>
                <a:gd name="T85" fmla="*/ 95 h 721"/>
                <a:gd name="T86" fmla="*/ 217 w 721"/>
                <a:gd name="T87" fmla="*/ 164 h 721"/>
                <a:gd name="T88" fmla="*/ 227 w 721"/>
                <a:gd name="T89" fmla="*/ 202 h 721"/>
                <a:gd name="T90" fmla="*/ 212 w 721"/>
                <a:gd name="T91" fmla="*/ 230 h 721"/>
                <a:gd name="T92" fmla="*/ 213 w 721"/>
                <a:gd name="T93" fmla="*/ 263 h 721"/>
                <a:gd name="T94" fmla="*/ 229 w 721"/>
                <a:gd name="T95" fmla="*/ 290 h 721"/>
                <a:gd name="T96" fmla="*/ 243 w 721"/>
                <a:gd name="T97" fmla="*/ 348 h 721"/>
                <a:gd name="T98" fmla="*/ 265 w 721"/>
                <a:gd name="T99" fmla="*/ 378 h 721"/>
                <a:gd name="T100" fmla="*/ 249 w 721"/>
                <a:gd name="T101" fmla="*/ 441 h 721"/>
                <a:gd name="T102" fmla="*/ 209 w 721"/>
                <a:gd name="T103" fmla="*/ 473 h 721"/>
                <a:gd name="T104" fmla="*/ 134 w 721"/>
                <a:gd name="T105" fmla="*/ 502 h 721"/>
                <a:gd name="T106" fmla="*/ 50 w 721"/>
                <a:gd name="T107" fmla="*/ 547 h 721"/>
                <a:gd name="T108" fmla="*/ 28 w 721"/>
                <a:gd name="T109" fmla="*/ 573 h 721"/>
                <a:gd name="T110" fmla="*/ 9 w 721"/>
                <a:gd name="T111" fmla="*/ 629 h 721"/>
                <a:gd name="T112" fmla="*/ 0 w 721"/>
                <a:gd name="T113" fmla="*/ 713 h 721"/>
                <a:gd name="T114" fmla="*/ 709 w 721"/>
                <a:gd name="T115" fmla="*/ 721 h 721"/>
                <a:gd name="T116" fmla="*/ 721 w 721"/>
                <a:gd name="T117" fmla="*/ 709 h 721"/>
                <a:gd name="T118" fmla="*/ 709 w 721"/>
                <a:gd name="T119" fmla="*/ 606 h 721"/>
                <a:gd name="T120" fmla="*/ 691 w 721"/>
                <a:gd name="T121" fmla="*/ 564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1" h="721">
                  <a:moveTo>
                    <a:pt x="415" y="510"/>
                  </a:moveTo>
                  <a:lnTo>
                    <a:pt x="415" y="510"/>
                  </a:lnTo>
                  <a:lnTo>
                    <a:pt x="415" y="510"/>
                  </a:lnTo>
                  <a:lnTo>
                    <a:pt x="400" y="502"/>
                  </a:lnTo>
                  <a:lnTo>
                    <a:pt x="414" y="498"/>
                  </a:lnTo>
                  <a:lnTo>
                    <a:pt x="428" y="493"/>
                  </a:lnTo>
                  <a:lnTo>
                    <a:pt x="434" y="491"/>
                  </a:lnTo>
                  <a:lnTo>
                    <a:pt x="441" y="487"/>
                  </a:lnTo>
                  <a:lnTo>
                    <a:pt x="447" y="482"/>
                  </a:lnTo>
                  <a:lnTo>
                    <a:pt x="453" y="477"/>
                  </a:lnTo>
                  <a:lnTo>
                    <a:pt x="456" y="473"/>
                  </a:lnTo>
                  <a:lnTo>
                    <a:pt x="456" y="469"/>
                  </a:lnTo>
                  <a:lnTo>
                    <a:pt x="456" y="459"/>
                  </a:lnTo>
                  <a:lnTo>
                    <a:pt x="464" y="462"/>
                  </a:lnTo>
                  <a:lnTo>
                    <a:pt x="470" y="469"/>
                  </a:lnTo>
                  <a:lnTo>
                    <a:pt x="477" y="475"/>
                  </a:lnTo>
                  <a:lnTo>
                    <a:pt x="483" y="482"/>
                  </a:lnTo>
                  <a:lnTo>
                    <a:pt x="489" y="489"/>
                  </a:lnTo>
                  <a:lnTo>
                    <a:pt x="495" y="497"/>
                  </a:lnTo>
                  <a:lnTo>
                    <a:pt x="498" y="505"/>
                  </a:lnTo>
                  <a:lnTo>
                    <a:pt x="501" y="511"/>
                  </a:lnTo>
                  <a:lnTo>
                    <a:pt x="522" y="574"/>
                  </a:lnTo>
                  <a:lnTo>
                    <a:pt x="415" y="510"/>
                  </a:lnTo>
                  <a:close/>
                  <a:moveTo>
                    <a:pt x="361" y="709"/>
                  </a:moveTo>
                  <a:lnTo>
                    <a:pt x="293" y="709"/>
                  </a:lnTo>
                  <a:lnTo>
                    <a:pt x="299" y="691"/>
                  </a:lnTo>
                  <a:lnTo>
                    <a:pt x="306" y="672"/>
                  </a:lnTo>
                  <a:lnTo>
                    <a:pt x="315" y="654"/>
                  </a:lnTo>
                  <a:lnTo>
                    <a:pt x="322" y="637"/>
                  </a:lnTo>
                  <a:lnTo>
                    <a:pt x="333" y="623"/>
                  </a:lnTo>
                  <a:lnTo>
                    <a:pt x="342" y="611"/>
                  </a:lnTo>
                  <a:lnTo>
                    <a:pt x="347" y="606"/>
                  </a:lnTo>
                  <a:lnTo>
                    <a:pt x="351" y="604"/>
                  </a:lnTo>
                  <a:lnTo>
                    <a:pt x="356" y="601"/>
                  </a:lnTo>
                  <a:lnTo>
                    <a:pt x="361" y="601"/>
                  </a:lnTo>
                  <a:lnTo>
                    <a:pt x="365" y="601"/>
                  </a:lnTo>
                  <a:lnTo>
                    <a:pt x="370" y="604"/>
                  </a:lnTo>
                  <a:lnTo>
                    <a:pt x="374" y="606"/>
                  </a:lnTo>
                  <a:lnTo>
                    <a:pt x="379" y="611"/>
                  </a:lnTo>
                  <a:lnTo>
                    <a:pt x="387" y="623"/>
                  </a:lnTo>
                  <a:lnTo>
                    <a:pt x="396" y="637"/>
                  </a:lnTo>
                  <a:lnTo>
                    <a:pt x="403" y="654"/>
                  </a:lnTo>
                  <a:lnTo>
                    <a:pt x="410" y="673"/>
                  </a:lnTo>
                  <a:lnTo>
                    <a:pt x="415" y="691"/>
                  </a:lnTo>
                  <a:lnTo>
                    <a:pt x="420" y="709"/>
                  </a:lnTo>
                  <a:lnTo>
                    <a:pt x="361" y="709"/>
                  </a:lnTo>
                  <a:close/>
                  <a:moveTo>
                    <a:pt x="222" y="511"/>
                  </a:moveTo>
                  <a:lnTo>
                    <a:pt x="225" y="505"/>
                  </a:lnTo>
                  <a:lnTo>
                    <a:pt x="229" y="497"/>
                  </a:lnTo>
                  <a:lnTo>
                    <a:pt x="234" y="489"/>
                  </a:lnTo>
                  <a:lnTo>
                    <a:pt x="239" y="483"/>
                  </a:lnTo>
                  <a:lnTo>
                    <a:pt x="245" y="477"/>
                  </a:lnTo>
                  <a:lnTo>
                    <a:pt x="252" y="470"/>
                  </a:lnTo>
                  <a:lnTo>
                    <a:pt x="258" y="464"/>
                  </a:lnTo>
                  <a:lnTo>
                    <a:pt x="265" y="460"/>
                  </a:lnTo>
                  <a:lnTo>
                    <a:pt x="265" y="469"/>
                  </a:lnTo>
                  <a:lnTo>
                    <a:pt x="265" y="473"/>
                  </a:lnTo>
                  <a:lnTo>
                    <a:pt x="267" y="477"/>
                  </a:lnTo>
                  <a:lnTo>
                    <a:pt x="274" y="482"/>
                  </a:lnTo>
                  <a:lnTo>
                    <a:pt x="280" y="487"/>
                  </a:lnTo>
                  <a:lnTo>
                    <a:pt x="286" y="491"/>
                  </a:lnTo>
                  <a:lnTo>
                    <a:pt x="293" y="493"/>
                  </a:lnTo>
                  <a:lnTo>
                    <a:pt x="307" y="498"/>
                  </a:lnTo>
                  <a:lnTo>
                    <a:pt x="321" y="502"/>
                  </a:lnTo>
                  <a:lnTo>
                    <a:pt x="306" y="511"/>
                  </a:lnTo>
                  <a:lnTo>
                    <a:pt x="306" y="511"/>
                  </a:lnTo>
                  <a:lnTo>
                    <a:pt x="202" y="574"/>
                  </a:lnTo>
                  <a:lnTo>
                    <a:pt x="222" y="511"/>
                  </a:lnTo>
                  <a:close/>
                  <a:moveTo>
                    <a:pt x="325" y="528"/>
                  </a:moveTo>
                  <a:lnTo>
                    <a:pt x="361" y="506"/>
                  </a:lnTo>
                  <a:lnTo>
                    <a:pt x="397" y="528"/>
                  </a:lnTo>
                  <a:lnTo>
                    <a:pt x="397" y="541"/>
                  </a:lnTo>
                  <a:lnTo>
                    <a:pt x="396" y="547"/>
                  </a:lnTo>
                  <a:lnTo>
                    <a:pt x="393" y="554"/>
                  </a:lnTo>
                  <a:lnTo>
                    <a:pt x="391" y="560"/>
                  </a:lnTo>
                  <a:lnTo>
                    <a:pt x="385" y="565"/>
                  </a:lnTo>
                  <a:lnTo>
                    <a:pt x="380" y="570"/>
                  </a:lnTo>
                  <a:lnTo>
                    <a:pt x="374" y="573"/>
                  </a:lnTo>
                  <a:lnTo>
                    <a:pt x="367" y="575"/>
                  </a:lnTo>
                  <a:lnTo>
                    <a:pt x="361" y="577"/>
                  </a:lnTo>
                  <a:lnTo>
                    <a:pt x="353" y="575"/>
                  </a:lnTo>
                  <a:lnTo>
                    <a:pt x="347" y="573"/>
                  </a:lnTo>
                  <a:lnTo>
                    <a:pt x="340" y="570"/>
                  </a:lnTo>
                  <a:lnTo>
                    <a:pt x="335" y="565"/>
                  </a:lnTo>
                  <a:lnTo>
                    <a:pt x="331" y="560"/>
                  </a:lnTo>
                  <a:lnTo>
                    <a:pt x="328" y="554"/>
                  </a:lnTo>
                  <a:lnTo>
                    <a:pt x="325" y="547"/>
                  </a:lnTo>
                  <a:lnTo>
                    <a:pt x="325" y="541"/>
                  </a:lnTo>
                  <a:lnTo>
                    <a:pt x="325" y="528"/>
                  </a:lnTo>
                  <a:close/>
                  <a:moveTo>
                    <a:pt x="691" y="564"/>
                  </a:moveTo>
                  <a:lnTo>
                    <a:pt x="686" y="557"/>
                  </a:lnTo>
                  <a:lnTo>
                    <a:pt x="681" y="552"/>
                  </a:lnTo>
                  <a:lnTo>
                    <a:pt x="674" y="547"/>
                  </a:lnTo>
                  <a:lnTo>
                    <a:pt x="668" y="541"/>
                  </a:lnTo>
                  <a:lnTo>
                    <a:pt x="651" y="531"/>
                  </a:lnTo>
                  <a:lnTo>
                    <a:pt x="633" y="522"/>
                  </a:lnTo>
                  <a:lnTo>
                    <a:pt x="591" y="502"/>
                  </a:lnTo>
                  <a:lnTo>
                    <a:pt x="545" y="484"/>
                  </a:lnTo>
                  <a:lnTo>
                    <a:pt x="534" y="480"/>
                  </a:lnTo>
                  <a:lnTo>
                    <a:pt x="524" y="477"/>
                  </a:lnTo>
                  <a:lnTo>
                    <a:pt x="514" y="473"/>
                  </a:lnTo>
                  <a:lnTo>
                    <a:pt x="504" y="469"/>
                  </a:lnTo>
                  <a:lnTo>
                    <a:pt x="495" y="457"/>
                  </a:lnTo>
                  <a:lnTo>
                    <a:pt x="484" y="448"/>
                  </a:lnTo>
                  <a:lnTo>
                    <a:pt x="473" y="441"/>
                  </a:lnTo>
                  <a:lnTo>
                    <a:pt x="462" y="434"/>
                  </a:lnTo>
                  <a:lnTo>
                    <a:pt x="460" y="433"/>
                  </a:lnTo>
                  <a:lnTo>
                    <a:pt x="457" y="433"/>
                  </a:lnTo>
                  <a:lnTo>
                    <a:pt x="456" y="433"/>
                  </a:lnTo>
                  <a:lnTo>
                    <a:pt x="456" y="378"/>
                  </a:lnTo>
                  <a:lnTo>
                    <a:pt x="461" y="373"/>
                  </a:lnTo>
                  <a:lnTo>
                    <a:pt x="466" y="366"/>
                  </a:lnTo>
                  <a:lnTo>
                    <a:pt x="473" y="358"/>
                  </a:lnTo>
                  <a:lnTo>
                    <a:pt x="479" y="348"/>
                  </a:lnTo>
                  <a:lnTo>
                    <a:pt x="484" y="337"/>
                  </a:lnTo>
                  <a:lnTo>
                    <a:pt x="489" y="322"/>
                  </a:lnTo>
                  <a:lnTo>
                    <a:pt x="492" y="308"/>
                  </a:lnTo>
                  <a:lnTo>
                    <a:pt x="495" y="290"/>
                  </a:lnTo>
                  <a:lnTo>
                    <a:pt x="500" y="285"/>
                  </a:lnTo>
                  <a:lnTo>
                    <a:pt x="504" y="279"/>
                  </a:lnTo>
                  <a:lnTo>
                    <a:pt x="507" y="271"/>
                  </a:lnTo>
                  <a:lnTo>
                    <a:pt x="510" y="262"/>
                  </a:lnTo>
                  <a:lnTo>
                    <a:pt x="511" y="254"/>
                  </a:lnTo>
                  <a:lnTo>
                    <a:pt x="513" y="247"/>
                  </a:lnTo>
                  <a:lnTo>
                    <a:pt x="513" y="238"/>
                  </a:lnTo>
                  <a:lnTo>
                    <a:pt x="511" y="230"/>
                  </a:lnTo>
                  <a:lnTo>
                    <a:pt x="510" y="222"/>
                  </a:lnTo>
                  <a:lnTo>
                    <a:pt x="506" y="215"/>
                  </a:lnTo>
                  <a:lnTo>
                    <a:pt x="502" y="208"/>
                  </a:lnTo>
                  <a:lnTo>
                    <a:pt x="497" y="202"/>
                  </a:lnTo>
                  <a:lnTo>
                    <a:pt x="498" y="198"/>
                  </a:lnTo>
                  <a:lnTo>
                    <a:pt x="501" y="193"/>
                  </a:lnTo>
                  <a:lnTo>
                    <a:pt x="510" y="167"/>
                  </a:lnTo>
                  <a:lnTo>
                    <a:pt x="520" y="135"/>
                  </a:lnTo>
                  <a:lnTo>
                    <a:pt x="524" y="118"/>
                  </a:lnTo>
                  <a:lnTo>
                    <a:pt x="527" y="102"/>
                  </a:lnTo>
                  <a:lnTo>
                    <a:pt x="527" y="85"/>
                  </a:lnTo>
                  <a:lnTo>
                    <a:pt x="525" y="68"/>
                  </a:lnTo>
                  <a:lnTo>
                    <a:pt x="523" y="59"/>
                  </a:lnTo>
                  <a:lnTo>
                    <a:pt x="519" y="51"/>
                  </a:lnTo>
                  <a:lnTo>
                    <a:pt x="514" y="44"/>
                  </a:lnTo>
                  <a:lnTo>
                    <a:pt x="509" y="37"/>
                  </a:lnTo>
                  <a:lnTo>
                    <a:pt x="501" y="31"/>
                  </a:lnTo>
                  <a:lnTo>
                    <a:pt x="493" y="26"/>
                  </a:lnTo>
                  <a:lnTo>
                    <a:pt x="484" y="21"/>
                  </a:lnTo>
                  <a:lnTo>
                    <a:pt x="475" y="16"/>
                  </a:lnTo>
                  <a:lnTo>
                    <a:pt x="465" y="12"/>
                  </a:lnTo>
                  <a:lnTo>
                    <a:pt x="453" y="9"/>
                  </a:lnTo>
                  <a:lnTo>
                    <a:pt x="442" y="7"/>
                  </a:lnTo>
                  <a:lnTo>
                    <a:pt x="430" y="4"/>
                  </a:lnTo>
                  <a:lnTo>
                    <a:pt x="407" y="0"/>
                  </a:lnTo>
                  <a:lnTo>
                    <a:pt x="383" y="0"/>
                  </a:lnTo>
                  <a:lnTo>
                    <a:pt x="365" y="0"/>
                  </a:lnTo>
                  <a:lnTo>
                    <a:pt x="347" y="1"/>
                  </a:lnTo>
                  <a:lnTo>
                    <a:pt x="329" y="5"/>
                  </a:lnTo>
                  <a:lnTo>
                    <a:pt x="311" y="9"/>
                  </a:lnTo>
                  <a:lnTo>
                    <a:pt x="295" y="16"/>
                  </a:lnTo>
                  <a:lnTo>
                    <a:pt x="281" y="23"/>
                  </a:lnTo>
                  <a:lnTo>
                    <a:pt x="276" y="27"/>
                  </a:lnTo>
                  <a:lnTo>
                    <a:pt x="271" y="32"/>
                  </a:lnTo>
                  <a:lnTo>
                    <a:pt x="266" y="37"/>
                  </a:lnTo>
                  <a:lnTo>
                    <a:pt x="263" y="44"/>
                  </a:lnTo>
                  <a:lnTo>
                    <a:pt x="251" y="46"/>
                  </a:lnTo>
                  <a:lnTo>
                    <a:pt x="239" y="50"/>
                  </a:lnTo>
                  <a:lnTo>
                    <a:pt x="234" y="53"/>
                  </a:lnTo>
                  <a:lnTo>
                    <a:pt x="230" y="57"/>
                  </a:lnTo>
                  <a:lnTo>
                    <a:pt x="225" y="60"/>
                  </a:lnTo>
                  <a:lnTo>
                    <a:pt x="222" y="66"/>
                  </a:lnTo>
                  <a:lnTo>
                    <a:pt x="217" y="72"/>
                  </a:lnTo>
                  <a:lnTo>
                    <a:pt x="215" y="78"/>
                  </a:lnTo>
                  <a:lnTo>
                    <a:pt x="212" y="87"/>
                  </a:lnTo>
                  <a:lnTo>
                    <a:pt x="211" y="95"/>
                  </a:lnTo>
                  <a:lnTo>
                    <a:pt x="209" y="112"/>
                  </a:lnTo>
                  <a:lnTo>
                    <a:pt x="211" y="130"/>
                  </a:lnTo>
                  <a:lnTo>
                    <a:pt x="213" y="148"/>
                  </a:lnTo>
                  <a:lnTo>
                    <a:pt x="217" y="164"/>
                  </a:lnTo>
                  <a:lnTo>
                    <a:pt x="221" y="181"/>
                  </a:lnTo>
                  <a:lnTo>
                    <a:pt x="225" y="194"/>
                  </a:lnTo>
                  <a:lnTo>
                    <a:pt x="226" y="198"/>
                  </a:lnTo>
                  <a:lnTo>
                    <a:pt x="227" y="202"/>
                  </a:lnTo>
                  <a:lnTo>
                    <a:pt x="222" y="207"/>
                  </a:lnTo>
                  <a:lnTo>
                    <a:pt x="217" y="215"/>
                  </a:lnTo>
                  <a:lnTo>
                    <a:pt x="215" y="221"/>
                  </a:lnTo>
                  <a:lnTo>
                    <a:pt x="212" y="230"/>
                  </a:lnTo>
                  <a:lnTo>
                    <a:pt x="211" y="238"/>
                  </a:lnTo>
                  <a:lnTo>
                    <a:pt x="211" y="247"/>
                  </a:lnTo>
                  <a:lnTo>
                    <a:pt x="212" y="254"/>
                  </a:lnTo>
                  <a:lnTo>
                    <a:pt x="213" y="263"/>
                  </a:lnTo>
                  <a:lnTo>
                    <a:pt x="216" y="272"/>
                  </a:lnTo>
                  <a:lnTo>
                    <a:pt x="220" y="280"/>
                  </a:lnTo>
                  <a:lnTo>
                    <a:pt x="224" y="285"/>
                  </a:lnTo>
                  <a:lnTo>
                    <a:pt x="229" y="290"/>
                  </a:lnTo>
                  <a:lnTo>
                    <a:pt x="230" y="307"/>
                  </a:lnTo>
                  <a:lnTo>
                    <a:pt x="234" y="322"/>
                  </a:lnTo>
                  <a:lnTo>
                    <a:pt x="238" y="337"/>
                  </a:lnTo>
                  <a:lnTo>
                    <a:pt x="243" y="348"/>
                  </a:lnTo>
                  <a:lnTo>
                    <a:pt x="249" y="358"/>
                  </a:lnTo>
                  <a:lnTo>
                    <a:pt x="254" y="366"/>
                  </a:lnTo>
                  <a:lnTo>
                    <a:pt x="260" y="373"/>
                  </a:lnTo>
                  <a:lnTo>
                    <a:pt x="265" y="378"/>
                  </a:lnTo>
                  <a:lnTo>
                    <a:pt x="265" y="433"/>
                  </a:lnTo>
                  <a:lnTo>
                    <a:pt x="262" y="433"/>
                  </a:lnTo>
                  <a:lnTo>
                    <a:pt x="261" y="434"/>
                  </a:lnTo>
                  <a:lnTo>
                    <a:pt x="249" y="441"/>
                  </a:lnTo>
                  <a:lnTo>
                    <a:pt x="239" y="448"/>
                  </a:lnTo>
                  <a:lnTo>
                    <a:pt x="229" y="457"/>
                  </a:lnTo>
                  <a:lnTo>
                    <a:pt x="220" y="469"/>
                  </a:lnTo>
                  <a:lnTo>
                    <a:pt x="209" y="473"/>
                  </a:lnTo>
                  <a:lnTo>
                    <a:pt x="200" y="477"/>
                  </a:lnTo>
                  <a:lnTo>
                    <a:pt x="190" y="480"/>
                  </a:lnTo>
                  <a:lnTo>
                    <a:pt x="181" y="484"/>
                  </a:lnTo>
                  <a:lnTo>
                    <a:pt x="134" y="502"/>
                  </a:lnTo>
                  <a:lnTo>
                    <a:pt x="91" y="522"/>
                  </a:lnTo>
                  <a:lnTo>
                    <a:pt x="73" y="531"/>
                  </a:lnTo>
                  <a:lnTo>
                    <a:pt x="57" y="541"/>
                  </a:lnTo>
                  <a:lnTo>
                    <a:pt x="50" y="547"/>
                  </a:lnTo>
                  <a:lnTo>
                    <a:pt x="44" y="552"/>
                  </a:lnTo>
                  <a:lnTo>
                    <a:pt x="39" y="557"/>
                  </a:lnTo>
                  <a:lnTo>
                    <a:pt x="34" y="564"/>
                  </a:lnTo>
                  <a:lnTo>
                    <a:pt x="28" y="573"/>
                  </a:lnTo>
                  <a:lnTo>
                    <a:pt x="23" y="583"/>
                  </a:lnTo>
                  <a:lnTo>
                    <a:pt x="19" y="595"/>
                  </a:lnTo>
                  <a:lnTo>
                    <a:pt x="16" y="606"/>
                  </a:lnTo>
                  <a:lnTo>
                    <a:pt x="9" y="629"/>
                  </a:lnTo>
                  <a:lnTo>
                    <a:pt x="5" y="653"/>
                  </a:lnTo>
                  <a:lnTo>
                    <a:pt x="1" y="691"/>
                  </a:lnTo>
                  <a:lnTo>
                    <a:pt x="0" y="709"/>
                  </a:lnTo>
                  <a:lnTo>
                    <a:pt x="0" y="713"/>
                  </a:lnTo>
                  <a:lnTo>
                    <a:pt x="4" y="717"/>
                  </a:lnTo>
                  <a:lnTo>
                    <a:pt x="8" y="719"/>
                  </a:lnTo>
                  <a:lnTo>
                    <a:pt x="12" y="721"/>
                  </a:lnTo>
                  <a:lnTo>
                    <a:pt x="709" y="721"/>
                  </a:lnTo>
                  <a:lnTo>
                    <a:pt x="714" y="719"/>
                  </a:lnTo>
                  <a:lnTo>
                    <a:pt x="718" y="717"/>
                  </a:lnTo>
                  <a:lnTo>
                    <a:pt x="721" y="713"/>
                  </a:lnTo>
                  <a:lnTo>
                    <a:pt x="721" y="709"/>
                  </a:lnTo>
                  <a:lnTo>
                    <a:pt x="721" y="691"/>
                  </a:lnTo>
                  <a:lnTo>
                    <a:pt x="718" y="653"/>
                  </a:lnTo>
                  <a:lnTo>
                    <a:pt x="714" y="629"/>
                  </a:lnTo>
                  <a:lnTo>
                    <a:pt x="709" y="606"/>
                  </a:lnTo>
                  <a:lnTo>
                    <a:pt x="705" y="595"/>
                  </a:lnTo>
                  <a:lnTo>
                    <a:pt x="701" y="583"/>
                  </a:lnTo>
                  <a:lnTo>
                    <a:pt x="696" y="573"/>
                  </a:lnTo>
                  <a:lnTo>
                    <a:pt x="691" y="564"/>
                  </a:lnTo>
                  <a:close/>
                </a:path>
              </a:pathLst>
            </a:custGeom>
            <a:solidFill>
              <a:srgbClr val="F6443B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Rectangle 121"/>
            <p:cNvSpPr/>
            <p:nvPr/>
          </p:nvSpPr>
          <p:spPr>
            <a:xfrm rot="2700000">
              <a:off x="2376470" y="2396111"/>
              <a:ext cx="1065668" cy="1065666"/>
            </a:xfrm>
            <a:prstGeom prst="rect">
              <a:avLst/>
            </a:prstGeom>
            <a:noFill/>
            <a:ln>
              <a:solidFill>
                <a:srgbClr val="F6443B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2341039" y="4140555"/>
              <a:ext cx="1136530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JOHN DOE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24" name="Text Placeholder 2"/>
            <p:cNvSpPr txBox="1">
              <a:spLocks/>
            </p:cNvSpPr>
            <p:nvPr/>
          </p:nvSpPr>
          <p:spPr>
            <a:xfrm>
              <a:off x="1883524" y="4467406"/>
              <a:ext cx="2051560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6193235" y="2876900"/>
            <a:ext cx="4535675" cy="997317"/>
            <a:chOff x="1006796" y="2065235"/>
            <a:chExt cx="4535675" cy="997317"/>
          </a:xfrm>
        </p:grpSpPr>
        <p:sp>
          <p:nvSpPr>
            <p:cNvPr id="126" name="Text Placeholder 2"/>
            <p:cNvSpPr txBox="1">
              <a:spLocks/>
            </p:cNvSpPr>
            <p:nvPr/>
          </p:nvSpPr>
          <p:spPr>
            <a:xfrm>
              <a:off x="1006796" y="2408527"/>
              <a:ext cx="4535675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1006796" y="2065235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5263416" y="3236100"/>
            <a:ext cx="311722" cy="287340"/>
            <a:chOff x="4313201" y="1920875"/>
            <a:chExt cx="284163" cy="261938"/>
          </a:xfrm>
          <a:solidFill>
            <a:srgbClr val="125680"/>
          </a:solidFill>
        </p:grpSpPr>
        <p:sp>
          <p:nvSpPr>
            <p:cNvPr id="135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5288950" y="4508304"/>
            <a:ext cx="260656" cy="374434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38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6193235" y="4171222"/>
            <a:ext cx="4535675" cy="997317"/>
            <a:chOff x="1006796" y="2065235"/>
            <a:chExt cx="4535675" cy="997317"/>
          </a:xfrm>
        </p:grpSpPr>
        <p:sp>
          <p:nvSpPr>
            <p:cNvPr id="143" name="Text Placeholder 2"/>
            <p:cNvSpPr txBox="1">
              <a:spLocks/>
            </p:cNvSpPr>
            <p:nvPr/>
          </p:nvSpPr>
          <p:spPr>
            <a:xfrm>
              <a:off x="1006796" y="2408527"/>
              <a:ext cx="4535675" cy="6540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.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006796" y="2065235"/>
              <a:ext cx="1524007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46" name="Text Placeholder 2"/>
          <p:cNvSpPr txBox="1">
            <a:spLocks/>
          </p:cNvSpPr>
          <p:nvPr/>
        </p:nvSpPr>
        <p:spPr>
          <a:xfrm>
            <a:off x="4952908" y="1910363"/>
            <a:ext cx="6236564" cy="631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4951050" y="1290539"/>
            <a:ext cx="152400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398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0</TotalTime>
  <Words>3258</Words>
  <Application>Microsoft Office PowerPoint</Application>
  <PresentationFormat>Widescreen</PresentationFormat>
  <Paragraphs>327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Arial</vt:lpstr>
      <vt:lpstr>Calibri</vt:lpstr>
      <vt:lpstr>Calibri Light</vt:lpstr>
      <vt:lpstr>Segoe UI</vt:lpstr>
      <vt:lpstr>Segoe UI Black</vt:lpstr>
      <vt:lpstr>Segoe UI Semibold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Oishee Bhattacharyya</cp:lastModifiedBy>
  <cp:revision>53</cp:revision>
  <dcterms:created xsi:type="dcterms:W3CDTF">2017-03-29T09:23:02Z</dcterms:created>
  <dcterms:modified xsi:type="dcterms:W3CDTF">2024-04-07T12:39:26Z</dcterms:modified>
</cp:coreProperties>
</file>